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62" r:id="rId2"/>
    <p:sldMasterId id="2147483664" r:id="rId3"/>
    <p:sldMasterId id="2147483677" r:id="rId4"/>
    <p:sldMasterId id="2147483689" r:id="rId5"/>
    <p:sldMasterId id="2147483695" r:id="rId6"/>
  </p:sldMasterIdLst>
  <p:notesMasterIdLst>
    <p:notesMasterId r:id="rId36"/>
  </p:notesMasterIdLst>
  <p:sldIdLst>
    <p:sldId id="271" r:id="rId7"/>
    <p:sldId id="272" r:id="rId8"/>
    <p:sldId id="273" r:id="rId9"/>
    <p:sldId id="274" r:id="rId10"/>
    <p:sldId id="256" r:id="rId11"/>
    <p:sldId id="257" r:id="rId12"/>
    <p:sldId id="258" r:id="rId13"/>
    <p:sldId id="313" r:id="rId14"/>
    <p:sldId id="314" r:id="rId15"/>
    <p:sldId id="315" r:id="rId16"/>
    <p:sldId id="357" r:id="rId17"/>
    <p:sldId id="358" r:id="rId18"/>
    <p:sldId id="359" r:id="rId19"/>
    <p:sldId id="360" r:id="rId20"/>
    <p:sldId id="406" r:id="rId21"/>
    <p:sldId id="293" r:id="rId22"/>
    <p:sldId id="292" r:id="rId23"/>
    <p:sldId id="308" r:id="rId24"/>
    <p:sldId id="297" r:id="rId25"/>
    <p:sldId id="281" r:id="rId26"/>
    <p:sldId id="276" r:id="rId27"/>
    <p:sldId id="277" r:id="rId28"/>
    <p:sldId id="278" r:id="rId29"/>
    <p:sldId id="310" r:id="rId30"/>
    <p:sldId id="311" r:id="rId31"/>
    <p:sldId id="361" r:id="rId32"/>
    <p:sldId id="405" r:id="rId33"/>
    <p:sldId id="298" r:id="rId34"/>
    <p:sldId id="309" r:id="rId35"/>
  </p:sldIdLst>
  <p:sldSz cx="12192000" cy="6858000"/>
  <p:notesSz cx="6858000" cy="9144000"/>
  <p:defaultTextStyle>
    <a:defPPr>
      <a:defRPr lang="pt-BR"/>
    </a:defPPr>
    <a:lvl1pPr marL="0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1pPr>
    <a:lvl2pPr marL="544131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2pPr>
    <a:lvl3pPr marL="1088261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3pPr>
    <a:lvl4pPr marL="1632391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4pPr>
    <a:lvl5pPr marL="2176522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5pPr>
    <a:lvl6pPr marL="2720652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6pPr>
    <a:lvl7pPr marL="3264782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7pPr>
    <a:lvl8pPr marL="3808913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8pPr>
    <a:lvl9pPr marL="4353043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34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020"/>
    <a:srgbClr val="7C7C7C"/>
    <a:srgbClr val="012F60"/>
    <a:srgbClr val="FFECB0"/>
    <a:srgbClr val="F0B500"/>
    <a:srgbClr val="9DB8D4"/>
    <a:srgbClr val="C2C7CB"/>
    <a:srgbClr val="FFFFFF"/>
    <a:srgbClr val="F0F0F0"/>
    <a:srgbClr val="F4B6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97" autoAdjust="0"/>
    <p:restoredTop sz="96201" autoAdjust="0"/>
  </p:normalViewPr>
  <p:slideViewPr>
    <p:cSldViewPr snapToGrid="0">
      <p:cViewPr varScale="1">
        <p:scale>
          <a:sx n="72" d="100"/>
          <a:sy n="72" d="100"/>
        </p:scale>
        <p:origin x="846" y="66"/>
      </p:cViewPr>
      <p:guideLst>
        <p:guide orient="horz" pos="2160"/>
        <p:guide pos="3840"/>
        <p:guide pos="134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020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A4-462A-88E2-5CC271891B79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7C7C7C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A4-462A-88E2-5CC271891B79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A4-462A-88E2-5CC271891B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84302760"/>
        <c:axId val="684300136"/>
      </c:barChart>
      <c:catAx>
        <c:axId val="684302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unito light" panose="00000400000000000000" pitchFamily="2" charset="0"/>
                <a:ea typeface="+mn-ea"/>
                <a:cs typeface="+mn-cs"/>
              </a:defRPr>
            </a:pPr>
            <a:endParaRPr lang="pt-BR"/>
          </a:p>
        </c:txPr>
        <c:crossAx val="684300136"/>
        <c:crosses val="autoZero"/>
        <c:auto val="1"/>
        <c:lblAlgn val="ctr"/>
        <c:lblOffset val="0"/>
        <c:noMultiLvlLbl val="0"/>
      </c:catAx>
      <c:valAx>
        <c:axId val="684300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84302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unito light" panose="00000400000000000000" pitchFamily="2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020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A4-462A-88E2-5CC271891B79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7C7C7C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A4-462A-88E2-5CC271891B79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A4-462A-88E2-5CC271891B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84302760"/>
        <c:axId val="684300136"/>
      </c:barChart>
      <c:catAx>
        <c:axId val="684302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unito light" panose="00000400000000000000" pitchFamily="2" charset="0"/>
                <a:ea typeface="+mn-ea"/>
                <a:cs typeface="+mn-cs"/>
              </a:defRPr>
            </a:pPr>
            <a:endParaRPr lang="pt-BR"/>
          </a:p>
        </c:txPr>
        <c:crossAx val="684300136"/>
        <c:crosses val="autoZero"/>
        <c:auto val="1"/>
        <c:lblAlgn val="ctr"/>
        <c:lblOffset val="0"/>
        <c:noMultiLvlLbl val="0"/>
      </c:catAx>
      <c:valAx>
        <c:axId val="684300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84302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unito light" panose="00000400000000000000" pitchFamily="2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497760289182378E-2"/>
          <c:y val="0"/>
          <c:w val="0.95500447942163524"/>
          <c:h val="0.811166466508236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02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3E-466A-A71D-E2855A3AAD7A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7C7C7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B3E-466A-A71D-E2855A3AAD7A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B3E-466A-A71D-E2855A3AAD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8"/>
        <c:axId val="684302760"/>
        <c:axId val="684300136"/>
      </c:barChart>
      <c:catAx>
        <c:axId val="684302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unito light" panose="00000400000000000000" pitchFamily="2" charset="0"/>
                <a:ea typeface="+mn-ea"/>
                <a:cs typeface="+mn-cs"/>
              </a:defRPr>
            </a:pPr>
            <a:endParaRPr lang="pt-BR"/>
          </a:p>
        </c:txPr>
        <c:crossAx val="684300136"/>
        <c:crosses val="autoZero"/>
        <c:auto val="1"/>
        <c:lblAlgn val="ctr"/>
        <c:lblOffset val="0"/>
        <c:noMultiLvlLbl val="0"/>
      </c:catAx>
      <c:valAx>
        <c:axId val="684300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84302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unito light" panose="00000400000000000000" pitchFamily="2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497760289182378E-2"/>
          <c:y val="0"/>
          <c:w val="0.95500447942163524"/>
          <c:h val="0.811166466508236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02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A4-462A-88E2-5CC271891B79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7C7C7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A4-462A-88E2-5CC271891B79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A4-462A-88E2-5CC271891B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8"/>
        <c:axId val="684302760"/>
        <c:axId val="684300136"/>
      </c:barChart>
      <c:catAx>
        <c:axId val="684302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unito light" panose="00000400000000000000" pitchFamily="2" charset="0"/>
                <a:ea typeface="+mn-ea"/>
                <a:cs typeface="+mn-cs"/>
              </a:defRPr>
            </a:pPr>
            <a:endParaRPr lang="pt-BR"/>
          </a:p>
        </c:txPr>
        <c:crossAx val="684300136"/>
        <c:crosses val="autoZero"/>
        <c:auto val="1"/>
        <c:lblAlgn val="ctr"/>
        <c:lblOffset val="0"/>
        <c:noMultiLvlLbl val="0"/>
      </c:catAx>
      <c:valAx>
        <c:axId val="684300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84302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unito light" panose="00000400000000000000" pitchFamily="2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062631967359291"/>
          <c:y val="5.1616917490893144E-2"/>
          <c:w val="0.51505696457584715"/>
          <c:h val="0.77258554201642948"/>
        </c:manualLayout>
      </c:layout>
      <c:doughnut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Venda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F702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63E-4F74-B641-7310ED39235F}"/>
              </c:ext>
            </c:extLst>
          </c:dPt>
          <c:dPt>
            <c:idx val="1"/>
            <c:bubble3D val="0"/>
            <c:spPr>
              <a:solidFill>
                <a:srgbClr val="7C7C7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3E-4F74-B641-7310ED39235F}"/>
              </c:ext>
            </c:extLst>
          </c:dPt>
          <c:dPt>
            <c:idx val="2"/>
            <c:bubble3D val="0"/>
            <c:spPr>
              <a:solidFill>
                <a:srgbClr val="D9D9D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63E-4F74-B641-7310ED39235F}"/>
              </c:ext>
            </c:extLst>
          </c:dPt>
          <c:dPt>
            <c:idx val="3"/>
            <c:bubble3D val="0"/>
            <c:spPr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63E-4F74-B641-7310ED39235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Nunito" panose="00000500000000000000" pitchFamily="2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B63E-4F74-B641-7310ED39235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Nunito" panose="00000500000000000000" pitchFamily="2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B63E-4F74-B641-7310ED3923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ilha1!$A$2:$A$5</c:f>
              <c:strCache>
                <c:ptCount val="4"/>
                <c:pt idx="0">
                  <c:v>1º Tri</c:v>
                </c:pt>
                <c:pt idx="1">
                  <c:v>2º Tri</c:v>
                </c:pt>
                <c:pt idx="2">
                  <c:v>3º Tri</c:v>
                </c:pt>
                <c:pt idx="3">
                  <c:v>4º Tri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3E-4F74-B641-7310ED39235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3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7535531518481115E-2"/>
          <c:y val="0.18133721279020937"/>
          <c:w val="0.12289996942428671"/>
          <c:h val="0.523038621795049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unito" panose="00000500000000000000" pitchFamily="2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Nunito" panose="00000500000000000000" pitchFamily="2" charset="0"/>
        </a:defRPr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497760289182378E-2"/>
          <c:y val="0"/>
          <c:w val="0.95500447942163524"/>
          <c:h val="0.81116646650823687"/>
        </c:manualLayout>
      </c:layout>
      <c:lineChart>
        <c:grouping val="standar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ln w="28575" cap="rnd">
              <a:solidFill>
                <a:srgbClr val="D9D9D9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D9D9D9"/>
              </a:solidFill>
              <a:ln w="9525">
                <a:noFill/>
              </a:ln>
              <a:effectLst/>
            </c:spPr>
          </c:marker>
          <c:dLbls>
            <c:dLbl>
              <c:idx val="1"/>
              <c:layout>
                <c:manualLayout>
                  <c:x val="0"/>
                  <c:y val="-5.81169701266761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FF-40C9-98B7-61D2F076B50B}"/>
                </c:ext>
              </c:extLst>
            </c:dLbl>
            <c:dLbl>
              <c:idx val="2"/>
              <c:layout>
                <c:manualLayout>
                  <c:x val="7.4991667987126719E-17"/>
                  <c:y val="-6.90139020254279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5FF-40C9-98B7-61D2F076B5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B3E-466A-A71D-E2855A3AAD7A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ln w="28575" cap="rnd">
              <a:solidFill>
                <a:srgbClr val="FF702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FF702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3E-466A-A71D-E2855A3AAD7A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rgbClr val="7C7C7C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7C7C7C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0"/>
                  <c:y val="3.9955416962089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5FF-40C9-98B7-61D2F076B50B}"/>
                </c:ext>
              </c:extLst>
            </c:dLbl>
            <c:dLbl>
              <c:idx val="1"/>
              <c:layout>
                <c:manualLayout>
                  <c:x val="0"/>
                  <c:y val="2.17938637975036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FF-40C9-98B7-61D2F076B50B}"/>
                </c:ext>
              </c:extLst>
            </c:dLbl>
            <c:dLbl>
              <c:idx val="2"/>
              <c:layout>
                <c:manualLayout>
                  <c:x val="7.4991667987126719E-17"/>
                  <c:y val="2.17938637975034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5FF-40C9-98B7-61D2F076B5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unito" panose="00000500000000000000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B3E-466A-A71D-E2855A3AAD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4302760"/>
        <c:axId val="684300136"/>
      </c:lineChart>
      <c:catAx>
        <c:axId val="684302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unito light" panose="00000400000000000000" pitchFamily="2" charset="0"/>
                <a:ea typeface="+mn-ea"/>
                <a:cs typeface="+mn-cs"/>
              </a:defRPr>
            </a:pPr>
            <a:endParaRPr lang="pt-BR"/>
          </a:p>
        </c:txPr>
        <c:crossAx val="684300136"/>
        <c:crosses val="autoZero"/>
        <c:auto val="1"/>
        <c:lblAlgn val="ctr"/>
        <c:lblOffset val="0"/>
        <c:noMultiLvlLbl val="0"/>
      </c:catAx>
      <c:valAx>
        <c:axId val="684300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84302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unito light" panose="00000400000000000000" pitchFamily="2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88763C-169B-4B2E-8909-B93EE70380A3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EDA2C-1194-4C68-957F-245746649E6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477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DEDA2C-1194-4C68-957F-245746649E6F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6105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DEDA2C-1194-4C68-957F-245746649E6F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4136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DEDA2C-1194-4C68-957F-245746649E6F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63394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DEDA2C-1194-4C68-957F-245746649E6F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7395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229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0937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59302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43213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522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586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78036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33234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08417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69575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34230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327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116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6436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4703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38677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34695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94696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97362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6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pPr marL="95250">
              <a:lnSpc>
                <a:spcPct val="100000"/>
              </a:lnSpc>
              <a:spcBef>
                <a:spcPts val="125"/>
              </a:spcBef>
            </a:pPr>
            <a:fld id="{81D60167-4931-47E6-BA6A-407CBD079E47}" type="slidenum">
              <a:rPr spc="-5" dirty="0"/>
              <a:t>‹nº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7622321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557466"/>
            <a:ext cx="12163043" cy="13005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6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pPr marL="95250">
              <a:lnSpc>
                <a:spcPct val="100000"/>
              </a:lnSpc>
              <a:spcBef>
                <a:spcPts val="125"/>
              </a:spcBef>
            </a:pPr>
            <a:fld id="{81D60167-4931-47E6-BA6A-407CBD079E47}" type="slidenum">
              <a:rPr spc="-5" dirty="0"/>
              <a:t>‹nº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5038506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546785"/>
            <a:ext cx="12163043" cy="13051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6/2020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pPr marL="95250">
              <a:lnSpc>
                <a:spcPct val="100000"/>
              </a:lnSpc>
              <a:spcBef>
                <a:spcPts val="125"/>
              </a:spcBef>
            </a:pPr>
            <a:fld id="{81D60167-4931-47E6-BA6A-407CBD079E47}" type="slidenum">
              <a:rPr spc="-5" dirty="0"/>
              <a:t>‹nº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058009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264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9144" y="4570"/>
            <a:ext cx="12169139" cy="68534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2192" y="5600698"/>
            <a:ext cx="12179807" cy="12572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10290047" y="443484"/>
            <a:ext cx="1417320" cy="6446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6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pPr marL="95250">
              <a:lnSpc>
                <a:spcPct val="100000"/>
              </a:lnSpc>
              <a:spcBef>
                <a:spcPts val="125"/>
              </a:spcBef>
            </a:pPr>
            <a:fld id="{81D60167-4931-47E6-BA6A-407CBD079E47}" type="slidenum">
              <a:rPr spc="-5" dirty="0"/>
              <a:t>‹nº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60001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6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pPr marL="95250">
              <a:lnSpc>
                <a:spcPct val="100000"/>
              </a:lnSpc>
              <a:spcBef>
                <a:spcPts val="125"/>
              </a:spcBef>
            </a:pPr>
            <a:fld id="{81D60167-4931-47E6-BA6A-407CBD079E47}" type="slidenum">
              <a:rPr spc="-5" dirty="0"/>
              <a:t>‹nº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688408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63947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27430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2669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58784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66879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71029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80083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2136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98822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4432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79477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824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111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6D6E7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6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9411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33530242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1105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8525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01701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2693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0714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3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41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247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91346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531" indent="-342531" algn="l" defTabSz="9134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191" indent="-285468" algn="l" defTabSz="9134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825" indent="-228365" algn="l" defTabSz="9134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555" indent="-228365" algn="l" defTabSz="9134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85" indent="-228365" algn="l" defTabSz="91346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014" indent="-228365" algn="l" defTabSz="9134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740" indent="-228365" algn="l" defTabSz="9134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449" indent="-228365" algn="l" defTabSz="9134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180" indent="-228365" algn="l" defTabSz="9134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30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60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90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20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50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379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107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826" algn="l" defTabSz="9134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7282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6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1088261" rtl="0" eaLnBrk="1" latinLnBrk="0" hangingPunct="1">
        <a:spcBef>
          <a:spcPct val="0"/>
        </a:spcBef>
        <a:buNone/>
        <a:defRPr sz="520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8098" indent="-408098" algn="l" defTabSz="1088261" rtl="0" eaLnBrk="1" latinLnBrk="0" hangingPunct="1">
        <a:spcBef>
          <a:spcPct val="20000"/>
        </a:spcBef>
        <a:buFont typeface="Arial" pitchFamily="34" charset="0"/>
        <a:buChar char="•"/>
        <a:defRPr sz="3818" kern="1200">
          <a:solidFill>
            <a:schemeClr val="tx1"/>
          </a:solidFill>
          <a:latin typeface="+mn-lt"/>
          <a:ea typeface="+mn-ea"/>
          <a:cs typeface="+mn-cs"/>
        </a:defRPr>
      </a:lvl1pPr>
      <a:lvl2pPr marL="884212" indent="-340082" algn="l" defTabSz="1088261" rtl="0" eaLnBrk="1" latinLnBrk="0" hangingPunct="1">
        <a:spcBef>
          <a:spcPct val="20000"/>
        </a:spcBef>
        <a:buFont typeface="Arial" pitchFamily="34" charset="0"/>
        <a:buChar char="–"/>
        <a:defRPr sz="3332" kern="1200">
          <a:solidFill>
            <a:schemeClr val="tx1"/>
          </a:solidFill>
          <a:latin typeface="+mn-lt"/>
          <a:ea typeface="+mn-ea"/>
          <a:cs typeface="+mn-cs"/>
        </a:defRPr>
      </a:lvl2pPr>
      <a:lvl3pPr marL="1360326" indent="-272065" algn="l" defTabSz="1088261" rtl="0" eaLnBrk="1" latinLnBrk="0" hangingPunct="1">
        <a:spcBef>
          <a:spcPct val="20000"/>
        </a:spcBef>
        <a:buFont typeface="Arial" pitchFamily="34" charset="0"/>
        <a:buChar char="•"/>
        <a:defRPr sz="2846" kern="1200">
          <a:solidFill>
            <a:schemeClr val="tx1"/>
          </a:solidFill>
          <a:latin typeface="+mn-lt"/>
          <a:ea typeface="+mn-ea"/>
          <a:cs typeface="+mn-cs"/>
        </a:defRPr>
      </a:lvl3pPr>
      <a:lvl4pPr marL="1904456" indent="-272065" algn="l" defTabSz="1088261" rtl="0" eaLnBrk="1" latinLnBrk="0" hangingPunct="1">
        <a:spcBef>
          <a:spcPct val="20000"/>
        </a:spcBef>
        <a:buFont typeface="Arial" pitchFamily="34" charset="0"/>
        <a:buChar char="–"/>
        <a:defRPr sz="2360" kern="1200">
          <a:solidFill>
            <a:schemeClr val="tx1"/>
          </a:solidFill>
          <a:latin typeface="+mn-lt"/>
          <a:ea typeface="+mn-ea"/>
          <a:cs typeface="+mn-cs"/>
        </a:defRPr>
      </a:lvl4pPr>
      <a:lvl5pPr marL="2448587" indent="-272065" algn="l" defTabSz="1088261" rtl="0" eaLnBrk="1" latinLnBrk="0" hangingPunct="1">
        <a:spcBef>
          <a:spcPct val="20000"/>
        </a:spcBef>
        <a:buFont typeface="Arial" pitchFamily="34" charset="0"/>
        <a:buChar char="»"/>
        <a:defRPr sz="2360" kern="1200">
          <a:solidFill>
            <a:schemeClr val="tx1"/>
          </a:solidFill>
          <a:latin typeface="+mn-lt"/>
          <a:ea typeface="+mn-ea"/>
          <a:cs typeface="+mn-cs"/>
        </a:defRPr>
      </a:lvl5pPr>
      <a:lvl6pPr marL="2992717" indent="-272065" algn="l" defTabSz="1088261" rtl="0" eaLnBrk="1" latinLnBrk="0" hangingPunct="1">
        <a:spcBef>
          <a:spcPct val="20000"/>
        </a:spcBef>
        <a:buFont typeface="Arial" pitchFamily="34" charset="0"/>
        <a:buChar char="•"/>
        <a:defRPr sz="2360" kern="1200">
          <a:solidFill>
            <a:schemeClr val="tx1"/>
          </a:solidFill>
          <a:latin typeface="+mn-lt"/>
          <a:ea typeface="+mn-ea"/>
          <a:cs typeface="+mn-cs"/>
        </a:defRPr>
      </a:lvl6pPr>
      <a:lvl7pPr marL="3536848" indent="-272065" algn="l" defTabSz="1088261" rtl="0" eaLnBrk="1" latinLnBrk="0" hangingPunct="1">
        <a:spcBef>
          <a:spcPct val="20000"/>
        </a:spcBef>
        <a:buFont typeface="Arial" pitchFamily="34" charset="0"/>
        <a:buChar char="•"/>
        <a:defRPr sz="2360" kern="1200">
          <a:solidFill>
            <a:schemeClr val="tx1"/>
          </a:solidFill>
          <a:latin typeface="+mn-lt"/>
          <a:ea typeface="+mn-ea"/>
          <a:cs typeface="+mn-cs"/>
        </a:defRPr>
      </a:lvl7pPr>
      <a:lvl8pPr marL="4080978" indent="-272065" algn="l" defTabSz="1088261" rtl="0" eaLnBrk="1" latinLnBrk="0" hangingPunct="1">
        <a:spcBef>
          <a:spcPct val="20000"/>
        </a:spcBef>
        <a:buFont typeface="Arial" pitchFamily="34" charset="0"/>
        <a:buChar char="•"/>
        <a:defRPr sz="2360" kern="1200">
          <a:solidFill>
            <a:schemeClr val="tx1"/>
          </a:solidFill>
          <a:latin typeface="+mn-lt"/>
          <a:ea typeface="+mn-ea"/>
          <a:cs typeface="+mn-cs"/>
        </a:defRPr>
      </a:lvl8pPr>
      <a:lvl9pPr marL="4625108" indent="-272065" algn="l" defTabSz="1088261" rtl="0" eaLnBrk="1" latinLnBrk="0" hangingPunct="1">
        <a:spcBef>
          <a:spcPct val="20000"/>
        </a:spcBef>
        <a:buFont typeface="Arial" pitchFamily="34" charset="0"/>
        <a:buChar char="•"/>
        <a:defRPr sz="23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1pPr>
      <a:lvl2pPr marL="544131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2pPr>
      <a:lvl3pPr marL="1088261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3pPr>
      <a:lvl4pPr marL="1632391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4pPr>
      <a:lvl5pPr marL="2176522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5pPr>
      <a:lvl6pPr marL="2720652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6pPr>
      <a:lvl7pPr marL="3264782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7pPr>
      <a:lvl8pPr marL="3808913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8pPr>
      <a:lvl9pPr marL="4353043" algn="l" defTabSz="1088261" rtl="0" eaLnBrk="1" latinLnBrk="0" hangingPunct="1">
        <a:defRPr sz="21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80E717-221C-449C-AE1D-96C755965B6C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693D42-DA30-4D90-93F9-25B20F1099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3033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F40F90E-0650-4711-8A6B-9879A6782A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294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Slide do think-cell" r:id="rId16" imgW="421" imgH="423" progId="TCLayout.ActiveDocument.1">
                  <p:embed/>
                </p:oleObj>
              </mc:Choice>
              <mc:Fallback>
                <p:oleObj name="Slide do think-cell" r:id="rId16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F40F90E-0650-4711-8A6B-9879A6782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4FFBE443-0435-4A4B-A668-CEA134BB87F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0302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46730" y="2684475"/>
            <a:ext cx="7098538" cy="1244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771774" y="2811221"/>
            <a:ext cx="6648450" cy="29533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6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28625" y="6454622"/>
            <a:ext cx="391159" cy="4368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bg1"/>
                </a:solidFill>
                <a:latin typeface="Carlito"/>
                <a:cs typeface="Carlito"/>
              </a:defRPr>
            </a:lvl1pPr>
          </a:lstStyle>
          <a:p>
            <a:pPr marL="95250">
              <a:lnSpc>
                <a:spcPct val="100000"/>
              </a:lnSpc>
              <a:spcBef>
                <a:spcPts val="125"/>
              </a:spcBef>
            </a:pPr>
            <a:fld id="{81D60167-4931-47E6-BA6A-407CBD079E47}" type="slidenum">
              <a:rPr spc="-5" dirty="0"/>
              <a:t>‹nº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504384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F40F90E-0650-4711-8A6B-9879A6782A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46667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Slide do think-cell" r:id="rId19" imgW="421" imgH="423" progId="TCLayout.ActiveDocument.1">
                  <p:embed/>
                </p:oleObj>
              </mc:Choice>
              <mc:Fallback>
                <p:oleObj name="Slide do think-cell" r:id="rId19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F40F90E-0650-4711-8A6B-9879A6782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4FFBE443-0435-4A4B-A668-CEA134BB87FF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A728B-EF65-4EA7-B4FF-AF1B10B797E0}" type="datetimeFigureOut">
              <a:rPr lang="pt-BR" smtClean="0"/>
              <a:t>0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39E060-BB85-4D42-8D4B-13EB873EA9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9495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3057" cy="6858594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5991224" y="3960882"/>
            <a:ext cx="4569199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lnSpc>
                <a:spcPct val="90000"/>
              </a:lnSpc>
              <a:spcAft>
                <a:spcPts val="1200"/>
              </a:spcAft>
              <a:defRPr sz="1400">
                <a:solidFill>
                  <a:srgbClr val="969696"/>
                </a:solidFill>
                <a:latin typeface="Segoe UI" panose="020B0502040204020203" pitchFamily="34" charset="0"/>
                <a:ea typeface="Kozuka Gothic Pr6N EL" panose="020B0200000000000000" pitchFamily="34" charset="-128"/>
                <a:cs typeface="Segoe UI" panose="020B0502040204020203" pitchFamily="34" charset="0"/>
              </a:defRPr>
            </a:lvl1pPr>
          </a:lstStyle>
          <a:p>
            <a:r>
              <a:rPr lang="pt-BR" dirty="0"/>
              <a:t>Você está recebendo sua proposta de identidade visual. Todas as telas brancas, são descritivos das peças que </a:t>
            </a:r>
            <a:br>
              <a:rPr lang="pt-BR" dirty="0"/>
            </a:br>
            <a:r>
              <a:rPr lang="pt-BR" dirty="0"/>
              <a:t>a seguem – e não fazem parte da identidade em si.</a:t>
            </a:r>
          </a:p>
        </p:txBody>
      </p:sp>
      <p:cxnSp>
        <p:nvCxnSpPr>
          <p:cNvPr id="4" name="Conector reto 3"/>
          <p:cNvCxnSpPr/>
          <p:nvPr/>
        </p:nvCxnSpPr>
        <p:spPr>
          <a:xfrm>
            <a:off x="6094877" y="4879825"/>
            <a:ext cx="364332" cy="0"/>
          </a:xfrm>
          <a:prstGeom prst="line">
            <a:avLst/>
          </a:prstGeom>
          <a:ln w="28575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64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6BCA8FA1-A581-47A9-9D85-27F80F8728F8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4" name="Forma Livre: Forma 73">
            <a:extLst>
              <a:ext uri="{FF2B5EF4-FFF2-40B4-BE49-F238E27FC236}">
                <a16:creationId xmlns:a16="http://schemas.microsoft.com/office/drawing/2014/main" id="{53E12C9C-029B-4877-9793-BA701CB460F2}"/>
              </a:ext>
            </a:extLst>
          </p:cNvPr>
          <p:cNvSpPr/>
          <p:nvPr/>
        </p:nvSpPr>
        <p:spPr>
          <a:xfrm>
            <a:off x="6738957" y="0"/>
            <a:ext cx="5453043" cy="6858000"/>
          </a:xfrm>
          <a:custGeom>
            <a:avLst/>
            <a:gdLst>
              <a:gd name="connsiteX0" fmla="*/ 0 w 5453043"/>
              <a:gd name="connsiteY0" fmla="*/ 0 h 6858000"/>
              <a:gd name="connsiteX1" fmla="*/ 5453043 w 5453043"/>
              <a:gd name="connsiteY1" fmla="*/ 0 h 6858000"/>
              <a:gd name="connsiteX2" fmla="*/ 5453043 w 5453043"/>
              <a:gd name="connsiteY2" fmla="*/ 6858000 h 6858000"/>
              <a:gd name="connsiteX3" fmla="*/ 16197 w 5453043"/>
              <a:gd name="connsiteY3" fmla="*/ 6858000 h 6858000"/>
              <a:gd name="connsiteX4" fmla="*/ 17636 w 5453043"/>
              <a:gd name="connsiteY4" fmla="*/ 6856374 h 6858000"/>
              <a:gd name="connsiteX5" fmla="*/ 107464 w 5453043"/>
              <a:gd name="connsiteY5" fmla="*/ 6750002 h 6858000"/>
              <a:gd name="connsiteX6" fmla="*/ 407184 w 5453043"/>
              <a:gd name="connsiteY6" fmla="*/ 6348452 h 6858000"/>
              <a:gd name="connsiteX7" fmla="*/ 679736 w 5453043"/>
              <a:gd name="connsiteY7" fmla="*/ 5883312 h 6858000"/>
              <a:gd name="connsiteX8" fmla="*/ 1209942 w 5453043"/>
              <a:gd name="connsiteY8" fmla="*/ 4056332 h 6858000"/>
              <a:gd name="connsiteX9" fmla="*/ 686747 w 5453043"/>
              <a:gd name="connsiteY9" fmla="*/ 1004696 h 6858000"/>
              <a:gd name="connsiteX10" fmla="*/ 221393 w 5453043"/>
              <a:gd name="connsiteY10" fmla="*/ 252326 h 6858000"/>
              <a:gd name="connsiteX11" fmla="*/ 72300 w 5453043"/>
              <a:gd name="connsiteY11" fmla="*/ 8432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53043" h="6858000">
                <a:moveTo>
                  <a:pt x="0" y="0"/>
                </a:moveTo>
                <a:lnTo>
                  <a:pt x="5453043" y="0"/>
                </a:lnTo>
                <a:lnTo>
                  <a:pt x="5453043" y="6858000"/>
                </a:lnTo>
                <a:lnTo>
                  <a:pt x="16197" y="6858000"/>
                </a:lnTo>
                <a:lnTo>
                  <a:pt x="17636" y="6856374"/>
                </a:lnTo>
                <a:cubicBezTo>
                  <a:pt x="48090" y="6823239"/>
                  <a:pt x="78544" y="6789300"/>
                  <a:pt x="107464" y="6750002"/>
                </a:cubicBezTo>
                <a:cubicBezTo>
                  <a:pt x="214382" y="6621392"/>
                  <a:pt x="314288" y="6484922"/>
                  <a:pt x="407184" y="6348452"/>
                </a:cubicBezTo>
                <a:cubicBezTo>
                  <a:pt x="500956" y="6220557"/>
                  <a:pt x="636794" y="5976197"/>
                  <a:pt x="679736" y="5883312"/>
                </a:cubicBezTo>
                <a:cubicBezTo>
                  <a:pt x="966310" y="5302422"/>
                  <a:pt x="1145091" y="4694382"/>
                  <a:pt x="1209942" y="4056332"/>
                </a:cubicBezTo>
                <a:cubicBezTo>
                  <a:pt x="1323871" y="2996727"/>
                  <a:pt x="1167000" y="1972131"/>
                  <a:pt x="686747" y="1004696"/>
                </a:cubicBezTo>
                <a:cubicBezTo>
                  <a:pt x="686747" y="1004696"/>
                  <a:pt x="465025" y="568136"/>
                  <a:pt x="221393" y="252326"/>
                </a:cubicBezTo>
                <a:cubicBezTo>
                  <a:pt x="171439" y="195166"/>
                  <a:pt x="121486" y="139792"/>
                  <a:pt x="72300" y="84329"/>
                </a:cubicBezTo>
                <a:close/>
              </a:path>
            </a:pathLst>
          </a:custGeom>
          <a:solidFill>
            <a:srgbClr val="FF7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D14DB4EA-01AE-440A-A3CE-6C9E7A26254C}"/>
              </a:ext>
            </a:extLst>
          </p:cNvPr>
          <p:cNvSpPr/>
          <p:nvPr/>
        </p:nvSpPr>
        <p:spPr>
          <a:xfrm>
            <a:off x="897913" y="3323771"/>
            <a:ext cx="5388314" cy="3115128"/>
          </a:xfrm>
          <a:prstGeom prst="roundRect">
            <a:avLst>
              <a:gd name="adj" fmla="val 8726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03" name="Conector reto 102">
            <a:extLst>
              <a:ext uri="{FF2B5EF4-FFF2-40B4-BE49-F238E27FC236}">
                <a16:creationId xmlns:a16="http://schemas.microsoft.com/office/drawing/2014/main" id="{70A24547-4F37-4392-BE24-0C018B00EE90}"/>
              </a:ext>
            </a:extLst>
          </p:cNvPr>
          <p:cNvCxnSpPr>
            <a:cxnSpLocks/>
          </p:cNvCxnSpPr>
          <p:nvPr/>
        </p:nvCxnSpPr>
        <p:spPr>
          <a:xfrm flipV="1">
            <a:off x="11220165" y="1"/>
            <a:ext cx="0" cy="515619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ixaDeTexto 1">
            <a:extLst>
              <a:ext uri="{FF2B5EF4-FFF2-40B4-BE49-F238E27FC236}">
                <a16:creationId xmlns:a16="http://schemas.microsoft.com/office/drawing/2014/main" id="{82DD7550-B621-426B-9C96-0FDABCA15818}"/>
              </a:ext>
            </a:extLst>
          </p:cNvPr>
          <p:cNvSpPr txBox="1"/>
          <p:nvPr/>
        </p:nvSpPr>
        <p:spPr>
          <a:xfrm>
            <a:off x="724692" y="557265"/>
            <a:ext cx="7606508" cy="8921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60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Título e </a:t>
            </a:r>
            <a:r>
              <a:rPr lang="pt-BR" sz="6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estaque</a:t>
            </a:r>
            <a:endParaRPr lang="pt-BR" sz="60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0593190F-9DEF-4A17-A5FB-85A82113FE0B}"/>
              </a:ext>
            </a:extLst>
          </p:cNvPr>
          <p:cNvCxnSpPr>
            <a:cxnSpLocks/>
          </p:cNvCxnSpPr>
          <p:nvPr/>
        </p:nvCxnSpPr>
        <p:spPr>
          <a:xfrm>
            <a:off x="897233" y="1449156"/>
            <a:ext cx="5837396" cy="0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id="{B637B1EE-974B-40F1-9489-FDA44646D018}"/>
              </a:ext>
            </a:extLst>
          </p:cNvPr>
          <p:cNvSpPr txBox="1"/>
          <p:nvPr/>
        </p:nvSpPr>
        <p:spPr>
          <a:xfrm>
            <a:off x="892116" y="1673850"/>
            <a:ext cx="6263427" cy="11306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.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Aenean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commodo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ligula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eget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olor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.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enean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assa. Cum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oci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natoque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penatibu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et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magn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parturien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ontes,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nascetu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ridiculu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us. </a:t>
            </a:r>
          </a:p>
        </p:txBody>
      </p:sp>
      <p:grpSp>
        <p:nvGrpSpPr>
          <p:cNvPr id="72" name="Agrupar 71">
            <a:extLst>
              <a:ext uri="{FF2B5EF4-FFF2-40B4-BE49-F238E27FC236}">
                <a16:creationId xmlns:a16="http://schemas.microsoft.com/office/drawing/2014/main" id="{0EE6B9ED-979F-4172-AF26-23FD112B042D}"/>
              </a:ext>
            </a:extLst>
          </p:cNvPr>
          <p:cNvGrpSpPr/>
          <p:nvPr/>
        </p:nvGrpSpPr>
        <p:grpSpPr>
          <a:xfrm>
            <a:off x="6842141" y="5431650"/>
            <a:ext cx="4768781" cy="591261"/>
            <a:chOff x="619645" y="3027126"/>
            <a:chExt cx="4768781" cy="591261"/>
          </a:xfrm>
        </p:grpSpPr>
        <p:sp>
          <p:nvSpPr>
            <p:cNvPr id="10" name="Retângulo: Cantos Arredondados 9">
              <a:extLst>
                <a:ext uri="{FF2B5EF4-FFF2-40B4-BE49-F238E27FC236}">
                  <a16:creationId xmlns:a16="http://schemas.microsoft.com/office/drawing/2014/main" id="{FE7CA3D9-9D8C-47AC-9992-194CF4E0224C}"/>
                </a:ext>
              </a:extLst>
            </p:cNvPr>
            <p:cNvSpPr/>
            <p:nvPr/>
          </p:nvSpPr>
          <p:spPr>
            <a:xfrm>
              <a:off x="619645" y="3027126"/>
              <a:ext cx="4768781" cy="591261"/>
            </a:xfrm>
            <a:prstGeom prst="roundRect">
              <a:avLst>
                <a:gd name="adj" fmla="val 50000"/>
              </a:avLst>
            </a:prstGeom>
            <a:solidFill>
              <a:srgbClr val="7C7C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B877E8A9-980A-4184-84FA-9631B9F7CB1A}"/>
                </a:ext>
              </a:extLst>
            </p:cNvPr>
            <p:cNvSpPr txBox="1"/>
            <p:nvPr/>
          </p:nvSpPr>
          <p:spPr>
            <a:xfrm>
              <a:off x="877602" y="3149186"/>
              <a:ext cx="4347541" cy="42780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Lorem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ipsum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dolor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sit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amet</a:t>
              </a:r>
              <a:endParaRPr lang="pt-BR" sz="26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Freeform 5">
            <a:extLst>
              <a:ext uri="{FF2B5EF4-FFF2-40B4-BE49-F238E27FC236}">
                <a16:creationId xmlns:a16="http://schemas.microsoft.com/office/drawing/2014/main" id="{0371E009-DDB9-4204-A42E-43643678D66F}"/>
              </a:ext>
            </a:extLst>
          </p:cNvPr>
          <p:cNvSpPr>
            <a:spLocks/>
          </p:cNvSpPr>
          <p:nvPr/>
        </p:nvSpPr>
        <p:spPr bwMode="auto">
          <a:xfrm>
            <a:off x="8406145" y="1043656"/>
            <a:ext cx="868338" cy="215281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chemeClr val="bg1"/>
              </a:solidFill>
            </a:endParaRPr>
          </a:p>
        </p:txBody>
      </p: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A397FEFF-C92D-446B-9BDA-094920F81277}"/>
              </a:ext>
            </a:extLst>
          </p:cNvPr>
          <p:cNvGrpSpPr/>
          <p:nvPr/>
        </p:nvGrpSpPr>
        <p:grpSpPr>
          <a:xfrm>
            <a:off x="8566423" y="672891"/>
            <a:ext cx="547783" cy="547783"/>
            <a:chOff x="11004132" y="5738765"/>
            <a:chExt cx="405932" cy="405932"/>
          </a:xfrm>
          <a:solidFill>
            <a:schemeClr val="bg1"/>
          </a:solidFill>
        </p:grpSpPr>
        <p:sp>
          <p:nvSpPr>
            <p:cNvPr id="51" name="Freeform 1504">
              <a:extLst>
                <a:ext uri="{FF2B5EF4-FFF2-40B4-BE49-F238E27FC236}">
                  <a16:creationId xmlns:a16="http://schemas.microsoft.com/office/drawing/2014/main" id="{58FDC92B-212F-40C4-B918-161C3340B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4132" y="5738765"/>
              <a:ext cx="405932" cy="405932"/>
            </a:xfrm>
            <a:custGeom>
              <a:avLst/>
              <a:gdLst>
                <a:gd name="T0" fmla="*/ 191 w 224"/>
                <a:gd name="T1" fmla="*/ 33 h 224"/>
                <a:gd name="T2" fmla="*/ 112 w 224"/>
                <a:gd name="T3" fmla="*/ 0 h 224"/>
                <a:gd name="T4" fmla="*/ 49 w 224"/>
                <a:gd name="T5" fmla="*/ 20 h 224"/>
                <a:gd name="T6" fmla="*/ 47 w 224"/>
                <a:gd name="T7" fmla="*/ 26 h 224"/>
                <a:gd name="T8" fmla="*/ 53 w 224"/>
                <a:gd name="T9" fmla="*/ 27 h 224"/>
                <a:gd name="T10" fmla="*/ 112 w 224"/>
                <a:gd name="T11" fmla="*/ 9 h 224"/>
                <a:gd name="T12" fmla="*/ 215 w 224"/>
                <a:gd name="T13" fmla="*/ 112 h 224"/>
                <a:gd name="T14" fmla="*/ 112 w 224"/>
                <a:gd name="T15" fmla="*/ 216 h 224"/>
                <a:gd name="T16" fmla="*/ 9 w 224"/>
                <a:gd name="T17" fmla="*/ 112 h 224"/>
                <a:gd name="T18" fmla="*/ 27 w 224"/>
                <a:gd name="T19" fmla="*/ 54 h 224"/>
                <a:gd name="T20" fmla="*/ 26 w 224"/>
                <a:gd name="T21" fmla="*/ 48 h 224"/>
                <a:gd name="T22" fmla="*/ 19 w 224"/>
                <a:gd name="T23" fmla="*/ 49 h 224"/>
                <a:gd name="T24" fmla="*/ 0 w 224"/>
                <a:gd name="T25" fmla="*/ 112 h 224"/>
                <a:gd name="T26" fmla="*/ 33 w 224"/>
                <a:gd name="T27" fmla="*/ 191 h 224"/>
                <a:gd name="T28" fmla="*/ 112 w 224"/>
                <a:gd name="T29" fmla="*/ 224 h 224"/>
                <a:gd name="T30" fmla="*/ 191 w 224"/>
                <a:gd name="T31" fmla="*/ 191 h 224"/>
                <a:gd name="T32" fmla="*/ 224 w 224"/>
                <a:gd name="T33" fmla="*/ 112 h 224"/>
                <a:gd name="T34" fmla="*/ 191 w 224"/>
                <a:gd name="T35" fmla="*/ 3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4" h="224">
                  <a:moveTo>
                    <a:pt x="191" y="33"/>
                  </a:moveTo>
                  <a:cubicBezTo>
                    <a:pt x="170" y="12"/>
                    <a:pt x="142" y="0"/>
                    <a:pt x="112" y="0"/>
                  </a:cubicBezTo>
                  <a:cubicBezTo>
                    <a:pt x="89" y="0"/>
                    <a:pt x="67" y="7"/>
                    <a:pt x="49" y="20"/>
                  </a:cubicBezTo>
                  <a:cubicBezTo>
                    <a:pt x="47" y="21"/>
                    <a:pt x="46" y="24"/>
                    <a:pt x="47" y="26"/>
                  </a:cubicBezTo>
                  <a:cubicBezTo>
                    <a:pt x="49" y="28"/>
                    <a:pt x="51" y="28"/>
                    <a:pt x="53" y="27"/>
                  </a:cubicBezTo>
                  <a:cubicBezTo>
                    <a:pt x="71" y="15"/>
                    <a:pt x="91" y="9"/>
                    <a:pt x="112" y="9"/>
                  </a:cubicBezTo>
                  <a:cubicBezTo>
                    <a:pt x="169" y="9"/>
                    <a:pt x="215" y="55"/>
                    <a:pt x="215" y="112"/>
                  </a:cubicBezTo>
                  <a:cubicBezTo>
                    <a:pt x="215" y="169"/>
                    <a:pt x="169" y="216"/>
                    <a:pt x="112" y="216"/>
                  </a:cubicBezTo>
                  <a:cubicBezTo>
                    <a:pt x="55" y="216"/>
                    <a:pt x="9" y="169"/>
                    <a:pt x="9" y="112"/>
                  </a:cubicBezTo>
                  <a:cubicBezTo>
                    <a:pt x="9" y="91"/>
                    <a:pt x="15" y="71"/>
                    <a:pt x="27" y="54"/>
                  </a:cubicBezTo>
                  <a:cubicBezTo>
                    <a:pt x="28" y="52"/>
                    <a:pt x="28" y="49"/>
                    <a:pt x="26" y="48"/>
                  </a:cubicBezTo>
                  <a:cubicBezTo>
                    <a:pt x="24" y="46"/>
                    <a:pt x="21" y="47"/>
                    <a:pt x="19" y="49"/>
                  </a:cubicBezTo>
                  <a:cubicBezTo>
                    <a:pt x="7" y="67"/>
                    <a:pt x="0" y="89"/>
                    <a:pt x="0" y="112"/>
                  </a:cubicBezTo>
                  <a:cubicBezTo>
                    <a:pt x="0" y="142"/>
                    <a:pt x="11" y="170"/>
                    <a:pt x="33" y="191"/>
                  </a:cubicBezTo>
                  <a:cubicBezTo>
                    <a:pt x="54" y="213"/>
                    <a:pt x="82" y="224"/>
                    <a:pt x="112" y="224"/>
                  </a:cubicBezTo>
                  <a:cubicBezTo>
                    <a:pt x="142" y="224"/>
                    <a:pt x="170" y="213"/>
                    <a:pt x="191" y="191"/>
                  </a:cubicBezTo>
                  <a:cubicBezTo>
                    <a:pt x="212" y="170"/>
                    <a:pt x="224" y="142"/>
                    <a:pt x="224" y="112"/>
                  </a:cubicBezTo>
                  <a:cubicBezTo>
                    <a:pt x="224" y="82"/>
                    <a:pt x="212" y="54"/>
                    <a:pt x="191" y="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chemeClr val="bg1"/>
                </a:solidFill>
              </a:endParaRPr>
            </a:p>
          </p:txBody>
        </p:sp>
        <p:sp>
          <p:nvSpPr>
            <p:cNvPr id="52" name="Freeform 1505">
              <a:extLst>
                <a:ext uri="{FF2B5EF4-FFF2-40B4-BE49-F238E27FC236}">
                  <a16:creationId xmlns:a16="http://schemas.microsoft.com/office/drawing/2014/main" id="{AF2480E3-EDD0-4410-81BD-7D0C0638B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4599" y="5777967"/>
              <a:ext cx="326263" cy="327528"/>
            </a:xfrm>
            <a:custGeom>
              <a:avLst/>
              <a:gdLst>
                <a:gd name="T0" fmla="*/ 90 w 180"/>
                <a:gd name="T1" fmla="*/ 9 h 180"/>
                <a:gd name="T2" fmla="*/ 164 w 180"/>
                <a:gd name="T3" fmla="*/ 56 h 180"/>
                <a:gd name="T4" fmla="*/ 90 w 180"/>
                <a:gd name="T5" fmla="*/ 49 h 180"/>
                <a:gd name="T6" fmla="*/ 16 w 180"/>
                <a:gd name="T7" fmla="*/ 56 h 180"/>
                <a:gd name="T8" fmla="*/ 90 w 180"/>
                <a:gd name="T9" fmla="*/ 9 h 180"/>
                <a:gd name="T10" fmla="*/ 113 w 180"/>
                <a:gd name="T11" fmla="*/ 168 h 180"/>
                <a:gd name="T12" fmla="*/ 113 w 180"/>
                <a:gd name="T13" fmla="*/ 167 h 180"/>
                <a:gd name="T14" fmla="*/ 170 w 180"/>
                <a:gd name="T15" fmla="*/ 105 h 180"/>
                <a:gd name="T16" fmla="*/ 113 w 180"/>
                <a:gd name="T17" fmla="*/ 168 h 180"/>
                <a:gd name="T18" fmla="*/ 76 w 180"/>
                <a:gd name="T19" fmla="*/ 170 h 180"/>
                <a:gd name="T20" fmla="*/ 76 w 180"/>
                <a:gd name="T21" fmla="*/ 167 h 180"/>
                <a:gd name="T22" fmla="*/ 75 w 180"/>
                <a:gd name="T23" fmla="*/ 157 h 180"/>
                <a:gd name="T24" fmla="*/ 90 w 180"/>
                <a:gd name="T25" fmla="*/ 159 h 180"/>
                <a:gd name="T26" fmla="*/ 105 w 180"/>
                <a:gd name="T27" fmla="*/ 157 h 180"/>
                <a:gd name="T28" fmla="*/ 104 w 180"/>
                <a:gd name="T29" fmla="*/ 167 h 180"/>
                <a:gd name="T30" fmla="*/ 104 w 180"/>
                <a:gd name="T31" fmla="*/ 170 h 180"/>
                <a:gd name="T32" fmla="*/ 90 w 180"/>
                <a:gd name="T33" fmla="*/ 172 h 180"/>
                <a:gd name="T34" fmla="*/ 76 w 180"/>
                <a:gd name="T35" fmla="*/ 170 h 180"/>
                <a:gd name="T36" fmla="*/ 10 w 180"/>
                <a:gd name="T37" fmla="*/ 105 h 180"/>
                <a:gd name="T38" fmla="*/ 67 w 180"/>
                <a:gd name="T39" fmla="*/ 167 h 180"/>
                <a:gd name="T40" fmla="*/ 67 w 180"/>
                <a:gd name="T41" fmla="*/ 168 h 180"/>
                <a:gd name="T42" fmla="*/ 10 w 180"/>
                <a:gd name="T43" fmla="*/ 105 h 180"/>
                <a:gd name="T44" fmla="*/ 22 w 180"/>
                <a:gd name="T45" fmla="*/ 98 h 180"/>
                <a:gd name="T46" fmla="*/ 9 w 180"/>
                <a:gd name="T47" fmla="*/ 96 h 180"/>
                <a:gd name="T48" fmla="*/ 8 w 180"/>
                <a:gd name="T49" fmla="*/ 90 h 180"/>
                <a:gd name="T50" fmla="*/ 12 w 180"/>
                <a:gd name="T51" fmla="*/ 66 h 180"/>
                <a:gd name="T52" fmla="*/ 27 w 180"/>
                <a:gd name="T53" fmla="*/ 63 h 180"/>
                <a:gd name="T54" fmla="*/ 22 w 180"/>
                <a:gd name="T55" fmla="*/ 98 h 180"/>
                <a:gd name="T56" fmla="*/ 142 w 180"/>
                <a:gd name="T57" fmla="*/ 61 h 180"/>
                <a:gd name="T58" fmla="*/ 149 w 180"/>
                <a:gd name="T59" fmla="*/ 101 h 180"/>
                <a:gd name="T60" fmla="*/ 107 w 180"/>
                <a:gd name="T61" fmla="*/ 147 h 180"/>
                <a:gd name="T62" fmla="*/ 73 w 180"/>
                <a:gd name="T63" fmla="*/ 147 h 180"/>
                <a:gd name="T64" fmla="*/ 31 w 180"/>
                <a:gd name="T65" fmla="*/ 101 h 180"/>
                <a:gd name="T66" fmla="*/ 38 w 180"/>
                <a:gd name="T67" fmla="*/ 61 h 180"/>
                <a:gd name="T68" fmla="*/ 90 w 180"/>
                <a:gd name="T69" fmla="*/ 58 h 180"/>
                <a:gd name="T70" fmla="*/ 142 w 180"/>
                <a:gd name="T71" fmla="*/ 61 h 180"/>
                <a:gd name="T72" fmla="*/ 171 w 180"/>
                <a:gd name="T73" fmla="*/ 90 h 180"/>
                <a:gd name="T74" fmla="*/ 171 w 180"/>
                <a:gd name="T75" fmla="*/ 96 h 180"/>
                <a:gd name="T76" fmla="*/ 158 w 180"/>
                <a:gd name="T77" fmla="*/ 98 h 180"/>
                <a:gd name="T78" fmla="*/ 153 w 180"/>
                <a:gd name="T79" fmla="*/ 63 h 180"/>
                <a:gd name="T80" fmla="*/ 168 w 180"/>
                <a:gd name="T81" fmla="*/ 66 h 180"/>
                <a:gd name="T82" fmla="*/ 171 w 180"/>
                <a:gd name="T83" fmla="*/ 90 h 180"/>
                <a:gd name="T84" fmla="*/ 90 w 180"/>
                <a:gd name="T85" fmla="*/ 180 h 180"/>
                <a:gd name="T86" fmla="*/ 180 w 180"/>
                <a:gd name="T87" fmla="*/ 90 h 180"/>
                <a:gd name="T88" fmla="*/ 175 w 180"/>
                <a:gd name="T89" fmla="*/ 61 h 180"/>
                <a:gd name="T90" fmla="*/ 175 w 180"/>
                <a:gd name="T91" fmla="*/ 61 h 180"/>
                <a:gd name="T92" fmla="*/ 90 w 180"/>
                <a:gd name="T93" fmla="*/ 0 h 180"/>
                <a:gd name="T94" fmla="*/ 0 w 180"/>
                <a:gd name="T95" fmla="*/ 90 h 180"/>
                <a:gd name="T96" fmla="*/ 90 w 180"/>
                <a:gd name="T9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0" h="180">
                  <a:moveTo>
                    <a:pt x="90" y="9"/>
                  </a:moveTo>
                  <a:cubicBezTo>
                    <a:pt x="123" y="9"/>
                    <a:pt x="151" y="28"/>
                    <a:pt x="164" y="56"/>
                  </a:cubicBezTo>
                  <a:cubicBezTo>
                    <a:pt x="140" y="51"/>
                    <a:pt x="115" y="49"/>
                    <a:pt x="90" y="49"/>
                  </a:cubicBezTo>
                  <a:cubicBezTo>
                    <a:pt x="65" y="49"/>
                    <a:pt x="40" y="51"/>
                    <a:pt x="16" y="56"/>
                  </a:cubicBezTo>
                  <a:cubicBezTo>
                    <a:pt x="29" y="28"/>
                    <a:pt x="57" y="9"/>
                    <a:pt x="90" y="9"/>
                  </a:cubicBezTo>
                  <a:moveTo>
                    <a:pt x="113" y="168"/>
                  </a:moveTo>
                  <a:cubicBezTo>
                    <a:pt x="113" y="168"/>
                    <a:pt x="113" y="168"/>
                    <a:pt x="113" y="167"/>
                  </a:cubicBezTo>
                  <a:cubicBezTo>
                    <a:pt x="113" y="135"/>
                    <a:pt x="138" y="108"/>
                    <a:pt x="170" y="105"/>
                  </a:cubicBezTo>
                  <a:cubicBezTo>
                    <a:pt x="164" y="136"/>
                    <a:pt x="142" y="160"/>
                    <a:pt x="113" y="168"/>
                  </a:cubicBezTo>
                  <a:moveTo>
                    <a:pt x="76" y="170"/>
                  </a:moveTo>
                  <a:cubicBezTo>
                    <a:pt x="76" y="169"/>
                    <a:pt x="76" y="168"/>
                    <a:pt x="76" y="167"/>
                  </a:cubicBezTo>
                  <a:cubicBezTo>
                    <a:pt x="76" y="164"/>
                    <a:pt x="76" y="160"/>
                    <a:pt x="75" y="157"/>
                  </a:cubicBezTo>
                  <a:cubicBezTo>
                    <a:pt x="80" y="158"/>
                    <a:pt x="85" y="159"/>
                    <a:pt x="90" y="159"/>
                  </a:cubicBezTo>
                  <a:cubicBezTo>
                    <a:pt x="95" y="159"/>
                    <a:pt x="100" y="158"/>
                    <a:pt x="105" y="157"/>
                  </a:cubicBezTo>
                  <a:cubicBezTo>
                    <a:pt x="104" y="160"/>
                    <a:pt x="104" y="164"/>
                    <a:pt x="104" y="167"/>
                  </a:cubicBezTo>
                  <a:cubicBezTo>
                    <a:pt x="104" y="168"/>
                    <a:pt x="104" y="169"/>
                    <a:pt x="104" y="170"/>
                  </a:cubicBezTo>
                  <a:cubicBezTo>
                    <a:pt x="100" y="171"/>
                    <a:pt x="95" y="172"/>
                    <a:pt x="90" y="172"/>
                  </a:cubicBezTo>
                  <a:cubicBezTo>
                    <a:pt x="85" y="172"/>
                    <a:pt x="80" y="171"/>
                    <a:pt x="76" y="170"/>
                  </a:cubicBezTo>
                  <a:moveTo>
                    <a:pt x="10" y="105"/>
                  </a:moveTo>
                  <a:cubicBezTo>
                    <a:pt x="42" y="108"/>
                    <a:pt x="67" y="135"/>
                    <a:pt x="67" y="167"/>
                  </a:cubicBezTo>
                  <a:cubicBezTo>
                    <a:pt x="67" y="168"/>
                    <a:pt x="67" y="168"/>
                    <a:pt x="67" y="168"/>
                  </a:cubicBezTo>
                  <a:cubicBezTo>
                    <a:pt x="38" y="160"/>
                    <a:pt x="16" y="136"/>
                    <a:pt x="10" y="105"/>
                  </a:cubicBezTo>
                  <a:moveTo>
                    <a:pt x="22" y="98"/>
                  </a:moveTo>
                  <a:cubicBezTo>
                    <a:pt x="18" y="97"/>
                    <a:pt x="13" y="97"/>
                    <a:pt x="9" y="96"/>
                  </a:cubicBezTo>
                  <a:cubicBezTo>
                    <a:pt x="9" y="94"/>
                    <a:pt x="8" y="92"/>
                    <a:pt x="8" y="90"/>
                  </a:cubicBezTo>
                  <a:cubicBezTo>
                    <a:pt x="8" y="82"/>
                    <a:pt x="10" y="74"/>
                    <a:pt x="12" y="66"/>
                  </a:cubicBezTo>
                  <a:cubicBezTo>
                    <a:pt x="17" y="65"/>
                    <a:pt x="22" y="64"/>
                    <a:pt x="27" y="63"/>
                  </a:cubicBezTo>
                  <a:cubicBezTo>
                    <a:pt x="22" y="74"/>
                    <a:pt x="21" y="86"/>
                    <a:pt x="22" y="98"/>
                  </a:cubicBezTo>
                  <a:moveTo>
                    <a:pt x="142" y="61"/>
                  </a:moveTo>
                  <a:cubicBezTo>
                    <a:pt x="149" y="73"/>
                    <a:pt x="151" y="88"/>
                    <a:pt x="149" y="101"/>
                  </a:cubicBezTo>
                  <a:cubicBezTo>
                    <a:pt x="129" y="110"/>
                    <a:pt x="113" y="126"/>
                    <a:pt x="107" y="147"/>
                  </a:cubicBezTo>
                  <a:cubicBezTo>
                    <a:pt x="96" y="151"/>
                    <a:pt x="84" y="151"/>
                    <a:pt x="73" y="147"/>
                  </a:cubicBezTo>
                  <a:cubicBezTo>
                    <a:pt x="67" y="126"/>
                    <a:pt x="51" y="110"/>
                    <a:pt x="31" y="101"/>
                  </a:cubicBezTo>
                  <a:cubicBezTo>
                    <a:pt x="29" y="88"/>
                    <a:pt x="31" y="73"/>
                    <a:pt x="38" y="61"/>
                  </a:cubicBezTo>
                  <a:cubicBezTo>
                    <a:pt x="55" y="59"/>
                    <a:pt x="73" y="58"/>
                    <a:pt x="90" y="58"/>
                  </a:cubicBezTo>
                  <a:cubicBezTo>
                    <a:pt x="107" y="58"/>
                    <a:pt x="125" y="59"/>
                    <a:pt x="142" y="61"/>
                  </a:cubicBezTo>
                  <a:moveTo>
                    <a:pt x="171" y="90"/>
                  </a:moveTo>
                  <a:cubicBezTo>
                    <a:pt x="171" y="92"/>
                    <a:pt x="171" y="94"/>
                    <a:pt x="171" y="96"/>
                  </a:cubicBezTo>
                  <a:cubicBezTo>
                    <a:pt x="167" y="97"/>
                    <a:pt x="162" y="97"/>
                    <a:pt x="158" y="98"/>
                  </a:cubicBezTo>
                  <a:cubicBezTo>
                    <a:pt x="159" y="86"/>
                    <a:pt x="157" y="74"/>
                    <a:pt x="153" y="63"/>
                  </a:cubicBezTo>
                  <a:cubicBezTo>
                    <a:pt x="158" y="64"/>
                    <a:pt x="163" y="65"/>
                    <a:pt x="168" y="66"/>
                  </a:cubicBezTo>
                  <a:cubicBezTo>
                    <a:pt x="170" y="74"/>
                    <a:pt x="171" y="82"/>
                    <a:pt x="171" y="90"/>
                  </a:cubicBezTo>
                  <a:moveTo>
                    <a:pt x="90" y="180"/>
                  </a:moveTo>
                  <a:cubicBezTo>
                    <a:pt x="140" y="180"/>
                    <a:pt x="180" y="140"/>
                    <a:pt x="180" y="90"/>
                  </a:cubicBezTo>
                  <a:cubicBezTo>
                    <a:pt x="180" y="80"/>
                    <a:pt x="179" y="70"/>
                    <a:pt x="175" y="61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63" y="25"/>
                    <a:pt x="129" y="0"/>
                    <a:pt x="90" y="0"/>
                  </a:cubicBezTo>
                  <a:cubicBezTo>
                    <a:pt x="40" y="0"/>
                    <a:pt x="0" y="40"/>
                    <a:pt x="0" y="90"/>
                  </a:cubicBezTo>
                  <a:cubicBezTo>
                    <a:pt x="0" y="140"/>
                    <a:pt x="40" y="180"/>
                    <a:pt x="90" y="1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chemeClr val="bg1"/>
                </a:solidFill>
              </a:endParaRPr>
            </a:p>
          </p:txBody>
        </p:sp>
        <p:sp>
          <p:nvSpPr>
            <p:cNvPr id="53" name="Freeform 1506">
              <a:extLst>
                <a:ext uri="{FF2B5EF4-FFF2-40B4-BE49-F238E27FC236}">
                  <a16:creationId xmlns:a16="http://schemas.microsoft.com/office/drawing/2014/main" id="{0B11D53E-90EB-438C-AB99-F18C576ABB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67264" y="5901896"/>
              <a:ext cx="79669" cy="79669"/>
            </a:xfrm>
            <a:custGeom>
              <a:avLst/>
              <a:gdLst>
                <a:gd name="T0" fmla="*/ 22 w 44"/>
                <a:gd name="T1" fmla="*/ 9 h 44"/>
                <a:gd name="T2" fmla="*/ 35 w 44"/>
                <a:gd name="T3" fmla="*/ 22 h 44"/>
                <a:gd name="T4" fmla="*/ 22 w 44"/>
                <a:gd name="T5" fmla="*/ 35 h 44"/>
                <a:gd name="T6" fmla="*/ 9 w 44"/>
                <a:gd name="T7" fmla="*/ 22 h 44"/>
                <a:gd name="T8" fmla="*/ 22 w 44"/>
                <a:gd name="T9" fmla="*/ 9 h 44"/>
                <a:gd name="T10" fmla="*/ 0 w 44"/>
                <a:gd name="T11" fmla="*/ 22 h 44"/>
                <a:gd name="T12" fmla="*/ 22 w 44"/>
                <a:gd name="T13" fmla="*/ 44 h 44"/>
                <a:gd name="T14" fmla="*/ 44 w 44"/>
                <a:gd name="T15" fmla="*/ 22 h 44"/>
                <a:gd name="T16" fmla="*/ 22 w 44"/>
                <a:gd name="T17" fmla="*/ 0 h 44"/>
                <a:gd name="T18" fmla="*/ 0 w 44"/>
                <a:gd name="T1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22" y="9"/>
                  </a:moveTo>
                  <a:cubicBezTo>
                    <a:pt x="29" y="9"/>
                    <a:pt x="35" y="15"/>
                    <a:pt x="35" y="22"/>
                  </a:cubicBezTo>
                  <a:cubicBezTo>
                    <a:pt x="35" y="29"/>
                    <a:pt x="29" y="35"/>
                    <a:pt x="22" y="35"/>
                  </a:cubicBezTo>
                  <a:cubicBezTo>
                    <a:pt x="15" y="35"/>
                    <a:pt x="9" y="29"/>
                    <a:pt x="9" y="22"/>
                  </a:cubicBezTo>
                  <a:cubicBezTo>
                    <a:pt x="9" y="15"/>
                    <a:pt x="15" y="9"/>
                    <a:pt x="22" y="9"/>
                  </a:cubicBezTo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chemeClr val="bg1"/>
                </a:solidFill>
              </a:endParaRPr>
            </a:p>
          </p:txBody>
        </p:sp>
        <p:sp>
          <p:nvSpPr>
            <p:cNvPr id="54" name="Freeform 1507">
              <a:extLst>
                <a:ext uri="{FF2B5EF4-FFF2-40B4-BE49-F238E27FC236}">
                  <a16:creationId xmlns:a16="http://schemas.microsoft.com/office/drawing/2014/main" id="{E9B45D2D-8973-4986-A2C3-BD5D0A57E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1039" y="5794407"/>
              <a:ext cx="17704" cy="16440"/>
            </a:xfrm>
            <a:custGeom>
              <a:avLst/>
              <a:gdLst>
                <a:gd name="T0" fmla="*/ 5 w 10"/>
                <a:gd name="T1" fmla="*/ 9 h 9"/>
                <a:gd name="T2" fmla="*/ 8 w 10"/>
                <a:gd name="T3" fmla="*/ 8 h 9"/>
                <a:gd name="T4" fmla="*/ 8 w 10"/>
                <a:gd name="T5" fmla="*/ 2 h 9"/>
                <a:gd name="T6" fmla="*/ 2 w 10"/>
                <a:gd name="T7" fmla="*/ 2 h 9"/>
                <a:gd name="T8" fmla="*/ 2 w 10"/>
                <a:gd name="T9" fmla="*/ 2 h 9"/>
                <a:gd name="T10" fmla="*/ 2 w 10"/>
                <a:gd name="T11" fmla="*/ 8 h 9"/>
                <a:gd name="T12" fmla="*/ 5 w 10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5" y="9"/>
                  </a:moveTo>
                  <a:cubicBezTo>
                    <a:pt x="6" y="9"/>
                    <a:pt x="7" y="9"/>
                    <a:pt x="8" y="8"/>
                  </a:cubicBezTo>
                  <a:cubicBezTo>
                    <a:pt x="10" y="6"/>
                    <a:pt x="10" y="4"/>
                    <a:pt x="8" y="2"/>
                  </a:cubicBezTo>
                  <a:cubicBezTo>
                    <a:pt x="6" y="0"/>
                    <a:pt x="3" y="0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4"/>
                    <a:pt x="0" y="6"/>
                    <a:pt x="2" y="8"/>
                  </a:cubicBezTo>
                  <a:cubicBezTo>
                    <a:pt x="3" y="9"/>
                    <a:pt x="4" y="9"/>
                    <a:pt x="5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chemeClr val="bg1"/>
                </a:solidFill>
              </a:endParaRPr>
            </a:p>
          </p:txBody>
        </p:sp>
      </p:grpSp>
      <p:sp>
        <p:nvSpPr>
          <p:cNvPr id="56" name="Freeform 5">
            <a:extLst>
              <a:ext uri="{FF2B5EF4-FFF2-40B4-BE49-F238E27FC236}">
                <a16:creationId xmlns:a16="http://schemas.microsoft.com/office/drawing/2014/main" id="{0E8C4B74-1B66-4E83-AD66-E29A3D914191}"/>
              </a:ext>
            </a:extLst>
          </p:cNvPr>
          <p:cNvSpPr>
            <a:spLocks/>
          </p:cNvSpPr>
          <p:nvPr/>
        </p:nvSpPr>
        <p:spPr bwMode="auto">
          <a:xfrm>
            <a:off x="8409754" y="2597920"/>
            <a:ext cx="868338" cy="215281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57" name="Agrupar 56">
            <a:extLst>
              <a:ext uri="{FF2B5EF4-FFF2-40B4-BE49-F238E27FC236}">
                <a16:creationId xmlns:a16="http://schemas.microsoft.com/office/drawing/2014/main" id="{C6B86BDA-102C-44CA-91BF-58F3BE730953}"/>
              </a:ext>
            </a:extLst>
          </p:cNvPr>
          <p:cNvGrpSpPr/>
          <p:nvPr/>
        </p:nvGrpSpPr>
        <p:grpSpPr>
          <a:xfrm>
            <a:off x="8510045" y="2280056"/>
            <a:ext cx="667757" cy="463817"/>
            <a:chOff x="8377589" y="3734397"/>
            <a:chExt cx="467897" cy="324998"/>
          </a:xfrm>
          <a:solidFill>
            <a:schemeClr val="bg1"/>
          </a:solidFill>
        </p:grpSpPr>
        <p:sp>
          <p:nvSpPr>
            <p:cNvPr id="58" name="Freeform 990">
              <a:extLst>
                <a:ext uri="{FF2B5EF4-FFF2-40B4-BE49-F238E27FC236}">
                  <a16:creationId xmlns:a16="http://schemas.microsoft.com/office/drawing/2014/main" id="{12295930-75E0-4432-BA83-FE676AEB6E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7589" y="3864649"/>
              <a:ext cx="196011" cy="194746"/>
            </a:xfrm>
            <a:custGeom>
              <a:avLst/>
              <a:gdLst>
                <a:gd name="T0" fmla="*/ 54 w 108"/>
                <a:gd name="T1" fmla="*/ 107 h 107"/>
                <a:gd name="T2" fmla="*/ 0 w 108"/>
                <a:gd name="T3" fmla="*/ 53 h 107"/>
                <a:gd name="T4" fmla="*/ 54 w 108"/>
                <a:gd name="T5" fmla="*/ 0 h 107"/>
                <a:gd name="T6" fmla="*/ 108 w 108"/>
                <a:gd name="T7" fmla="*/ 53 h 107"/>
                <a:gd name="T8" fmla="*/ 54 w 108"/>
                <a:gd name="T9" fmla="*/ 107 h 107"/>
                <a:gd name="T10" fmla="*/ 54 w 108"/>
                <a:gd name="T11" fmla="*/ 6 h 107"/>
                <a:gd name="T12" fmla="*/ 7 w 108"/>
                <a:gd name="T13" fmla="*/ 53 h 107"/>
                <a:gd name="T14" fmla="*/ 54 w 108"/>
                <a:gd name="T15" fmla="*/ 100 h 107"/>
                <a:gd name="T16" fmla="*/ 101 w 108"/>
                <a:gd name="T17" fmla="*/ 53 h 107"/>
                <a:gd name="T18" fmla="*/ 54 w 108"/>
                <a:gd name="T19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7">
                  <a:moveTo>
                    <a:pt x="54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8" y="24"/>
                    <a:pt x="108" y="53"/>
                  </a:cubicBezTo>
                  <a:cubicBezTo>
                    <a:pt x="108" y="83"/>
                    <a:pt x="83" y="107"/>
                    <a:pt x="54" y="107"/>
                  </a:cubicBezTo>
                  <a:close/>
                  <a:moveTo>
                    <a:pt x="54" y="6"/>
                  </a:moveTo>
                  <a:cubicBezTo>
                    <a:pt x="28" y="6"/>
                    <a:pt x="7" y="27"/>
                    <a:pt x="7" y="53"/>
                  </a:cubicBezTo>
                  <a:cubicBezTo>
                    <a:pt x="7" y="79"/>
                    <a:pt x="28" y="100"/>
                    <a:pt x="54" y="100"/>
                  </a:cubicBezTo>
                  <a:cubicBezTo>
                    <a:pt x="80" y="100"/>
                    <a:pt x="101" y="79"/>
                    <a:pt x="101" y="53"/>
                  </a:cubicBezTo>
                  <a:cubicBezTo>
                    <a:pt x="101" y="27"/>
                    <a:pt x="80" y="6"/>
                    <a:pt x="5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9" name="Freeform 991">
              <a:extLst>
                <a:ext uri="{FF2B5EF4-FFF2-40B4-BE49-F238E27FC236}">
                  <a16:creationId xmlns:a16="http://schemas.microsoft.com/office/drawing/2014/main" id="{711CFF5D-20DD-4686-9901-226707EFE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9204" y="3893734"/>
              <a:ext cx="134046" cy="134046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7 h 74"/>
                <a:gd name="T12" fmla="*/ 7 w 74"/>
                <a:gd name="T13" fmla="*/ 37 h 74"/>
                <a:gd name="T14" fmla="*/ 37 w 74"/>
                <a:gd name="T15" fmla="*/ 67 h 74"/>
                <a:gd name="T16" fmla="*/ 67 w 74"/>
                <a:gd name="T17" fmla="*/ 37 h 74"/>
                <a:gd name="T18" fmla="*/ 37 w 74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7"/>
                  </a:moveTo>
                  <a:cubicBezTo>
                    <a:pt x="20" y="7"/>
                    <a:pt x="7" y="21"/>
                    <a:pt x="7" y="37"/>
                  </a:cubicBezTo>
                  <a:cubicBezTo>
                    <a:pt x="7" y="54"/>
                    <a:pt x="20" y="67"/>
                    <a:pt x="37" y="67"/>
                  </a:cubicBezTo>
                  <a:cubicBezTo>
                    <a:pt x="53" y="67"/>
                    <a:pt x="67" y="54"/>
                    <a:pt x="67" y="37"/>
                  </a:cubicBezTo>
                  <a:cubicBezTo>
                    <a:pt x="67" y="21"/>
                    <a:pt x="53" y="7"/>
                    <a:pt x="3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0" name="Freeform 992">
              <a:extLst>
                <a:ext uri="{FF2B5EF4-FFF2-40B4-BE49-F238E27FC236}">
                  <a16:creationId xmlns:a16="http://schemas.microsoft.com/office/drawing/2014/main" id="{05F30D83-778F-4FD4-8FDC-C4B7B400C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2004" y="3864649"/>
              <a:ext cx="193482" cy="194746"/>
            </a:xfrm>
            <a:custGeom>
              <a:avLst/>
              <a:gdLst>
                <a:gd name="T0" fmla="*/ 54 w 107"/>
                <a:gd name="T1" fmla="*/ 107 h 107"/>
                <a:gd name="T2" fmla="*/ 0 w 107"/>
                <a:gd name="T3" fmla="*/ 53 h 107"/>
                <a:gd name="T4" fmla="*/ 54 w 107"/>
                <a:gd name="T5" fmla="*/ 0 h 107"/>
                <a:gd name="T6" fmla="*/ 107 w 107"/>
                <a:gd name="T7" fmla="*/ 53 h 107"/>
                <a:gd name="T8" fmla="*/ 54 w 107"/>
                <a:gd name="T9" fmla="*/ 107 h 107"/>
                <a:gd name="T10" fmla="*/ 54 w 107"/>
                <a:gd name="T11" fmla="*/ 6 h 107"/>
                <a:gd name="T12" fmla="*/ 7 w 107"/>
                <a:gd name="T13" fmla="*/ 53 h 107"/>
                <a:gd name="T14" fmla="*/ 54 w 107"/>
                <a:gd name="T15" fmla="*/ 100 h 107"/>
                <a:gd name="T16" fmla="*/ 101 w 107"/>
                <a:gd name="T17" fmla="*/ 53 h 107"/>
                <a:gd name="T18" fmla="*/ 54 w 107"/>
                <a:gd name="T19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7">
                  <a:moveTo>
                    <a:pt x="54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7" y="24"/>
                    <a:pt x="107" y="53"/>
                  </a:cubicBezTo>
                  <a:cubicBezTo>
                    <a:pt x="107" y="83"/>
                    <a:pt x="83" y="107"/>
                    <a:pt x="54" y="107"/>
                  </a:cubicBezTo>
                  <a:close/>
                  <a:moveTo>
                    <a:pt x="54" y="6"/>
                  </a:moveTo>
                  <a:cubicBezTo>
                    <a:pt x="28" y="6"/>
                    <a:pt x="7" y="27"/>
                    <a:pt x="7" y="53"/>
                  </a:cubicBezTo>
                  <a:cubicBezTo>
                    <a:pt x="7" y="79"/>
                    <a:pt x="28" y="100"/>
                    <a:pt x="54" y="100"/>
                  </a:cubicBezTo>
                  <a:cubicBezTo>
                    <a:pt x="80" y="100"/>
                    <a:pt x="101" y="79"/>
                    <a:pt x="101" y="53"/>
                  </a:cubicBezTo>
                  <a:cubicBezTo>
                    <a:pt x="101" y="27"/>
                    <a:pt x="80" y="6"/>
                    <a:pt x="5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Freeform 993">
              <a:extLst>
                <a:ext uri="{FF2B5EF4-FFF2-40B4-BE49-F238E27FC236}">
                  <a16:creationId xmlns:a16="http://schemas.microsoft.com/office/drawing/2014/main" id="{6FCFC27E-AEC6-4AF3-B992-5CAA2E27A5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2354" y="3893734"/>
              <a:ext cx="135311" cy="134046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7 h 74"/>
                <a:gd name="T12" fmla="*/ 7 w 74"/>
                <a:gd name="T13" fmla="*/ 37 h 74"/>
                <a:gd name="T14" fmla="*/ 37 w 74"/>
                <a:gd name="T15" fmla="*/ 67 h 74"/>
                <a:gd name="T16" fmla="*/ 67 w 74"/>
                <a:gd name="T17" fmla="*/ 37 h 74"/>
                <a:gd name="T18" fmla="*/ 37 w 74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7"/>
                  </a:moveTo>
                  <a:cubicBezTo>
                    <a:pt x="20" y="7"/>
                    <a:pt x="7" y="21"/>
                    <a:pt x="7" y="37"/>
                  </a:cubicBezTo>
                  <a:cubicBezTo>
                    <a:pt x="7" y="54"/>
                    <a:pt x="20" y="67"/>
                    <a:pt x="37" y="67"/>
                  </a:cubicBezTo>
                  <a:cubicBezTo>
                    <a:pt x="53" y="67"/>
                    <a:pt x="67" y="54"/>
                    <a:pt x="67" y="37"/>
                  </a:cubicBezTo>
                  <a:cubicBezTo>
                    <a:pt x="67" y="21"/>
                    <a:pt x="53" y="7"/>
                    <a:pt x="3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Freeform 994">
              <a:extLst>
                <a:ext uri="{FF2B5EF4-FFF2-40B4-BE49-F238E27FC236}">
                  <a16:creationId xmlns:a16="http://schemas.microsoft.com/office/drawing/2014/main" id="{EE305C41-F436-4A16-9EAB-18C7BF85A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8639" y="3817859"/>
              <a:ext cx="140369" cy="150486"/>
            </a:xfrm>
            <a:custGeom>
              <a:avLst/>
              <a:gdLst>
                <a:gd name="T0" fmla="*/ 67 w 77"/>
                <a:gd name="T1" fmla="*/ 83 h 83"/>
                <a:gd name="T2" fmla="*/ 4 w 77"/>
                <a:gd name="T3" fmla="*/ 83 h 83"/>
                <a:gd name="T4" fmla="*/ 1 w 77"/>
                <a:gd name="T5" fmla="*/ 81 h 83"/>
                <a:gd name="T6" fmla="*/ 1 w 77"/>
                <a:gd name="T7" fmla="*/ 78 h 83"/>
                <a:gd name="T8" fmla="*/ 38 w 77"/>
                <a:gd name="T9" fmla="*/ 2 h 83"/>
                <a:gd name="T10" fmla="*/ 42 w 77"/>
                <a:gd name="T11" fmla="*/ 0 h 83"/>
                <a:gd name="T12" fmla="*/ 42 w 77"/>
                <a:gd name="T13" fmla="*/ 0 h 83"/>
                <a:gd name="T14" fmla="*/ 45 w 77"/>
                <a:gd name="T15" fmla="*/ 2 h 83"/>
                <a:gd name="T16" fmla="*/ 77 w 77"/>
                <a:gd name="T17" fmla="*/ 67 h 83"/>
                <a:gd name="T18" fmla="*/ 77 w 77"/>
                <a:gd name="T19" fmla="*/ 69 h 83"/>
                <a:gd name="T20" fmla="*/ 75 w 77"/>
                <a:gd name="T21" fmla="*/ 71 h 83"/>
                <a:gd name="T22" fmla="*/ 70 w 77"/>
                <a:gd name="T23" fmla="*/ 79 h 83"/>
                <a:gd name="T24" fmla="*/ 67 w 77"/>
                <a:gd name="T25" fmla="*/ 83 h 83"/>
                <a:gd name="T26" fmla="*/ 9 w 77"/>
                <a:gd name="T27" fmla="*/ 76 h 83"/>
                <a:gd name="T28" fmla="*/ 64 w 77"/>
                <a:gd name="T29" fmla="*/ 76 h 83"/>
                <a:gd name="T30" fmla="*/ 69 w 77"/>
                <a:gd name="T31" fmla="*/ 67 h 83"/>
                <a:gd name="T32" fmla="*/ 42 w 77"/>
                <a:gd name="T33" fmla="*/ 11 h 83"/>
                <a:gd name="T34" fmla="*/ 9 w 77"/>
                <a:gd name="T35" fmla="*/ 7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" h="83">
                  <a:moveTo>
                    <a:pt x="67" y="83"/>
                  </a:moveTo>
                  <a:cubicBezTo>
                    <a:pt x="4" y="83"/>
                    <a:pt x="4" y="83"/>
                    <a:pt x="4" y="83"/>
                  </a:cubicBezTo>
                  <a:cubicBezTo>
                    <a:pt x="3" y="83"/>
                    <a:pt x="2" y="82"/>
                    <a:pt x="1" y="81"/>
                  </a:cubicBezTo>
                  <a:cubicBezTo>
                    <a:pt x="0" y="80"/>
                    <a:pt x="0" y="79"/>
                    <a:pt x="1" y="78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9" y="1"/>
                    <a:pt x="40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5" y="2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77" y="67"/>
                    <a:pt x="77" y="68"/>
                    <a:pt x="77" y="69"/>
                  </a:cubicBezTo>
                  <a:cubicBezTo>
                    <a:pt x="77" y="70"/>
                    <a:pt x="76" y="71"/>
                    <a:pt x="75" y="71"/>
                  </a:cubicBezTo>
                  <a:cubicBezTo>
                    <a:pt x="72" y="73"/>
                    <a:pt x="70" y="76"/>
                    <a:pt x="70" y="79"/>
                  </a:cubicBezTo>
                  <a:cubicBezTo>
                    <a:pt x="70" y="81"/>
                    <a:pt x="69" y="83"/>
                    <a:pt x="67" y="83"/>
                  </a:cubicBezTo>
                  <a:close/>
                  <a:moveTo>
                    <a:pt x="9" y="76"/>
                  </a:moveTo>
                  <a:cubicBezTo>
                    <a:pt x="64" y="76"/>
                    <a:pt x="64" y="76"/>
                    <a:pt x="64" y="76"/>
                  </a:cubicBezTo>
                  <a:cubicBezTo>
                    <a:pt x="64" y="72"/>
                    <a:pt x="66" y="69"/>
                    <a:pt x="69" y="67"/>
                  </a:cubicBezTo>
                  <a:cubicBezTo>
                    <a:pt x="42" y="11"/>
                    <a:pt x="42" y="11"/>
                    <a:pt x="42" y="11"/>
                  </a:cubicBezTo>
                  <a:lnTo>
                    <a:pt x="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Freeform 995">
              <a:extLst>
                <a:ext uri="{FF2B5EF4-FFF2-40B4-BE49-F238E27FC236}">
                  <a16:creationId xmlns:a16="http://schemas.microsoft.com/office/drawing/2014/main" id="{F14DFC94-9393-4E0C-A695-5F4E2462F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8192" y="3817859"/>
              <a:ext cx="188423" cy="132781"/>
            </a:xfrm>
            <a:custGeom>
              <a:avLst/>
              <a:gdLst>
                <a:gd name="T0" fmla="*/ 49 w 104"/>
                <a:gd name="T1" fmla="*/ 73 h 73"/>
                <a:gd name="T2" fmla="*/ 47 w 104"/>
                <a:gd name="T3" fmla="*/ 72 h 73"/>
                <a:gd name="T4" fmla="*/ 37 w 104"/>
                <a:gd name="T5" fmla="*/ 71 h 73"/>
                <a:gd name="T6" fmla="*/ 33 w 104"/>
                <a:gd name="T7" fmla="*/ 70 h 73"/>
                <a:gd name="T8" fmla="*/ 0 w 104"/>
                <a:gd name="T9" fmla="*/ 5 h 73"/>
                <a:gd name="T10" fmla="*/ 1 w 104"/>
                <a:gd name="T11" fmla="*/ 2 h 73"/>
                <a:gd name="T12" fmla="*/ 4 w 104"/>
                <a:gd name="T13" fmla="*/ 0 h 73"/>
                <a:gd name="T14" fmla="*/ 100 w 104"/>
                <a:gd name="T15" fmla="*/ 0 h 73"/>
                <a:gd name="T16" fmla="*/ 103 w 104"/>
                <a:gd name="T17" fmla="*/ 2 h 73"/>
                <a:gd name="T18" fmla="*/ 103 w 104"/>
                <a:gd name="T19" fmla="*/ 6 h 73"/>
                <a:gd name="T20" fmla="*/ 52 w 104"/>
                <a:gd name="T21" fmla="*/ 71 h 73"/>
                <a:gd name="T22" fmla="*/ 49 w 104"/>
                <a:gd name="T23" fmla="*/ 73 h 73"/>
                <a:gd name="T24" fmla="*/ 41 w 104"/>
                <a:gd name="T25" fmla="*/ 63 h 73"/>
                <a:gd name="T26" fmla="*/ 48 w 104"/>
                <a:gd name="T27" fmla="*/ 65 h 73"/>
                <a:gd name="T28" fmla="*/ 93 w 104"/>
                <a:gd name="T29" fmla="*/ 7 h 73"/>
                <a:gd name="T30" fmla="*/ 9 w 104"/>
                <a:gd name="T31" fmla="*/ 7 h 73"/>
                <a:gd name="T32" fmla="*/ 37 w 104"/>
                <a:gd name="T33" fmla="*/ 64 h 73"/>
                <a:gd name="T34" fmla="*/ 41 w 104"/>
                <a:gd name="T35" fmla="*/ 6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73">
                  <a:moveTo>
                    <a:pt x="49" y="73"/>
                  </a:moveTo>
                  <a:cubicBezTo>
                    <a:pt x="48" y="73"/>
                    <a:pt x="47" y="73"/>
                    <a:pt x="47" y="72"/>
                  </a:cubicBezTo>
                  <a:cubicBezTo>
                    <a:pt x="44" y="70"/>
                    <a:pt x="40" y="70"/>
                    <a:pt x="37" y="71"/>
                  </a:cubicBezTo>
                  <a:cubicBezTo>
                    <a:pt x="35" y="72"/>
                    <a:pt x="33" y="71"/>
                    <a:pt x="33" y="7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2" y="1"/>
                    <a:pt x="103" y="2"/>
                  </a:cubicBezTo>
                  <a:cubicBezTo>
                    <a:pt x="104" y="4"/>
                    <a:pt x="103" y="5"/>
                    <a:pt x="103" y="6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1" y="72"/>
                    <a:pt x="50" y="73"/>
                    <a:pt x="49" y="73"/>
                  </a:cubicBezTo>
                  <a:close/>
                  <a:moveTo>
                    <a:pt x="41" y="63"/>
                  </a:moveTo>
                  <a:cubicBezTo>
                    <a:pt x="44" y="63"/>
                    <a:pt x="46" y="64"/>
                    <a:pt x="48" y="65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9" y="63"/>
                    <a:pt x="40" y="63"/>
                    <a:pt x="41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Freeform 996">
              <a:extLst>
                <a:ext uri="{FF2B5EF4-FFF2-40B4-BE49-F238E27FC236}">
                  <a16:creationId xmlns:a16="http://schemas.microsoft.com/office/drawing/2014/main" id="{AB4EC06A-4695-42A7-A250-7C0442467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3969" y="3758424"/>
              <a:ext cx="72081" cy="209921"/>
            </a:xfrm>
            <a:custGeom>
              <a:avLst/>
              <a:gdLst>
                <a:gd name="T0" fmla="*/ 20 w 40"/>
                <a:gd name="T1" fmla="*/ 116 h 116"/>
                <a:gd name="T2" fmla="*/ 17 w 40"/>
                <a:gd name="T3" fmla="*/ 115 h 116"/>
                <a:gd name="T4" fmla="*/ 0 w 40"/>
                <a:gd name="T5" fmla="*/ 72 h 116"/>
                <a:gd name="T6" fmla="*/ 0 w 40"/>
                <a:gd name="T7" fmla="*/ 3 h 116"/>
                <a:gd name="T8" fmla="*/ 3 w 40"/>
                <a:gd name="T9" fmla="*/ 0 h 116"/>
                <a:gd name="T10" fmla="*/ 26 w 40"/>
                <a:gd name="T11" fmla="*/ 0 h 116"/>
                <a:gd name="T12" fmla="*/ 40 w 40"/>
                <a:gd name="T13" fmla="*/ 14 h 116"/>
                <a:gd name="T14" fmla="*/ 26 w 40"/>
                <a:gd name="T15" fmla="*/ 28 h 116"/>
                <a:gd name="T16" fmla="*/ 24 w 40"/>
                <a:gd name="T17" fmla="*/ 28 h 116"/>
                <a:gd name="T18" fmla="*/ 20 w 40"/>
                <a:gd name="T19" fmla="*/ 24 h 116"/>
                <a:gd name="T20" fmla="*/ 24 w 40"/>
                <a:gd name="T21" fmla="*/ 21 h 116"/>
                <a:gd name="T22" fmla="*/ 26 w 40"/>
                <a:gd name="T23" fmla="*/ 21 h 116"/>
                <a:gd name="T24" fmla="*/ 33 w 40"/>
                <a:gd name="T25" fmla="*/ 14 h 116"/>
                <a:gd name="T26" fmla="*/ 26 w 40"/>
                <a:gd name="T27" fmla="*/ 7 h 116"/>
                <a:gd name="T28" fmla="*/ 6 w 40"/>
                <a:gd name="T29" fmla="*/ 7 h 116"/>
                <a:gd name="T30" fmla="*/ 6 w 40"/>
                <a:gd name="T31" fmla="*/ 72 h 116"/>
                <a:gd name="T32" fmla="*/ 22 w 40"/>
                <a:gd name="T33" fmla="*/ 110 h 116"/>
                <a:gd name="T34" fmla="*/ 22 w 40"/>
                <a:gd name="T35" fmla="*/ 115 h 116"/>
                <a:gd name="T36" fmla="*/ 20 w 40"/>
                <a:gd name="T3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116">
                  <a:moveTo>
                    <a:pt x="20" y="116"/>
                  </a:moveTo>
                  <a:cubicBezTo>
                    <a:pt x="19" y="116"/>
                    <a:pt x="18" y="115"/>
                    <a:pt x="17" y="115"/>
                  </a:cubicBezTo>
                  <a:cubicBezTo>
                    <a:pt x="6" y="103"/>
                    <a:pt x="0" y="88"/>
                    <a:pt x="0" y="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4" y="0"/>
                    <a:pt x="40" y="6"/>
                    <a:pt x="40" y="14"/>
                  </a:cubicBezTo>
                  <a:cubicBezTo>
                    <a:pt x="40" y="21"/>
                    <a:pt x="34" y="28"/>
                    <a:pt x="26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2" y="28"/>
                    <a:pt x="20" y="26"/>
                    <a:pt x="20" y="24"/>
                  </a:cubicBezTo>
                  <a:cubicBezTo>
                    <a:pt x="20" y="22"/>
                    <a:pt x="22" y="21"/>
                    <a:pt x="24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30" y="21"/>
                    <a:pt x="33" y="18"/>
                    <a:pt x="33" y="14"/>
                  </a:cubicBezTo>
                  <a:cubicBezTo>
                    <a:pt x="33" y="10"/>
                    <a:pt x="30" y="7"/>
                    <a:pt x="2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86"/>
                    <a:pt x="12" y="100"/>
                    <a:pt x="22" y="110"/>
                  </a:cubicBezTo>
                  <a:cubicBezTo>
                    <a:pt x="23" y="111"/>
                    <a:pt x="23" y="113"/>
                    <a:pt x="22" y="115"/>
                  </a:cubicBezTo>
                  <a:cubicBezTo>
                    <a:pt x="21" y="115"/>
                    <a:pt x="21" y="116"/>
                    <a:pt x="20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Freeform 997">
              <a:extLst>
                <a:ext uri="{FF2B5EF4-FFF2-40B4-BE49-F238E27FC236}">
                  <a16:creationId xmlns:a16="http://schemas.microsoft.com/office/drawing/2014/main" id="{ECCAAE52-9084-4783-8142-3BA9016C06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2666" y="3734397"/>
              <a:ext cx="96108" cy="58171"/>
            </a:xfrm>
            <a:custGeom>
              <a:avLst/>
              <a:gdLst>
                <a:gd name="T0" fmla="*/ 41 w 53"/>
                <a:gd name="T1" fmla="*/ 32 h 32"/>
                <a:gd name="T2" fmla="*/ 20 w 53"/>
                <a:gd name="T3" fmla="*/ 32 h 32"/>
                <a:gd name="T4" fmla="*/ 0 w 53"/>
                <a:gd name="T5" fmla="*/ 12 h 32"/>
                <a:gd name="T6" fmla="*/ 12 w 53"/>
                <a:gd name="T7" fmla="*/ 0 h 32"/>
                <a:gd name="T8" fmla="*/ 18 w 53"/>
                <a:gd name="T9" fmla="*/ 0 h 32"/>
                <a:gd name="T10" fmla="*/ 31 w 53"/>
                <a:gd name="T11" fmla="*/ 6 h 32"/>
                <a:gd name="T12" fmla="*/ 39 w 53"/>
                <a:gd name="T13" fmla="*/ 9 h 32"/>
                <a:gd name="T14" fmla="*/ 41 w 53"/>
                <a:gd name="T15" fmla="*/ 9 h 32"/>
                <a:gd name="T16" fmla="*/ 53 w 53"/>
                <a:gd name="T17" fmla="*/ 21 h 32"/>
                <a:gd name="T18" fmla="*/ 41 w 53"/>
                <a:gd name="T19" fmla="*/ 32 h 32"/>
                <a:gd name="T20" fmla="*/ 12 w 53"/>
                <a:gd name="T21" fmla="*/ 7 h 32"/>
                <a:gd name="T22" fmla="*/ 7 w 53"/>
                <a:gd name="T23" fmla="*/ 12 h 32"/>
                <a:gd name="T24" fmla="*/ 20 w 53"/>
                <a:gd name="T25" fmla="*/ 25 h 32"/>
                <a:gd name="T26" fmla="*/ 41 w 53"/>
                <a:gd name="T27" fmla="*/ 25 h 32"/>
                <a:gd name="T28" fmla="*/ 46 w 53"/>
                <a:gd name="T29" fmla="*/ 21 h 32"/>
                <a:gd name="T30" fmla="*/ 41 w 53"/>
                <a:gd name="T31" fmla="*/ 16 h 32"/>
                <a:gd name="T32" fmla="*/ 39 w 53"/>
                <a:gd name="T33" fmla="*/ 16 h 32"/>
                <a:gd name="T34" fmla="*/ 26 w 53"/>
                <a:gd name="T35" fmla="*/ 10 h 32"/>
                <a:gd name="T36" fmla="*/ 18 w 53"/>
                <a:gd name="T37" fmla="*/ 7 h 32"/>
                <a:gd name="T38" fmla="*/ 12 w 53"/>
                <a:gd name="T3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2">
                  <a:moveTo>
                    <a:pt x="41" y="32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9" y="32"/>
                    <a:pt x="0" y="23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8" y="2"/>
                    <a:pt x="31" y="6"/>
                  </a:cubicBezTo>
                  <a:cubicBezTo>
                    <a:pt x="33" y="8"/>
                    <a:pt x="36" y="9"/>
                    <a:pt x="39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8" y="9"/>
                    <a:pt x="53" y="14"/>
                    <a:pt x="53" y="21"/>
                  </a:cubicBezTo>
                  <a:cubicBezTo>
                    <a:pt x="53" y="27"/>
                    <a:pt x="48" y="32"/>
                    <a:pt x="41" y="32"/>
                  </a:cubicBezTo>
                  <a:close/>
                  <a:moveTo>
                    <a:pt x="12" y="7"/>
                  </a:moveTo>
                  <a:cubicBezTo>
                    <a:pt x="9" y="7"/>
                    <a:pt x="7" y="9"/>
                    <a:pt x="7" y="12"/>
                  </a:cubicBezTo>
                  <a:cubicBezTo>
                    <a:pt x="7" y="19"/>
                    <a:pt x="13" y="25"/>
                    <a:pt x="2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4" y="25"/>
                    <a:pt x="46" y="23"/>
                    <a:pt x="46" y="21"/>
                  </a:cubicBezTo>
                  <a:cubicBezTo>
                    <a:pt x="46" y="18"/>
                    <a:pt x="44" y="16"/>
                    <a:pt x="41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4" y="16"/>
                    <a:pt x="29" y="14"/>
                    <a:pt x="26" y="10"/>
                  </a:cubicBezTo>
                  <a:cubicBezTo>
                    <a:pt x="24" y="8"/>
                    <a:pt x="21" y="7"/>
                    <a:pt x="18" y="7"/>
                  </a:cubicBezTo>
                  <a:lnTo>
                    <a:pt x="1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Freeform 998">
              <a:extLst>
                <a:ext uri="{FF2B5EF4-FFF2-40B4-BE49-F238E27FC236}">
                  <a16:creationId xmlns:a16="http://schemas.microsoft.com/office/drawing/2014/main" id="{5D8F995B-5C5B-4B2A-93BF-BC7449E48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8192" y="3779922"/>
              <a:ext cx="12646" cy="50583"/>
            </a:xfrm>
            <a:custGeom>
              <a:avLst/>
              <a:gdLst>
                <a:gd name="T0" fmla="*/ 4 w 7"/>
                <a:gd name="T1" fmla="*/ 28 h 28"/>
                <a:gd name="T2" fmla="*/ 0 w 7"/>
                <a:gd name="T3" fmla="*/ 25 h 28"/>
                <a:gd name="T4" fmla="*/ 0 w 7"/>
                <a:gd name="T5" fmla="*/ 4 h 28"/>
                <a:gd name="T6" fmla="*/ 4 w 7"/>
                <a:gd name="T7" fmla="*/ 0 h 28"/>
                <a:gd name="T8" fmla="*/ 7 w 7"/>
                <a:gd name="T9" fmla="*/ 4 h 28"/>
                <a:gd name="T10" fmla="*/ 7 w 7"/>
                <a:gd name="T11" fmla="*/ 25 h 28"/>
                <a:gd name="T12" fmla="*/ 4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4" y="28"/>
                  </a:moveTo>
                  <a:cubicBezTo>
                    <a:pt x="2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7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7" name="Freeform 999">
              <a:extLst>
                <a:ext uri="{FF2B5EF4-FFF2-40B4-BE49-F238E27FC236}">
                  <a16:creationId xmlns:a16="http://schemas.microsoft.com/office/drawing/2014/main" id="{ECEE082F-CC97-4282-8325-E6F21D7407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3717" y="3930407"/>
              <a:ext cx="56906" cy="59436"/>
            </a:xfrm>
            <a:custGeom>
              <a:avLst/>
              <a:gdLst>
                <a:gd name="T0" fmla="*/ 16 w 32"/>
                <a:gd name="T1" fmla="*/ 33 h 33"/>
                <a:gd name="T2" fmla="*/ 0 w 32"/>
                <a:gd name="T3" fmla="*/ 17 h 33"/>
                <a:gd name="T4" fmla="*/ 9 w 32"/>
                <a:gd name="T5" fmla="*/ 3 h 33"/>
                <a:gd name="T6" fmla="*/ 26 w 32"/>
                <a:gd name="T7" fmla="*/ 5 h 33"/>
                <a:gd name="T8" fmla="*/ 32 w 32"/>
                <a:gd name="T9" fmla="*/ 17 h 33"/>
                <a:gd name="T10" fmla="*/ 16 w 32"/>
                <a:gd name="T11" fmla="*/ 33 h 33"/>
                <a:gd name="T12" fmla="*/ 16 w 32"/>
                <a:gd name="T13" fmla="*/ 8 h 33"/>
                <a:gd name="T14" fmla="*/ 12 w 32"/>
                <a:gd name="T15" fmla="*/ 9 h 33"/>
                <a:gd name="T16" fmla="*/ 7 w 32"/>
                <a:gd name="T17" fmla="*/ 17 h 33"/>
                <a:gd name="T18" fmla="*/ 16 w 32"/>
                <a:gd name="T19" fmla="*/ 26 h 33"/>
                <a:gd name="T20" fmla="*/ 25 w 32"/>
                <a:gd name="T21" fmla="*/ 17 h 33"/>
                <a:gd name="T22" fmla="*/ 22 w 32"/>
                <a:gd name="T23" fmla="*/ 10 h 33"/>
                <a:gd name="T24" fmla="*/ 16 w 32"/>
                <a:gd name="T25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16" y="33"/>
                  </a:moveTo>
                  <a:cubicBezTo>
                    <a:pt x="7" y="33"/>
                    <a:pt x="0" y="26"/>
                    <a:pt x="0" y="17"/>
                  </a:cubicBezTo>
                  <a:cubicBezTo>
                    <a:pt x="0" y="11"/>
                    <a:pt x="4" y="6"/>
                    <a:pt x="9" y="3"/>
                  </a:cubicBezTo>
                  <a:cubicBezTo>
                    <a:pt x="15" y="0"/>
                    <a:pt x="21" y="1"/>
                    <a:pt x="26" y="5"/>
                  </a:cubicBezTo>
                  <a:cubicBezTo>
                    <a:pt x="30" y="8"/>
                    <a:pt x="32" y="12"/>
                    <a:pt x="32" y="17"/>
                  </a:cubicBezTo>
                  <a:cubicBezTo>
                    <a:pt x="32" y="26"/>
                    <a:pt x="25" y="33"/>
                    <a:pt x="16" y="33"/>
                  </a:cubicBezTo>
                  <a:close/>
                  <a:moveTo>
                    <a:pt x="16" y="8"/>
                  </a:moveTo>
                  <a:cubicBezTo>
                    <a:pt x="15" y="8"/>
                    <a:pt x="13" y="8"/>
                    <a:pt x="12" y="9"/>
                  </a:cubicBezTo>
                  <a:cubicBezTo>
                    <a:pt x="9" y="11"/>
                    <a:pt x="7" y="14"/>
                    <a:pt x="7" y="17"/>
                  </a:cubicBezTo>
                  <a:cubicBezTo>
                    <a:pt x="7" y="22"/>
                    <a:pt x="11" y="26"/>
                    <a:pt x="16" y="26"/>
                  </a:cubicBezTo>
                  <a:cubicBezTo>
                    <a:pt x="21" y="26"/>
                    <a:pt x="25" y="22"/>
                    <a:pt x="25" y="17"/>
                  </a:cubicBezTo>
                  <a:cubicBezTo>
                    <a:pt x="25" y="14"/>
                    <a:pt x="24" y="12"/>
                    <a:pt x="22" y="10"/>
                  </a:cubicBezTo>
                  <a:cubicBezTo>
                    <a:pt x="20" y="9"/>
                    <a:pt x="18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00AFB593-0F52-4D9E-9C4E-98AB627D32B4}"/>
              </a:ext>
            </a:extLst>
          </p:cNvPr>
          <p:cNvSpPr txBox="1"/>
          <p:nvPr/>
        </p:nvSpPr>
        <p:spPr>
          <a:xfrm>
            <a:off x="9500536" y="1214305"/>
            <a:ext cx="1563787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5100A053-16CC-41C4-967E-F89456D685E3}"/>
              </a:ext>
            </a:extLst>
          </p:cNvPr>
          <p:cNvSpPr txBox="1"/>
          <p:nvPr/>
        </p:nvSpPr>
        <p:spPr>
          <a:xfrm>
            <a:off x="9497318" y="768852"/>
            <a:ext cx="1281079" cy="6190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0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XX%</a:t>
            </a:r>
            <a:endParaRPr lang="pt-BR" sz="4000" b="1" dirty="0">
              <a:solidFill>
                <a:schemeClr val="bg1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DF7367BD-401F-4CE8-A593-45028710AE0C}"/>
              </a:ext>
            </a:extLst>
          </p:cNvPr>
          <p:cNvSpPr txBox="1"/>
          <p:nvPr/>
        </p:nvSpPr>
        <p:spPr>
          <a:xfrm>
            <a:off x="9543877" y="2780561"/>
            <a:ext cx="1563787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1DBE4A32-41A0-465D-9C14-F0688C00A95D}"/>
              </a:ext>
            </a:extLst>
          </p:cNvPr>
          <p:cNvSpPr txBox="1"/>
          <p:nvPr/>
        </p:nvSpPr>
        <p:spPr>
          <a:xfrm>
            <a:off x="9540659" y="2335108"/>
            <a:ext cx="1281079" cy="6190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0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XX%</a:t>
            </a:r>
            <a:endParaRPr lang="pt-BR" sz="4000" b="1" dirty="0">
              <a:solidFill>
                <a:schemeClr val="bg1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79C32B17-0A39-4827-B745-D1F5039F6DB9}"/>
              </a:ext>
            </a:extLst>
          </p:cNvPr>
          <p:cNvGraphicFramePr/>
          <p:nvPr/>
        </p:nvGraphicFramePr>
        <p:xfrm>
          <a:off x="1091720" y="3061661"/>
          <a:ext cx="5000700" cy="33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9" name="Agrupar 38">
            <a:extLst>
              <a:ext uri="{FF2B5EF4-FFF2-40B4-BE49-F238E27FC236}">
                <a16:creationId xmlns:a16="http://schemas.microsoft.com/office/drawing/2014/main" id="{D7660493-A74F-450F-A1E5-0C57521A1733}"/>
              </a:ext>
            </a:extLst>
          </p:cNvPr>
          <p:cNvGrpSpPr/>
          <p:nvPr/>
        </p:nvGrpSpPr>
        <p:grpSpPr>
          <a:xfrm>
            <a:off x="1854966" y="3106678"/>
            <a:ext cx="3474208" cy="430752"/>
            <a:chOff x="619645" y="3027126"/>
            <a:chExt cx="4768781" cy="591261"/>
          </a:xfrm>
        </p:grpSpPr>
        <p:sp>
          <p:nvSpPr>
            <p:cNvPr id="40" name="Retângulo: Cantos Arredondados 39">
              <a:extLst>
                <a:ext uri="{FF2B5EF4-FFF2-40B4-BE49-F238E27FC236}">
                  <a16:creationId xmlns:a16="http://schemas.microsoft.com/office/drawing/2014/main" id="{8BEA0807-1C07-4D1F-8426-C77650E01703}"/>
                </a:ext>
              </a:extLst>
            </p:cNvPr>
            <p:cNvSpPr/>
            <p:nvPr/>
          </p:nvSpPr>
          <p:spPr>
            <a:xfrm>
              <a:off x="619645" y="3027126"/>
              <a:ext cx="4768781" cy="591261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B54A7BBF-4974-441B-9590-F10E7D0318FB}"/>
                </a:ext>
              </a:extLst>
            </p:cNvPr>
            <p:cNvSpPr txBox="1"/>
            <p:nvPr/>
          </p:nvSpPr>
          <p:spPr>
            <a:xfrm>
              <a:off x="830266" y="3131704"/>
              <a:ext cx="4347541" cy="43723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pt-BR" sz="18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Lorem</a:t>
              </a:r>
              <a:r>
                <a:rPr lang="pt-BR" sz="18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ipsum </a:t>
              </a:r>
              <a:r>
                <a:rPr lang="pt-BR" sz="18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dolor</a:t>
              </a:r>
              <a:r>
                <a:rPr lang="pt-BR" sz="18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18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sit</a:t>
              </a:r>
              <a:r>
                <a:rPr lang="pt-BR" sz="18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18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amet</a:t>
              </a:r>
              <a:endParaRPr lang="pt-BR" sz="18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3" name="Freeform 5">
            <a:extLst>
              <a:ext uri="{FF2B5EF4-FFF2-40B4-BE49-F238E27FC236}">
                <a16:creationId xmlns:a16="http://schemas.microsoft.com/office/drawing/2014/main" id="{2F291EA7-2BF5-453F-9CC8-35CB990237E0}"/>
              </a:ext>
            </a:extLst>
          </p:cNvPr>
          <p:cNvSpPr>
            <a:spLocks/>
          </p:cNvSpPr>
          <p:nvPr/>
        </p:nvSpPr>
        <p:spPr bwMode="auto">
          <a:xfrm>
            <a:off x="8409754" y="4147188"/>
            <a:ext cx="868338" cy="215281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CaixaDeTexto 82">
            <a:extLst>
              <a:ext uri="{FF2B5EF4-FFF2-40B4-BE49-F238E27FC236}">
                <a16:creationId xmlns:a16="http://schemas.microsoft.com/office/drawing/2014/main" id="{5628C0E1-0137-430E-94DB-1910043EC2A0}"/>
              </a:ext>
            </a:extLst>
          </p:cNvPr>
          <p:cNvSpPr txBox="1"/>
          <p:nvPr/>
        </p:nvSpPr>
        <p:spPr>
          <a:xfrm>
            <a:off x="9543877" y="4329829"/>
            <a:ext cx="1563787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72811BBF-5AFF-49BD-BA39-0DD31C2F7551}"/>
              </a:ext>
            </a:extLst>
          </p:cNvPr>
          <p:cNvSpPr txBox="1"/>
          <p:nvPr/>
        </p:nvSpPr>
        <p:spPr>
          <a:xfrm>
            <a:off x="9540659" y="3884376"/>
            <a:ext cx="1281079" cy="6190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0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XX%</a:t>
            </a:r>
            <a:endParaRPr lang="pt-BR" sz="4000" b="1" dirty="0">
              <a:solidFill>
                <a:schemeClr val="bg1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0B520015-66C0-42CD-9350-BFA04169F9A0}"/>
              </a:ext>
            </a:extLst>
          </p:cNvPr>
          <p:cNvGrpSpPr/>
          <p:nvPr/>
        </p:nvGrpSpPr>
        <p:grpSpPr>
          <a:xfrm>
            <a:off x="8539368" y="3671579"/>
            <a:ext cx="609110" cy="609112"/>
            <a:chOff x="11062304" y="2932649"/>
            <a:chExt cx="405932" cy="405933"/>
          </a:xfrm>
          <a:solidFill>
            <a:schemeClr val="bg1"/>
          </a:solidFill>
        </p:grpSpPr>
        <p:sp>
          <p:nvSpPr>
            <p:cNvPr id="86" name="Freeform 1000">
              <a:extLst>
                <a:ext uri="{FF2B5EF4-FFF2-40B4-BE49-F238E27FC236}">
                  <a16:creationId xmlns:a16="http://schemas.microsoft.com/office/drawing/2014/main" id="{D6F7A969-C2ED-4626-A1F0-E0A68EDBC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3802" y="3091987"/>
              <a:ext cx="362936" cy="246594"/>
            </a:xfrm>
            <a:custGeom>
              <a:avLst/>
              <a:gdLst>
                <a:gd name="T0" fmla="*/ 180 w 200"/>
                <a:gd name="T1" fmla="*/ 136 h 136"/>
                <a:gd name="T2" fmla="*/ 20 w 200"/>
                <a:gd name="T3" fmla="*/ 136 h 136"/>
                <a:gd name="T4" fmla="*/ 0 w 200"/>
                <a:gd name="T5" fmla="*/ 116 h 136"/>
                <a:gd name="T6" fmla="*/ 0 w 200"/>
                <a:gd name="T7" fmla="*/ 99 h 136"/>
                <a:gd name="T8" fmla="*/ 4 w 200"/>
                <a:gd name="T9" fmla="*/ 96 h 136"/>
                <a:gd name="T10" fmla="*/ 63 w 200"/>
                <a:gd name="T11" fmla="*/ 96 h 136"/>
                <a:gd name="T12" fmla="*/ 63 w 200"/>
                <a:gd name="T13" fmla="*/ 86 h 136"/>
                <a:gd name="T14" fmla="*/ 4 w 200"/>
                <a:gd name="T15" fmla="*/ 86 h 136"/>
                <a:gd name="T16" fmla="*/ 0 w 200"/>
                <a:gd name="T17" fmla="*/ 83 h 136"/>
                <a:gd name="T18" fmla="*/ 0 w 200"/>
                <a:gd name="T19" fmla="*/ 16 h 136"/>
                <a:gd name="T20" fmla="*/ 16 w 200"/>
                <a:gd name="T21" fmla="*/ 0 h 136"/>
                <a:gd name="T22" fmla="*/ 66 w 200"/>
                <a:gd name="T23" fmla="*/ 0 h 136"/>
                <a:gd name="T24" fmla="*/ 70 w 200"/>
                <a:gd name="T25" fmla="*/ 3 h 136"/>
                <a:gd name="T26" fmla="*/ 70 w 200"/>
                <a:gd name="T27" fmla="*/ 12 h 136"/>
                <a:gd name="T28" fmla="*/ 130 w 200"/>
                <a:gd name="T29" fmla="*/ 12 h 136"/>
                <a:gd name="T30" fmla="*/ 130 w 200"/>
                <a:gd name="T31" fmla="*/ 3 h 136"/>
                <a:gd name="T32" fmla="*/ 133 w 200"/>
                <a:gd name="T33" fmla="*/ 0 h 136"/>
                <a:gd name="T34" fmla="*/ 184 w 200"/>
                <a:gd name="T35" fmla="*/ 0 h 136"/>
                <a:gd name="T36" fmla="*/ 200 w 200"/>
                <a:gd name="T37" fmla="*/ 16 h 136"/>
                <a:gd name="T38" fmla="*/ 200 w 200"/>
                <a:gd name="T39" fmla="*/ 83 h 136"/>
                <a:gd name="T40" fmla="*/ 196 w 200"/>
                <a:gd name="T41" fmla="*/ 86 h 136"/>
                <a:gd name="T42" fmla="*/ 137 w 200"/>
                <a:gd name="T43" fmla="*/ 86 h 136"/>
                <a:gd name="T44" fmla="*/ 137 w 200"/>
                <a:gd name="T45" fmla="*/ 96 h 136"/>
                <a:gd name="T46" fmla="*/ 196 w 200"/>
                <a:gd name="T47" fmla="*/ 96 h 136"/>
                <a:gd name="T48" fmla="*/ 200 w 200"/>
                <a:gd name="T49" fmla="*/ 99 h 136"/>
                <a:gd name="T50" fmla="*/ 200 w 200"/>
                <a:gd name="T51" fmla="*/ 116 h 136"/>
                <a:gd name="T52" fmla="*/ 180 w 200"/>
                <a:gd name="T53" fmla="*/ 136 h 136"/>
                <a:gd name="T54" fmla="*/ 7 w 200"/>
                <a:gd name="T55" fmla="*/ 103 h 136"/>
                <a:gd name="T56" fmla="*/ 7 w 200"/>
                <a:gd name="T57" fmla="*/ 116 h 136"/>
                <a:gd name="T58" fmla="*/ 20 w 200"/>
                <a:gd name="T59" fmla="*/ 130 h 136"/>
                <a:gd name="T60" fmla="*/ 180 w 200"/>
                <a:gd name="T61" fmla="*/ 130 h 136"/>
                <a:gd name="T62" fmla="*/ 193 w 200"/>
                <a:gd name="T63" fmla="*/ 116 h 136"/>
                <a:gd name="T64" fmla="*/ 193 w 200"/>
                <a:gd name="T65" fmla="*/ 103 h 136"/>
                <a:gd name="T66" fmla="*/ 133 w 200"/>
                <a:gd name="T67" fmla="*/ 103 h 136"/>
                <a:gd name="T68" fmla="*/ 130 w 200"/>
                <a:gd name="T69" fmla="*/ 99 h 136"/>
                <a:gd name="T70" fmla="*/ 130 w 200"/>
                <a:gd name="T71" fmla="*/ 83 h 136"/>
                <a:gd name="T72" fmla="*/ 133 w 200"/>
                <a:gd name="T73" fmla="*/ 79 h 136"/>
                <a:gd name="T74" fmla="*/ 193 w 200"/>
                <a:gd name="T75" fmla="*/ 79 h 136"/>
                <a:gd name="T76" fmla="*/ 193 w 200"/>
                <a:gd name="T77" fmla="*/ 16 h 136"/>
                <a:gd name="T78" fmla="*/ 184 w 200"/>
                <a:gd name="T79" fmla="*/ 7 h 136"/>
                <a:gd name="T80" fmla="*/ 137 w 200"/>
                <a:gd name="T81" fmla="*/ 7 h 136"/>
                <a:gd name="T82" fmla="*/ 137 w 200"/>
                <a:gd name="T83" fmla="*/ 16 h 136"/>
                <a:gd name="T84" fmla="*/ 133 w 200"/>
                <a:gd name="T85" fmla="*/ 19 h 136"/>
                <a:gd name="T86" fmla="*/ 66 w 200"/>
                <a:gd name="T87" fmla="*/ 19 h 136"/>
                <a:gd name="T88" fmla="*/ 63 w 200"/>
                <a:gd name="T89" fmla="*/ 16 h 136"/>
                <a:gd name="T90" fmla="*/ 63 w 200"/>
                <a:gd name="T91" fmla="*/ 7 h 136"/>
                <a:gd name="T92" fmla="*/ 16 w 200"/>
                <a:gd name="T93" fmla="*/ 7 h 136"/>
                <a:gd name="T94" fmla="*/ 7 w 200"/>
                <a:gd name="T95" fmla="*/ 16 h 136"/>
                <a:gd name="T96" fmla="*/ 7 w 200"/>
                <a:gd name="T97" fmla="*/ 79 h 136"/>
                <a:gd name="T98" fmla="*/ 66 w 200"/>
                <a:gd name="T99" fmla="*/ 79 h 136"/>
                <a:gd name="T100" fmla="*/ 70 w 200"/>
                <a:gd name="T101" fmla="*/ 83 h 136"/>
                <a:gd name="T102" fmla="*/ 70 w 200"/>
                <a:gd name="T103" fmla="*/ 99 h 136"/>
                <a:gd name="T104" fmla="*/ 66 w 200"/>
                <a:gd name="T105" fmla="*/ 103 h 136"/>
                <a:gd name="T106" fmla="*/ 7 w 200"/>
                <a:gd name="T107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0" h="136">
                  <a:moveTo>
                    <a:pt x="180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9" y="136"/>
                    <a:pt x="0" y="127"/>
                    <a:pt x="0" y="116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2" y="86"/>
                    <a:pt x="0" y="85"/>
                    <a:pt x="0" y="8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1"/>
                    <a:pt x="70" y="3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30" y="3"/>
                    <a:pt x="130" y="3"/>
                    <a:pt x="130" y="3"/>
                  </a:cubicBezTo>
                  <a:cubicBezTo>
                    <a:pt x="130" y="1"/>
                    <a:pt x="132" y="0"/>
                    <a:pt x="133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93" y="0"/>
                    <a:pt x="200" y="7"/>
                    <a:pt x="200" y="16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5"/>
                    <a:pt x="198" y="86"/>
                    <a:pt x="196" y="86"/>
                  </a:cubicBezTo>
                  <a:cubicBezTo>
                    <a:pt x="137" y="86"/>
                    <a:pt x="137" y="86"/>
                    <a:pt x="137" y="86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198" y="96"/>
                    <a:pt x="200" y="98"/>
                    <a:pt x="200" y="99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0" y="127"/>
                    <a:pt x="191" y="136"/>
                    <a:pt x="180" y="136"/>
                  </a:cubicBezTo>
                  <a:close/>
                  <a:moveTo>
                    <a:pt x="7" y="103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7" y="124"/>
                    <a:pt x="13" y="130"/>
                    <a:pt x="20" y="130"/>
                  </a:cubicBezTo>
                  <a:cubicBezTo>
                    <a:pt x="180" y="130"/>
                    <a:pt x="180" y="130"/>
                    <a:pt x="180" y="130"/>
                  </a:cubicBezTo>
                  <a:cubicBezTo>
                    <a:pt x="187" y="130"/>
                    <a:pt x="193" y="124"/>
                    <a:pt x="193" y="116"/>
                  </a:cubicBezTo>
                  <a:cubicBezTo>
                    <a:pt x="193" y="103"/>
                    <a:pt x="193" y="103"/>
                    <a:pt x="193" y="103"/>
                  </a:cubicBezTo>
                  <a:cubicBezTo>
                    <a:pt x="133" y="103"/>
                    <a:pt x="133" y="103"/>
                    <a:pt x="133" y="103"/>
                  </a:cubicBezTo>
                  <a:cubicBezTo>
                    <a:pt x="132" y="103"/>
                    <a:pt x="130" y="101"/>
                    <a:pt x="130" y="99"/>
                  </a:cubicBezTo>
                  <a:cubicBezTo>
                    <a:pt x="130" y="83"/>
                    <a:pt x="130" y="83"/>
                    <a:pt x="130" y="83"/>
                  </a:cubicBezTo>
                  <a:cubicBezTo>
                    <a:pt x="130" y="81"/>
                    <a:pt x="132" y="79"/>
                    <a:pt x="133" y="79"/>
                  </a:cubicBezTo>
                  <a:cubicBezTo>
                    <a:pt x="193" y="79"/>
                    <a:pt x="193" y="79"/>
                    <a:pt x="193" y="79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3" y="11"/>
                    <a:pt x="189" y="7"/>
                    <a:pt x="184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37" y="18"/>
                    <a:pt x="135" y="19"/>
                    <a:pt x="133" y="1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5" y="19"/>
                    <a:pt x="63" y="18"/>
                    <a:pt x="63" y="16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1" y="7"/>
                    <a:pt x="7" y="11"/>
                    <a:pt x="7" y="16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8" y="79"/>
                    <a:pt x="70" y="81"/>
                    <a:pt x="70" y="83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101"/>
                    <a:pt x="68" y="103"/>
                    <a:pt x="66" y="103"/>
                  </a:cubicBezTo>
                  <a:lnTo>
                    <a:pt x="7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" name="Freeform 1001">
              <a:extLst>
                <a:ext uri="{FF2B5EF4-FFF2-40B4-BE49-F238E27FC236}">
                  <a16:creationId xmlns:a16="http://schemas.microsoft.com/office/drawing/2014/main" id="{8B3D1DDA-C1FB-40AF-987D-059DCD475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8879" y="3145100"/>
              <a:ext cx="134046" cy="193482"/>
            </a:xfrm>
            <a:custGeom>
              <a:avLst/>
              <a:gdLst>
                <a:gd name="T0" fmla="*/ 70 w 74"/>
                <a:gd name="T1" fmla="*/ 107 h 107"/>
                <a:gd name="T2" fmla="*/ 3 w 74"/>
                <a:gd name="T3" fmla="*/ 107 h 107"/>
                <a:gd name="T4" fmla="*/ 0 w 74"/>
                <a:gd name="T5" fmla="*/ 104 h 107"/>
                <a:gd name="T6" fmla="*/ 0 w 74"/>
                <a:gd name="T7" fmla="*/ 3 h 107"/>
                <a:gd name="T8" fmla="*/ 3 w 74"/>
                <a:gd name="T9" fmla="*/ 0 h 107"/>
                <a:gd name="T10" fmla="*/ 70 w 74"/>
                <a:gd name="T11" fmla="*/ 0 h 107"/>
                <a:gd name="T12" fmla="*/ 74 w 74"/>
                <a:gd name="T13" fmla="*/ 3 h 107"/>
                <a:gd name="T14" fmla="*/ 74 w 74"/>
                <a:gd name="T15" fmla="*/ 104 h 107"/>
                <a:gd name="T16" fmla="*/ 70 w 74"/>
                <a:gd name="T17" fmla="*/ 107 h 107"/>
                <a:gd name="T18" fmla="*/ 7 w 74"/>
                <a:gd name="T19" fmla="*/ 101 h 107"/>
                <a:gd name="T20" fmla="*/ 67 w 74"/>
                <a:gd name="T21" fmla="*/ 101 h 107"/>
                <a:gd name="T22" fmla="*/ 67 w 74"/>
                <a:gd name="T23" fmla="*/ 7 h 107"/>
                <a:gd name="T24" fmla="*/ 7 w 74"/>
                <a:gd name="T25" fmla="*/ 7 h 107"/>
                <a:gd name="T26" fmla="*/ 7 w 74"/>
                <a:gd name="T2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107">
                  <a:moveTo>
                    <a:pt x="70" y="107"/>
                  </a:moveTo>
                  <a:cubicBezTo>
                    <a:pt x="3" y="107"/>
                    <a:pt x="3" y="107"/>
                    <a:pt x="3" y="107"/>
                  </a:cubicBezTo>
                  <a:cubicBezTo>
                    <a:pt x="2" y="107"/>
                    <a:pt x="0" y="106"/>
                    <a:pt x="0" y="10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74" y="106"/>
                    <a:pt x="72" y="107"/>
                    <a:pt x="70" y="107"/>
                  </a:cubicBezTo>
                  <a:close/>
                  <a:moveTo>
                    <a:pt x="7" y="101"/>
                  </a:moveTo>
                  <a:cubicBezTo>
                    <a:pt x="67" y="101"/>
                    <a:pt x="67" y="101"/>
                    <a:pt x="67" y="101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" name="Freeform 1002">
              <a:extLst>
                <a:ext uri="{FF2B5EF4-FFF2-40B4-BE49-F238E27FC236}">
                  <a16:creationId xmlns:a16="http://schemas.microsoft.com/office/drawing/2014/main" id="{265DB9DA-8C70-4F15-8A85-77B0F7D299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20280" y="3236150"/>
              <a:ext cx="147956" cy="42996"/>
            </a:xfrm>
            <a:custGeom>
              <a:avLst/>
              <a:gdLst>
                <a:gd name="T0" fmla="*/ 71 w 82"/>
                <a:gd name="T1" fmla="*/ 24 h 24"/>
                <a:gd name="T2" fmla="*/ 3 w 82"/>
                <a:gd name="T3" fmla="*/ 24 h 24"/>
                <a:gd name="T4" fmla="*/ 0 w 82"/>
                <a:gd name="T5" fmla="*/ 20 h 24"/>
                <a:gd name="T6" fmla="*/ 0 w 82"/>
                <a:gd name="T7" fmla="*/ 4 h 24"/>
                <a:gd name="T8" fmla="*/ 3 w 82"/>
                <a:gd name="T9" fmla="*/ 0 h 24"/>
                <a:gd name="T10" fmla="*/ 71 w 82"/>
                <a:gd name="T11" fmla="*/ 0 h 24"/>
                <a:gd name="T12" fmla="*/ 82 w 82"/>
                <a:gd name="T13" fmla="*/ 12 h 24"/>
                <a:gd name="T14" fmla="*/ 79 w 82"/>
                <a:gd name="T15" fmla="*/ 20 h 24"/>
                <a:gd name="T16" fmla="*/ 71 w 82"/>
                <a:gd name="T17" fmla="*/ 24 h 24"/>
                <a:gd name="T18" fmla="*/ 7 w 82"/>
                <a:gd name="T19" fmla="*/ 17 h 24"/>
                <a:gd name="T20" fmla="*/ 71 w 82"/>
                <a:gd name="T21" fmla="*/ 17 h 24"/>
                <a:gd name="T22" fmla="*/ 74 w 82"/>
                <a:gd name="T23" fmla="*/ 16 h 24"/>
                <a:gd name="T24" fmla="*/ 75 w 82"/>
                <a:gd name="T25" fmla="*/ 12 h 24"/>
                <a:gd name="T26" fmla="*/ 71 w 82"/>
                <a:gd name="T27" fmla="*/ 7 h 24"/>
                <a:gd name="T28" fmla="*/ 7 w 82"/>
                <a:gd name="T29" fmla="*/ 7 h 24"/>
                <a:gd name="T30" fmla="*/ 7 w 82"/>
                <a:gd name="T31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24">
                  <a:moveTo>
                    <a:pt x="71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7" y="0"/>
                    <a:pt x="82" y="6"/>
                    <a:pt x="82" y="12"/>
                  </a:cubicBezTo>
                  <a:cubicBezTo>
                    <a:pt x="82" y="15"/>
                    <a:pt x="81" y="18"/>
                    <a:pt x="79" y="20"/>
                  </a:cubicBezTo>
                  <a:cubicBezTo>
                    <a:pt x="77" y="23"/>
                    <a:pt x="74" y="24"/>
                    <a:pt x="71" y="24"/>
                  </a:cubicBezTo>
                  <a:close/>
                  <a:moveTo>
                    <a:pt x="7" y="17"/>
                  </a:moveTo>
                  <a:cubicBezTo>
                    <a:pt x="71" y="17"/>
                    <a:pt x="71" y="17"/>
                    <a:pt x="71" y="17"/>
                  </a:cubicBezTo>
                  <a:cubicBezTo>
                    <a:pt x="72" y="17"/>
                    <a:pt x="73" y="17"/>
                    <a:pt x="74" y="16"/>
                  </a:cubicBezTo>
                  <a:cubicBezTo>
                    <a:pt x="75" y="15"/>
                    <a:pt x="75" y="13"/>
                    <a:pt x="75" y="12"/>
                  </a:cubicBezTo>
                  <a:cubicBezTo>
                    <a:pt x="75" y="9"/>
                    <a:pt x="73" y="7"/>
                    <a:pt x="71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" name="Freeform 1003">
              <a:extLst>
                <a:ext uri="{FF2B5EF4-FFF2-40B4-BE49-F238E27FC236}">
                  <a16:creationId xmlns:a16="http://schemas.microsoft.com/office/drawing/2014/main" id="{07902D2A-089D-4633-9A5E-7150B5999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2304" y="3236150"/>
              <a:ext cx="149221" cy="42996"/>
            </a:xfrm>
            <a:custGeom>
              <a:avLst/>
              <a:gdLst>
                <a:gd name="T0" fmla="*/ 78 w 82"/>
                <a:gd name="T1" fmla="*/ 24 h 24"/>
                <a:gd name="T2" fmla="*/ 11 w 82"/>
                <a:gd name="T3" fmla="*/ 24 h 24"/>
                <a:gd name="T4" fmla="*/ 0 w 82"/>
                <a:gd name="T5" fmla="*/ 12 h 24"/>
                <a:gd name="T6" fmla="*/ 3 w 82"/>
                <a:gd name="T7" fmla="*/ 4 h 24"/>
                <a:gd name="T8" fmla="*/ 11 w 82"/>
                <a:gd name="T9" fmla="*/ 0 h 24"/>
                <a:gd name="T10" fmla="*/ 78 w 82"/>
                <a:gd name="T11" fmla="*/ 0 h 24"/>
                <a:gd name="T12" fmla="*/ 82 w 82"/>
                <a:gd name="T13" fmla="*/ 4 h 24"/>
                <a:gd name="T14" fmla="*/ 82 w 82"/>
                <a:gd name="T15" fmla="*/ 20 h 24"/>
                <a:gd name="T16" fmla="*/ 78 w 82"/>
                <a:gd name="T17" fmla="*/ 24 h 24"/>
                <a:gd name="T18" fmla="*/ 11 w 82"/>
                <a:gd name="T19" fmla="*/ 7 h 24"/>
                <a:gd name="T20" fmla="*/ 8 w 82"/>
                <a:gd name="T21" fmla="*/ 9 h 24"/>
                <a:gd name="T22" fmla="*/ 6 w 82"/>
                <a:gd name="T23" fmla="*/ 12 h 24"/>
                <a:gd name="T24" fmla="*/ 11 w 82"/>
                <a:gd name="T25" fmla="*/ 17 h 24"/>
                <a:gd name="T26" fmla="*/ 75 w 82"/>
                <a:gd name="T27" fmla="*/ 17 h 24"/>
                <a:gd name="T28" fmla="*/ 75 w 82"/>
                <a:gd name="T29" fmla="*/ 7 h 24"/>
                <a:gd name="T30" fmla="*/ 11 w 82"/>
                <a:gd name="T3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24">
                  <a:moveTo>
                    <a:pt x="78" y="24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9"/>
                    <a:pt x="1" y="6"/>
                    <a:pt x="3" y="4"/>
                  </a:cubicBezTo>
                  <a:cubicBezTo>
                    <a:pt x="5" y="2"/>
                    <a:pt x="8" y="0"/>
                    <a:pt x="11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0" y="0"/>
                    <a:pt x="82" y="2"/>
                    <a:pt x="82" y="4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2"/>
                    <a:pt x="80" y="24"/>
                    <a:pt x="78" y="24"/>
                  </a:cubicBezTo>
                  <a:close/>
                  <a:moveTo>
                    <a:pt x="11" y="7"/>
                  </a:moveTo>
                  <a:cubicBezTo>
                    <a:pt x="10" y="7"/>
                    <a:pt x="9" y="8"/>
                    <a:pt x="8" y="9"/>
                  </a:cubicBezTo>
                  <a:cubicBezTo>
                    <a:pt x="7" y="10"/>
                    <a:pt x="6" y="11"/>
                    <a:pt x="6" y="12"/>
                  </a:cubicBezTo>
                  <a:cubicBezTo>
                    <a:pt x="6" y="15"/>
                    <a:pt x="9" y="17"/>
                    <a:pt x="11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7"/>
                    <a:pt x="75" y="7"/>
                    <a:pt x="75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" name="Freeform 1004">
              <a:extLst>
                <a:ext uri="{FF2B5EF4-FFF2-40B4-BE49-F238E27FC236}">
                  <a16:creationId xmlns:a16="http://schemas.microsoft.com/office/drawing/2014/main" id="{712A52AB-0FBE-48DF-9483-423594E948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3802" y="3145100"/>
              <a:ext cx="127723" cy="103696"/>
            </a:xfrm>
            <a:custGeom>
              <a:avLst/>
              <a:gdLst>
                <a:gd name="T0" fmla="*/ 66 w 70"/>
                <a:gd name="T1" fmla="*/ 57 h 57"/>
                <a:gd name="T2" fmla="*/ 4 w 70"/>
                <a:gd name="T3" fmla="*/ 57 h 57"/>
                <a:gd name="T4" fmla="*/ 0 w 70"/>
                <a:gd name="T5" fmla="*/ 54 h 57"/>
                <a:gd name="T6" fmla="*/ 0 w 70"/>
                <a:gd name="T7" fmla="*/ 3 h 57"/>
                <a:gd name="T8" fmla="*/ 4 w 70"/>
                <a:gd name="T9" fmla="*/ 0 h 57"/>
                <a:gd name="T10" fmla="*/ 66 w 70"/>
                <a:gd name="T11" fmla="*/ 0 h 57"/>
                <a:gd name="T12" fmla="*/ 70 w 70"/>
                <a:gd name="T13" fmla="*/ 3 h 57"/>
                <a:gd name="T14" fmla="*/ 70 w 70"/>
                <a:gd name="T15" fmla="*/ 54 h 57"/>
                <a:gd name="T16" fmla="*/ 66 w 70"/>
                <a:gd name="T17" fmla="*/ 57 h 57"/>
                <a:gd name="T18" fmla="*/ 7 w 70"/>
                <a:gd name="T19" fmla="*/ 50 h 57"/>
                <a:gd name="T20" fmla="*/ 63 w 70"/>
                <a:gd name="T21" fmla="*/ 50 h 57"/>
                <a:gd name="T22" fmla="*/ 63 w 70"/>
                <a:gd name="T23" fmla="*/ 7 h 57"/>
                <a:gd name="T24" fmla="*/ 7 w 70"/>
                <a:gd name="T25" fmla="*/ 7 h 57"/>
                <a:gd name="T26" fmla="*/ 7 w 70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66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3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6"/>
                    <a:pt x="68" y="57"/>
                    <a:pt x="66" y="57"/>
                  </a:cubicBezTo>
                  <a:close/>
                  <a:moveTo>
                    <a:pt x="7" y="50"/>
                  </a:moveTo>
                  <a:cubicBezTo>
                    <a:pt x="63" y="50"/>
                    <a:pt x="63" y="50"/>
                    <a:pt x="63" y="5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" name="Freeform 1005">
              <a:extLst>
                <a:ext uri="{FF2B5EF4-FFF2-40B4-BE49-F238E27FC236}">
                  <a16:creationId xmlns:a16="http://schemas.microsoft.com/office/drawing/2014/main" id="{1A66326C-FF65-4436-A46A-06E98AA0E5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20280" y="3145100"/>
              <a:ext cx="126459" cy="103696"/>
            </a:xfrm>
            <a:custGeom>
              <a:avLst/>
              <a:gdLst>
                <a:gd name="T0" fmla="*/ 66 w 70"/>
                <a:gd name="T1" fmla="*/ 57 h 57"/>
                <a:gd name="T2" fmla="*/ 3 w 70"/>
                <a:gd name="T3" fmla="*/ 57 h 57"/>
                <a:gd name="T4" fmla="*/ 0 w 70"/>
                <a:gd name="T5" fmla="*/ 54 h 57"/>
                <a:gd name="T6" fmla="*/ 0 w 70"/>
                <a:gd name="T7" fmla="*/ 3 h 57"/>
                <a:gd name="T8" fmla="*/ 3 w 70"/>
                <a:gd name="T9" fmla="*/ 0 h 57"/>
                <a:gd name="T10" fmla="*/ 66 w 70"/>
                <a:gd name="T11" fmla="*/ 0 h 57"/>
                <a:gd name="T12" fmla="*/ 70 w 70"/>
                <a:gd name="T13" fmla="*/ 3 h 57"/>
                <a:gd name="T14" fmla="*/ 70 w 70"/>
                <a:gd name="T15" fmla="*/ 54 h 57"/>
                <a:gd name="T16" fmla="*/ 66 w 70"/>
                <a:gd name="T17" fmla="*/ 57 h 57"/>
                <a:gd name="T18" fmla="*/ 7 w 70"/>
                <a:gd name="T19" fmla="*/ 50 h 57"/>
                <a:gd name="T20" fmla="*/ 63 w 70"/>
                <a:gd name="T21" fmla="*/ 50 h 57"/>
                <a:gd name="T22" fmla="*/ 63 w 70"/>
                <a:gd name="T23" fmla="*/ 7 h 57"/>
                <a:gd name="T24" fmla="*/ 7 w 70"/>
                <a:gd name="T25" fmla="*/ 7 h 57"/>
                <a:gd name="T26" fmla="*/ 7 w 70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66" y="57"/>
                  </a:moveTo>
                  <a:cubicBezTo>
                    <a:pt x="3" y="57"/>
                    <a:pt x="3" y="57"/>
                    <a:pt x="3" y="57"/>
                  </a:cubicBezTo>
                  <a:cubicBezTo>
                    <a:pt x="2" y="57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3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6"/>
                    <a:pt x="68" y="57"/>
                    <a:pt x="66" y="57"/>
                  </a:cubicBezTo>
                  <a:close/>
                  <a:moveTo>
                    <a:pt x="7" y="50"/>
                  </a:moveTo>
                  <a:cubicBezTo>
                    <a:pt x="63" y="50"/>
                    <a:pt x="63" y="50"/>
                    <a:pt x="63" y="5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" name="Freeform 1006">
              <a:extLst>
                <a:ext uri="{FF2B5EF4-FFF2-40B4-BE49-F238E27FC236}">
                  <a16:creationId xmlns:a16="http://schemas.microsoft.com/office/drawing/2014/main" id="{CE6A04D2-B167-4266-9025-39473F7ECD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417" y="3046462"/>
              <a:ext cx="300971" cy="58171"/>
            </a:xfrm>
            <a:custGeom>
              <a:avLst/>
              <a:gdLst>
                <a:gd name="T0" fmla="*/ 163 w 166"/>
                <a:gd name="T1" fmla="*/ 32 h 32"/>
                <a:gd name="T2" fmla="*/ 163 w 166"/>
                <a:gd name="T3" fmla="*/ 32 h 32"/>
                <a:gd name="T4" fmla="*/ 116 w 166"/>
                <a:gd name="T5" fmla="*/ 32 h 32"/>
                <a:gd name="T6" fmla="*/ 113 w 166"/>
                <a:gd name="T7" fmla="*/ 28 h 32"/>
                <a:gd name="T8" fmla="*/ 113 w 166"/>
                <a:gd name="T9" fmla="*/ 23 h 32"/>
                <a:gd name="T10" fmla="*/ 53 w 166"/>
                <a:gd name="T11" fmla="*/ 23 h 32"/>
                <a:gd name="T12" fmla="*/ 53 w 166"/>
                <a:gd name="T13" fmla="*/ 28 h 32"/>
                <a:gd name="T14" fmla="*/ 49 w 166"/>
                <a:gd name="T15" fmla="*/ 32 h 32"/>
                <a:gd name="T16" fmla="*/ 3 w 166"/>
                <a:gd name="T17" fmla="*/ 32 h 32"/>
                <a:gd name="T18" fmla="*/ 0 w 166"/>
                <a:gd name="T19" fmla="*/ 28 h 32"/>
                <a:gd name="T20" fmla="*/ 8 w 166"/>
                <a:gd name="T21" fmla="*/ 8 h 32"/>
                <a:gd name="T22" fmla="*/ 28 w 166"/>
                <a:gd name="T23" fmla="*/ 0 h 32"/>
                <a:gd name="T24" fmla="*/ 137 w 166"/>
                <a:gd name="T25" fmla="*/ 0 h 32"/>
                <a:gd name="T26" fmla="*/ 166 w 166"/>
                <a:gd name="T27" fmla="*/ 27 h 32"/>
                <a:gd name="T28" fmla="*/ 166 w 166"/>
                <a:gd name="T29" fmla="*/ 28 h 32"/>
                <a:gd name="T30" fmla="*/ 163 w 166"/>
                <a:gd name="T31" fmla="*/ 32 h 32"/>
                <a:gd name="T32" fmla="*/ 120 w 166"/>
                <a:gd name="T33" fmla="*/ 25 h 32"/>
                <a:gd name="T34" fmla="*/ 159 w 166"/>
                <a:gd name="T35" fmla="*/ 25 h 32"/>
                <a:gd name="T36" fmla="*/ 137 w 166"/>
                <a:gd name="T37" fmla="*/ 6 h 32"/>
                <a:gd name="T38" fmla="*/ 28 w 166"/>
                <a:gd name="T39" fmla="*/ 6 h 32"/>
                <a:gd name="T40" fmla="*/ 13 w 166"/>
                <a:gd name="T41" fmla="*/ 13 h 32"/>
                <a:gd name="T42" fmla="*/ 7 w 166"/>
                <a:gd name="T43" fmla="*/ 25 h 32"/>
                <a:gd name="T44" fmla="*/ 46 w 166"/>
                <a:gd name="T45" fmla="*/ 25 h 32"/>
                <a:gd name="T46" fmla="*/ 46 w 166"/>
                <a:gd name="T47" fmla="*/ 20 h 32"/>
                <a:gd name="T48" fmla="*/ 49 w 166"/>
                <a:gd name="T49" fmla="*/ 16 h 32"/>
                <a:gd name="T50" fmla="*/ 116 w 166"/>
                <a:gd name="T51" fmla="*/ 16 h 32"/>
                <a:gd name="T52" fmla="*/ 120 w 166"/>
                <a:gd name="T53" fmla="*/ 20 h 32"/>
                <a:gd name="T54" fmla="*/ 120 w 166"/>
                <a:gd name="T55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6" h="32">
                  <a:moveTo>
                    <a:pt x="163" y="32"/>
                  </a:moveTo>
                  <a:cubicBezTo>
                    <a:pt x="163" y="32"/>
                    <a:pt x="163" y="32"/>
                    <a:pt x="163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5" y="32"/>
                    <a:pt x="113" y="30"/>
                    <a:pt x="113" y="28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30"/>
                    <a:pt x="51" y="32"/>
                    <a:pt x="49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4" y="3"/>
                    <a:pt x="21" y="0"/>
                    <a:pt x="28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53" y="0"/>
                    <a:pt x="166" y="12"/>
                    <a:pt x="166" y="27"/>
                  </a:cubicBezTo>
                  <a:cubicBezTo>
                    <a:pt x="166" y="28"/>
                    <a:pt x="166" y="28"/>
                    <a:pt x="166" y="28"/>
                  </a:cubicBezTo>
                  <a:cubicBezTo>
                    <a:pt x="166" y="30"/>
                    <a:pt x="165" y="32"/>
                    <a:pt x="163" y="32"/>
                  </a:cubicBezTo>
                  <a:close/>
                  <a:moveTo>
                    <a:pt x="120" y="25"/>
                  </a:moveTo>
                  <a:cubicBezTo>
                    <a:pt x="159" y="25"/>
                    <a:pt x="159" y="25"/>
                    <a:pt x="159" y="25"/>
                  </a:cubicBezTo>
                  <a:cubicBezTo>
                    <a:pt x="157" y="14"/>
                    <a:pt x="148" y="6"/>
                    <a:pt x="137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3" y="6"/>
                    <a:pt x="17" y="9"/>
                    <a:pt x="13" y="13"/>
                  </a:cubicBezTo>
                  <a:cubicBezTo>
                    <a:pt x="10" y="16"/>
                    <a:pt x="8" y="20"/>
                    <a:pt x="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18"/>
                    <a:pt x="48" y="16"/>
                    <a:pt x="49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18" y="16"/>
                    <a:pt x="120" y="18"/>
                    <a:pt x="120" y="20"/>
                  </a:cubicBezTo>
                  <a:lnTo>
                    <a:pt x="12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" name="Freeform 1007">
              <a:extLst>
                <a:ext uri="{FF2B5EF4-FFF2-40B4-BE49-F238E27FC236}">
                  <a16:creationId xmlns:a16="http://schemas.microsoft.com/office/drawing/2014/main" id="{9ED009DD-49BA-4297-9B8E-9CD4A9714D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8879" y="3075548"/>
              <a:ext cx="134046" cy="51848"/>
            </a:xfrm>
            <a:custGeom>
              <a:avLst/>
              <a:gdLst>
                <a:gd name="T0" fmla="*/ 70 w 74"/>
                <a:gd name="T1" fmla="*/ 28 h 28"/>
                <a:gd name="T2" fmla="*/ 3 w 74"/>
                <a:gd name="T3" fmla="*/ 28 h 28"/>
                <a:gd name="T4" fmla="*/ 0 w 74"/>
                <a:gd name="T5" fmla="*/ 25 h 28"/>
                <a:gd name="T6" fmla="*/ 0 w 74"/>
                <a:gd name="T7" fmla="*/ 4 h 28"/>
                <a:gd name="T8" fmla="*/ 3 w 74"/>
                <a:gd name="T9" fmla="*/ 0 h 28"/>
                <a:gd name="T10" fmla="*/ 70 w 74"/>
                <a:gd name="T11" fmla="*/ 0 h 28"/>
                <a:gd name="T12" fmla="*/ 74 w 74"/>
                <a:gd name="T13" fmla="*/ 4 h 28"/>
                <a:gd name="T14" fmla="*/ 74 w 74"/>
                <a:gd name="T15" fmla="*/ 25 h 28"/>
                <a:gd name="T16" fmla="*/ 70 w 74"/>
                <a:gd name="T17" fmla="*/ 28 h 28"/>
                <a:gd name="T18" fmla="*/ 7 w 74"/>
                <a:gd name="T19" fmla="*/ 21 h 28"/>
                <a:gd name="T20" fmla="*/ 67 w 74"/>
                <a:gd name="T21" fmla="*/ 21 h 28"/>
                <a:gd name="T22" fmla="*/ 67 w 74"/>
                <a:gd name="T23" fmla="*/ 7 h 28"/>
                <a:gd name="T24" fmla="*/ 7 w 74"/>
                <a:gd name="T25" fmla="*/ 7 h 28"/>
                <a:gd name="T26" fmla="*/ 7 w 74"/>
                <a:gd name="T27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28">
                  <a:moveTo>
                    <a:pt x="70" y="28"/>
                  </a:moveTo>
                  <a:cubicBezTo>
                    <a:pt x="3" y="28"/>
                    <a:pt x="3" y="28"/>
                    <a:pt x="3" y="28"/>
                  </a:cubicBezTo>
                  <a:cubicBezTo>
                    <a:pt x="2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4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7"/>
                    <a:pt x="72" y="28"/>
                    <a:pt x="70" y="28"/>
                  </a:cubicBezTo>
                  <a:close/>
                  <a:moveTo>
                    <a:pt x="7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" name="Freeform 1008">
              <a:extLst>
                <a:ext uri="{FF2B5EF4-FFF2-40B4-BE49-F238E27FC236}">
                  <a16:creationId xmlns:a16="http://schemas.microsoft.com/office/drawing/2014/main" id="{4B791440-32BB-4D2A-95F0-A4E2224ED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8665" y="3236150"/>
              <a:ext cx="12646" cy="29085"/>
            </a:xfrm>
            <a:custGeom>
              <a:avLst/>
              <a:gdLst>
                <a:gd name="T0" fmla="*/ 4 w 7"/>
                <a:gd name="T1" fmla="*/ 16 h 16"/>
                <a:gd name="T2" fmla="*/ 0 w 7"/>
                <a:gd name="T3" fmla="*/ 12 h 16"/>
                <a:gd name="T4" fmla="*/ 0 w 7"/>
                <a:gd name="T5" fmla="*/ 4 h 16"/>
                <a:gd name="T6" fmla="*/ 4 w 7"/>
                <a:gd name="T7" fmla="*/ 0 h 16"/>
                <a:gd name="T8" fmla="*/ 7 w 7"/>
                <a:gd name="T9" fmla="*/ 4 h 16"/>
                <a:gd name="T10" fmla="*/ 7 w 7"/>
                <a:gd name="T11" fmla="*/ 12 h 16"/>
                <a:gd name="T12" fmla="*/ 4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4" y="16"/>
                  </a:moveTo>
                  <a:cubicBezTo>
                    <a:pt x="2" y="16"/>
                    <a:pt x="0" y="14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" name="Freeform 1009">
              <a:extLst>
                <a:ext uri="{FF2B5EF4-FFF2-40B4-BE49-F238E27FC236}">
                  <a16:creationId xmlns:a16="http://schemas.microsoft.com/office/drawing/2014/main" id="{FDB7E215-5ADB-45DF-A562-900D080A7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2692" y="2954147"/>
              <a:ext cx="155544" cy="12646"/>
            </a:xfrm>
            <a:custGeom>
              <a:avLst/>
              <a:gdLst>
                <a:gd name="T0" fmla="*/ 83 w 86"/>
                <a:gd name="T1" fmla="*/ 7 h 7"/>
                <a:gd name="T2" fmla="*/ 3 w 86"/>
                <a:gd name="T3" fmla="*/ 7 h 7"/>
                <a:gd name="T4" fmla="*/ 0 w 86"/>
                <a:gd name="T5" fmla="*/ 4 h 7"/>
                <a:gd name="T6" fmla="*/ 3 w 86"/>
                <a:gd name="T7" fmla="*/ 0 h 7"/>
                <a:gd name="T8" fmla="*/ 83 w 86"/>
                <a:gd name="T9" fmla="*/ 0 h 7"/>
                <a:gd name="T10" fmla="*/ 86 w 86"/>
                <a:gd name="T11" fmla="*/ 4 h 7"/>
                <a:gd name="T12" fmla="*/ 83 w 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">
                  <a:moveTo>
                    <a:pt x="8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5" y="0"/>
                    <a:pt x="86" y="2"/>
                    <a:pt x="86" y="4"/>
                  </a:cubicBezTo>
                  <a:cubicBezTo>
                    <a:pt x="86" y="6"/>
                    <a:pt x="85" y="7"/>
                    <a:pt x="8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" name="Freeform 1010">
              <a:extLst>
                <a:ext uri="{FF2B5EF4-FFF2-40B4-BE49-F238E27FC236}">
                  <a16:creationId xmlns:a16="http://schemas.microsoft.com/office/drawing/2014/main" id="{09DAE3D0-6709-45C5-90E0-1B74A065F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2304" y="2954147"/>
              <a:ext cx="155544" cy="12646"/>
            </a:xfrm>
            <a:custGeom>
              <a:avLst/>
              <a:gdLst>
                <a:gd name="T0" fmla="*/ 83 w 86"/>
                <a:gd name="T1" fmla="*/ 7 h 7"/>
                <a:gd name="T2" fmla="*/ 3 w 86"/>
                <a:gd name="T3" fmla="*/ 7 h 7"/>
                <a:gd name="T4" fmla="*/ 0 w 86"/>
                <a:gd name="T5" fmla="*/ 4 h 7"/>
                <a:gd name="T6" fmla="*/ 3 w 86"/>
                <a:gd name="T7" fmla="*/ 0 h 7"/>
                <a:gd name="T8" fmla="*/ 83 w 86"/>
                <a:gd name="T9" fmla="*/ 0 h 7"/>
                <a:gd name="T10" fmla="*/ 86 w 86"/>
                <a:gd name="T11" fmla="*/ 4 h 7"/>
                <a:gd name="T12" fmla="*/ 83 w 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">
                  <a:moveTo>
                    <a:pt x="8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6" y="2"/>
                    <a:pt x="86" y="4"/>
                  </a:cubicBezTo>
                  <a:cubicBezTo>
                    <a:pt x="86" y="6"/>
                    <a:pt x="84" y="7"/>
                    <a:pt x="8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" name="Freeform 1011">
              <a:extLst>
                <a:ext uri="{FF2B5EF4-FFF2-40B4-BE49-F238E27FC236}">
                  <a16:creationId xmlns:a16="http://schemas.microsoft.com/office/drawing/2014/main" id="{379287DF-5692-4FEA-B081-B045243A2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6817" y="2932649"/>
              <a:ext cx="58171" cy="58171"/>
            </a:xfrm>
            <a:custGeom>
              <a:avLst/>
              <a:gdLst>
                <a:gd name="T0" fmla="*/ 16 w 32"/>
                <a:gd name="T1" fmla="*/ 32 h 32"/>
                <a:gd name="T2" fmla="*/ 6 w 32"/>
                <a:gd name="T3" fmla="*/ 28 h 32"/>
                <a:gd name="T4" fmla="*/ 4 w 32"/>
                <a:gd name="T5" fmla="*/ 26 h 32"/>
                <a:gd name="T6" fmla="*/ 0 w 32"/>
                <a:gd name="T7" fmla="*/ 16 h 32"/>
                <a:gd name="T8" fmla="*/ 4 w 32"/>
                <a:gd name="T9" fmla="*/ 5 h 32"/>
                <a:gd name="T10" fmla="*/ 16 w 32"/>
                <a:gd name="T11" fmla="*/ 0 h 32"/>
                <a:gd name="T12" fmla="*/ 28 w 32"/>
                <a:gd name="T13" fmla="*/ 5 h 32"/>
                <a:gd name="T14" fmla="*/ 32 w 32"/>
                <a:gd name="T15" fmla="*/ 16 h 32"/>
                <a:gd name="T16" fmla="*/ 28 w 32"/>
                <a:gd name="T17" fmla="*/ 26 h 32"/>
                <a:gd name="T18" fmla="*/ 25 w 32"/>
                <a:gd name="T19" fmla="*/ 28 h 32"/>
                <a:gd name="T20" fmla="*/ 16 w 32"/>
                <a:gd name="T21" fmla="*/ 32 h 32"/>
                <a:gd name="T22" fmla="*/ 16 w 32"/>
                <a:gd name="T23" fmla="*/ 7 h 32"/>
                <a:gd name="T24" fmla="*/ 9 w 32"/>
                <a:gd name="T25" fmla="*/ 10 h 32"/>
                <a:gd name="T26" fmla="*/ 7 w 32"/>
                <a:gd name="T27" fmla="*/ 16 h 32"/>
                <a:gd name="T28" fmla="*/ 9 w 32"/>
                <a:gd name="T29" fmla="*/ 22 h 32"/>
                <a:gd name="T30" fmla="*/ 10 w 32"/>
                <a:gd name="T31" fmla="*/ 23 h 32"/>
                <a:gd name="T32" fmla="*/ 21 w 32"/>
                <a:gd name="T33" fmla="*/ 23 h 32"/>
                <a:gd name="T34" fmla="*/ 23 w 32"/>
                <a:gd name="T35" fmla="*/ 22 h 32"/>
                <a:gd name="T36" fmla="*/ 25 w 32"/>
                <a:gd name="T37" fmla="*/ 16 h 32"/>
                <a:gd name="T38" fmla="*/ 23 w 32"/>
                <a:gd name="T39" fmla="*/ 10 h 32"/>
                <a:gd name="T40" fmla="*/ 16 w 32"/>
                <a:gd name="T4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12" y="32"/>
                    <a:pt x="9" y="31"/>
                    <a:pt x="6" y="28"/>
                  </a:cubicBezTo>
                  <a:cubicBezTo>
                    <a:pt x="5" y="28"/>
                    <a:pt x="5" y="27"/>
                    <a:pt x="4" y="26"/>
                  </a:cubicBezTo>
                  <a:cubicBezTo>
                    <a:pt x="1" y="23"/>
                    <a:pt x="0" y="20"/>
                    <a:pt x="0" y="16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2"/>
                    <a:pt x="11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0" y="8"/>
                    <a:pt x="32" y="12"/>
                    <a:pt x="32" y="16"/>
                  </a:cubicBezTo>
                  <a:cubicBezTo>
                    <a:pt x="32" y="20"/>
                    <a:pt x="30" y="23"/>
                    <a:pt x="28" y="26"/>
                  </a:cubicBezTo>
                  <a:cubicBezTo>
                    <a:pt x="27" y="27"/>
                    <a:pt x="26" y="28"/>
                    <a:pt x="25" y="28"/>
                  </a:cubicBezTo>
                  <a:cubicBezTo>
                    <a:pt x="23" y="31"/>
                    <a:pt x="19" y="32"/>
                    <a:pt x="16" y="32"/>
                  </a:cubicBezTo>
                  <a:close/>
                  <a:moveTo>
                    <a:pt x="16" y="7"/>
                  </a:moveTo>
                  <a:cubicBezTo>
                    <a:pt x="13" y="7"/>
                    <a:pt x="11" y="8"/>
                    <a:pt x="9" y="10"/>
                  </a:cubicBezTo>
                  <a:cubicBezTo>
                    <a:pt x="8" y="11"/>
                    <a:pt x="7" y="13"/>
                    <a:pt x="7" y="16"/>
                  </a:cubicBezTo>
                  <a:cubicBezTo>
                    <a:pt x="7" y="18"/>
                    <a:pt x="8" y="20"/>
                    <a:pt x="9" y="22"/>
                  </a:cubicBezTo>
                  <a:cubicBezTo>
                    <a:pt x="10" y="22"/>
                    <a:pt x="10" y="23"/>
                    <a:pt x="10" y="23"/>
                  </a:cubicBezTo>
                  <a:cubicBezTo>
                    <a:pt x="14" y="25"/>
                    <a:pt x="18" y="25"/>
                    <a:pt x="21" y="23"/>
                  </a:cubicBezTo>
                  <a:cubicBezTo>
                    <a:pt x="22" y="23"/>
                    <a:pt x="22" y="22"/>
                    <a:pt x="23" y="22"/>
                  </a:cubicBezTo>
                  <a:cubicBezTo>
                    <a:pt x="24" y="20"/>
                    <a:pt x="25" y="18"/>
                    <a:pt x="25" y="16"/>
                  </a:cubicBezTo>
                  <a:cubicBezTo>
                    <a:pt x="25" y="13"/>
                    <a:pt x="24" y="11"/>
                    <a:pt x="23" y="10"/>
                  </a:cubicBezTo>
                  <a:cubicBezTo>
                    <a:pt x="21" y="8"/>
                    <a:pt x="19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" name="Freeform 1013">
              <a:extLst>
                <a:ext uri="{FF2B5EF4-FFF2-40B4-BE49-F238E27FC236}">
                  <a16:creationId xmlns:a16="http://schemas.microsoft.com/office/drawing/2014/main" id="{821A46E0-A175-42CF-BD1A-54CD62AD6B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1291" y="2973117"/>
              <a:ext cx="147956" cy="84727"/>
            </a:xfrm>
            <a:custGeom>
              <a:avLst/>
              <a:gdLst>
                <a:gd name="T0" fmla="*/ 79 w 82"/>
                <a:gd name="T1" fmla="*/ 47 h 47"/>
                <a:gd name="T2" fmla="*/ 79 w 82"/>
                <a:gd name="T3" fmla="*/ 47 h 47"/>
                <a:gd name="T4" fmla="*/ 3 w 82"/>
                <a:gd name="T5" fmla="*/ 47 h 47"/>
                <a:gd name="T6" fmla="*/ 0 w 82"/>
                <a:gd name="T7" fmla="*/ 45 h 47"/>
                <a:gd name="T8" fmla="*/ 0 w 82"/>
                <a:gd name="T9" fmla="*/ 42 h 47"/>
                <a:gd name="T10" fmla="*/ 31 w 82"/>
                <a:gd name="T11" fmla="*/ 2 h 47"/>
                <a:gd name="T12" fmla="*/ 35 w 82"/>
                <a:gd name="T13" fmla="*/ 1 h 47"/>
                <a:gd name="T14" fmla="*/ 46 w 82"/>
                <a:gd name="T15" fmla="*/ 1 h 47"/>
                <a:gd name="T16" fmla="*/ 51 w 82"/>
                <a:gd name="T17" fmla="*/ 2 h 47"/>
                <a:gd name="T18" fmla="*/ 81 w 82"/>
                <a:gd name="T19" fmla="*/ 41 h 47"/>
                <a:gd name="T20" fmla="*/ 82 w 82"/>
                <a:gd name="T21" fmla="*/ 44 h 47"/>
                <a:gd name="T22" fmla="*/ 79 w 82"/>
                <a:gd name="T23" fmla="*/ 47 h 47"/>
                <a:gd name="T24" fmla="*/ 10 w 82"/>
                <a:gd name="T25" fmla="*/ 41 h 47"/>
                <a:gd name="T26" fmla="*/ 72 w 82"/>
                <a:gd name="T27" fmla="*/ 41 h 47"/>
                <a:gd name="T28" fmla="*/ 48 w 82"/>
                <a:gd name="T29" fmla="*/ 8 h 47"/>
                <a:gd name="T30" fmla="*/ 34 w 82"/>
                <a:gd name="T31" fmla="*/ 8 h 47"/>
                <a:gd name="T32" fmla="*/ 10 w 82"/>
                <a:gd name="T33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47">
                  <a:moveTo>
                    <a:pt x="79" y="47"/>
                  </a:moveTo>
                  <a:cubicBezTo>
                    <a:pt x="79" y="47"/>
                    <a:pt x="79" y="47"/>
                    <a:pt x="79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2" y="47"/>
                    <a:pt x="1" y="47"/>
                    <a:pt x="0" y="45"/>
                  </a:cubicBezTo>
                  <a:cubicBezTo>
                    <a:pt x="0" y="44"/>
                    <a:pt x="0" y="43"/>
                    <a:pt x="0" y="4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0"/>
                    <a:pt x="34" y="0"/>
                    <a:pt x="35" y="1"/>
                  </a:cubicBezTo>
                  <a:cubicBezTo>
                    <a:pt x="39" y="3"/>
                    <a:pt x="43" y="3"/>
                    <a:pt x="46" y="1"/>
                  </a:cubicBezTo>
                  <a:cubicBezTo>
                    <a:pt x="48" y="0"/>
                    <a:pt x="50" y="0"/>
                    <a:pt x="51" y="2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2" y="42"/>
                    <a:pt x="82" y="43"/>
                    <a:pt x="82" y="44"/>
                  </a:cubicBezTo>
                  <a:cubicBezTo>
                    <a:pt x="82" y="46"/>
                    <a:pt x="81" y="47"/>
                    <a:pt x="79" y="47"/>
                  </a:cubicBezTo>
                  <a:close/>
                  <a:moveTo>
                    <a:pt x="10" y="41"/>
                  </a:moveTo>
                  <a:cubicBezTo>
                    <a:pt x="72" y="41"/>
                    <a:pt x="72" y="41"/>
                    <a:pt x="72" y="4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3" y="10"/>
                    <a:pt x="38" y="10"/>
                    <a:pt x="34" y="8"/>
                  </a:cubicBezTo>
                  <a:lnTo>
                    <a:pt x="1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" name="Freeform 1014">
              <a:extLst>
                <a:ext uri="{FF2B5EF4-FFF2-40B4-BE49-F238E27FC236}">
                  <a16:creationId xmlns:a16="http://schemas.microsoft.com/office/drawing/2014/main" id="{F7EE3F13-0E8A-46FB-9E3E-45415FFEB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05202" y="2940237"/>
              <a:ext cx="49319" cy="41731"/>
            </a:xfrm>
            <a:custGeom>
              <a:avLst/>
              <a:gdLst>
                <a:gd name="T0" fmla="*/ 24 w 27"/>
                <a:gd name="T1" fmla="*/ 23 h 23"/>
                <a:gd name="T2" fmla="*/ 24 w 27"/>
                <a:gd name="T3" fmla="*/ 23 h 23"/>
                <a:gd name="T4" fmla="*/ 12 w 27"/>
                <a:gd name="T5" fmla="*/ 23 h 23"/>
                <a:gd name="T6" fmla="*/ 0 w 27"/>
                <a:gd name="T7" fmla="*/ 12 h 23"/>
                <a:gd name="T8" fmla="*/ 4 w 27"/>
                <a:gd name="T9" fmla="*/ 3 h 23"/>
                <a:gd name="T10" fmla="*/ 12 w 27"/>
                <a:gd name="T11" fmla="*/ 0 h 23"/>
                <a:gd name="T12" fmla="*/ 24 w 27"/>
                <a:gd name="T13" fmla="*/ 0 h 23"/>
                <a:gd name="T14" fmla="*/ 27 w 27"/>
                <a:gd name="T15" fmla="*/ 2 h 23"/>
                <a:gd name="T16" fmla="*/ 26 w 27"/>
                <a:gd name="T17" fmla="*/ 6 h 23"/>
                <a:gd name="T18" fmla="*/ 24 w 27"/>
                <a:gd name="T19" fmla="*/ 12 h 23"/>
                <a:gd name="T20" fmla="*/ 26 w 27"/>
                <a:gd name="T21" fmla="*/ 17 h 23"/>
                <a:gd name="T22" fmla="*/ 27 w 27"/>
                <a:gd name="T23" fmla="*/ 20 h 23"/>
                <a:gd name="T24" fmla="*/ 24 w 27"/>
                <a:gd name="T25" fmla="*/ 23 h 23"/>
                <a:gd name="T26" fmla="*/ 12 w 27"/>
                <a:gd name="T27" fmla="*/ 7 h 23"/>
                <a:gd name="T28" fmla="*/ 9 w 27"/>
                <a:gd name="T29" fmla="*/ 8 h 23"/>
                <a:gd name="T30" fmla="*/ 7 w 27"/>
                <a:gd name="T31" fmla="*/ 12 h 23"/>
                <a:gd name="T32" fmla="*/ 12 w 27"/>
                <a:gd name="T33" fmla="*/ 17 h 23"/>
                <a:gd name="T34" fmla="*/ 18 w 27"/>
                <a:gd name="T35" fmla="*/ 17 h 23"/>
                <a:gd name="T36" fmla="*/ 17 w 27"/>
                <a:gd name="T37" fmla="*/ 12 h 23"/>
                <a:gd name="T38" fmla="*/ 18 w 27"/>
                <a:gd name="T39" fmla="*/ 7 h 23"/>
                <a:gd name="T40" fmla="*/ 12 w 27"/>
                <a:gd name="T41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23"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5" y="23"/>
                    <a:pt x="0" y="18"/>
                    <a:pt x="0" y="12"/>
                  </a:cubicBezTo>
                  <a:cubicBezTo>
                    <a:pt x="0" y="8"/>
                    <a:pt x="1" y="6"/>
                    <a:pt x="4" y="3"/>
                  </a:cubicBezTo>
                  <a:cubicBezTo>
                    <a:pt x="6" y="1"/>
                    <a:pt x="9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ubicBezTo>
                    <a:pt x="27" y="3"/>
                    <a:pt x="27" y="5"/>
                    <a:pt x="26" y="6"/>
                  </a:cubicBezTo>
                  <a:cubicBezTo>
                    <a:pt x="25" y="7"/>
                    <a:pt x="24" y="9"/>
                    <a:pt x="24" y="12"/>
                  </a:cubicBezTo>
                  <a:cubicBezTo>
                    <a:pt x="24" y="14"/>
                    <a:pt x="24" y="16"/>
                    <a:pt x="26" y="17"/>
                  </a:cubicBezTo>
                  <a:cubicBezTo>
                    <a:pt x="27" y="18"/>
                    <a:pt x="27" y="19"/>
                    <a:pt x="27" y="20"/>
                  </a:cubicBezTo>
                  <a:cubicBezTo>
                    <a:pt x="27" y="22"/>
                    <a:pt x="26" y="23"/>
                    <a:pt x="24" y="23"/>
                  </a:cubicBezTo>
                  <a:close/>
                  <a:moveTo>
                    <a:pt x="12" y="7"/>
                  </a:moveTo>
                  <a:cubicBezTo>
                    <a:pt x="11" y="7"/>
                    <a:pt x="9" y="7"/>
                    <a:pt x="9" y="8"/>
                  </a:cubicBezTo>
                  <a:cubicBezTo>
                    <a:pt x="8" y="9"/>
                    <a:pt x="7" y="10"/>
                    <a:pt x="7" y="12"/>
                  </a:cubicBezTo>
                  <a:cubicBezTo>
                    <a:pt x="7" y="14"/>
                    <a:pt x="9" y="17"/>
                    <a:pt x="12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5"/>
                    <a:pt x="17" y="13"/>
                    <a:pt x="17" y="12"/>
                  </a:cubicBezTo>
                  <a:cubicBezTo>
                    <a:pt x="17" y="10"/>
                    <a:pt x="17" y="8"/>
                    <a:pt x="18" y="7"/>
                  </a:cubicBezTo>
                  <a:lnTo>
                    <a:pt x="1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" name="Freeform 1015">
              <a:extLst>
                <a:ext uri="{FF2B5EF4-FFF2-40B4-BE49-F238E27FC236}">
                  <a16:creationId xmlns:a16="http://schemas.microsoft.com/office/drawing/2014/main" id="{991E54C6-BFE7-43BA-9B38-931210D57F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76018" y="2940237"/>
              <a:ext cx="49319" cy="41731"/>
            </a:xfrm>
            <a:custGeom>
              <a:avLst/>
              <a:gdLst>
                <a:gd name="T0" fmla="*/ 15 w 27"/>
                <a:gd name="T1" fmla="*/ 23 h 23"/>
                <a:gd name="T2" fmla="*/ 3 w 27"/>
                <a:gd name="T3" fmla="*/ 23 h 23"/>
                <a:gd name="T4" fmla="*/ 0 w 27"/>
                <a:gd name="T5" fmla="*/ 21 h 23"/>
                <a:gd name="T6" fmla="*/ 1 w 27"/>
                <a:gd name="T7" fmla="*/ 18 h 23"/>
                <a:gd name="T8" fmla="*/ 3 w 27"/>
                <a:gd name="T9" fmla="*/ 12 h 23"/>
                <a:gd name="T10" fmla="*/ 1 w 27"/>
                <a:gd name="T11" fmla="*/ 6 h 23"/>
                <a:gd name="T12" fmla="*/ 0 w 27"/>
                <a:gd name="T13" fmla="*/ 2 h 23"/>
                <a:gd name="T14" fmla="*/ 3 w 27"/>
                <a:gd name="T15" fmla="*/ 0 h 23"/>
                <a:gd name="T16" fmla="*/ 15 w 27"/>
                <a:gd name="T17" fmla="*/ 0 h 23"/>
                <a:gd name="T18" fmla="*/ 27 w 27"/>
                <a:gd name="T19" fmla="*/ 12 h 23"/>
                <a:gd name="T20" fmla="*/ 23 w 27"/>
                <a:gd name="T21" fmla="*/ 20 h 23"/>
                <a:gd name="T22" fmla="*/ 15 w 27"/>
                <a:gd name="T23" fmla="*/ 23 h 23"/>
                <a:gd name="T24" fmla="*/ 9 w 27"/>
                <a:gd name="T25" fmla="*/ 17 h 23"/>
                <a:gd name="T26" fmla="*/ 15 w 27"/>
                <a:gd name="T27" fmla="*/ 17 h 23"/>
                <a:gd name="T28" fmla="*/ 18 w 27"/>
                <a:gd name="T29" fmla="*/ 15 h 23"/>
                <a:gd name="T30" fmla="*/ 20 w 27"/>
                <a:gd name="T31" fmla="*/ 12 h 23"/>
                <a:gd name="T32" fmla="*/ 15 w 27"/>
                <a:gd name="T33" fmla="*/ 7 h 23"/>
                <a:gd name="T34" fmla="*/ 9 w 27"/>
                <a:gd name="T35" fmla="*/ 7 h 23"/>
                <a:gd name="T36" fmla="*/ 10 w 27"/>
                <a:gd name="T37" fmla="*/ 12 h 23"/>
                <a:gd name="T38" fmla="*/ 9 w 27"/>
                <a:gd name="T39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" h="23">
                  <a:moveTo>
                    <a:pt x="15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2" y="23"/>
                    <a:pt x="1" y="23"/>
                    <a:pt x="0" y="21"/>
                  </a:cubicBezTo>
                  <a:cubicBezTo>
                    <a:pt x="0" y="20"/>
                    <a:pt x="0" y="19"/>
                    <a:pt x="1" y="18"/>
                  </a:cubicBezTo>
                  <a:cubicBezTo>
                    <a:pt x="2" y="16"/>
                    <a:pt x="3" y="14"/>
                    <a:pt x="3" y="12"/>
                  </a:cubicBezTo>
                  <a:cubicBezTo>
                    <a:pt x="3" y="9"/>
                    <a:pt x="2" y="7"/>
                    <a:pt x="1" y="6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1" y="0"/>
                    <a:pt x="27" y="5"/>
                    <a:pt x="27" y="12"/>
                  </a:cubicBezTo>
                  <a:cubicBezTo>
                    <a:pt x="27" y="15"/>
                    <a:pt x="25" y="18"/>
                    <a:pt x="23" y="20"/>
                  </a:cubicBezTo>
                  <a:cubicBezTo>
                    <a:pt x="21" y="22"/>
                    <a:pt x="18" y="23"/>
                    <a:pt x="15" y="23"/>
                  </a:cubicBezTo>
                  <a:close/>
                  <a:moveTo>
                    <a:pt x="9" y="17"/>
                  </a:move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7" y="16"/>
                    <a:pt x="18" y="15"/>
                  </a:cubicBezTo>
                  <a:cubicBezTo>
                    <a:pt x="19" y="14"/>
                    <a:pt x="20" y="13"/>
                    <a:pt x="20" y="12"/>
                  </a:cubicBezTo>
                  <a:cubicBezTo>
                    <a:pt x="20" y="9"/>
                    <a:pt x="18" y="7"/>
                    <a:pt x="15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8"/>
                    <a:pt x="10" y="10"/>
                    <a:pt x="10" y="12"/>
                  </a:cubicBezTo>
                  <a:cubicBezTo>
                    <a:pt x="10" y="13"/>
                    <a:pt x="10" y="15"/>
                    <a:pt x="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9" name="Freeform 5">
            <a:extLst>
              <a:ext uri="{FF2B5EF4-FFF2-40B4-BE49-F238E27FC236}">
                <a16:creationId xmlns:a16="http://schemas.microsoft.com/office/drawing/2014/main" id="{8A11996A-9B92-421E-B317-BD1471E58BF5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16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15" dur="75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18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3.95833E-6 4.81481E-6 L 0.04127 4.81481E-6 " pathEditMode="relative" rAng="0" ptsTypes="AA">
                                      <p:cBhvr>
                                        <p:cTn id="34" dur="75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57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22" presetClass="entr" presetSubtype="2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7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4.375E-6 4.07407E-6 L 4.375E-6 0.03773 " pathEditMode="relative" rAng="0" ptsTypes="AA">
                                      <p:cBhvr>
                                        <p:cTn id="48" dur="750" spd="-100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42" presetClass="path" presetSubtype="0" accel="50000" decel="50000" fill="hold" grpId="1" nodeType="withEffect">
                                  <p:stCondLst>
                                    <p:cond delay="3750"/>
                                  </p:stCondLst>
                                  <p:childTnLst>
                                    <p:animMotion origin="layout" path="M -1.25E-6 1.85185E-6 L -1.25E-6 0.03773 " pathEditMode="relative" rAng="0" ptsTypes="AA">
                                      <p:cBhvr>
                                        <p:cTn id="62" dur="75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42" presetClass="path" presetSubtype="0" accel="50000" decel="50000" fill="hold" grpId="1" nodeType="withEffect">
                                  <p:stCondLst>
                                    <p:cond delay="4500"/>
                                  </p:stCondLst>
                                  <p:childTnLst>
                                    <p:animMotion origin="layout" path="M -1.25E-6 -4.07407E-6 L -1.25E-6 0.03774 " pathEditMode="relative" rAng="0" ptsTypes="AA">
                                      <p:cBhvr>
                                        <p:cTn id="76" dur="750" spd="-100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/>
      <p:bldP spid="7" grpId="0"/>
      <p:bldP spid="7" grpId="1"/>
      <p:bldP spid="49" grpId="0" animBg="1"/>
      <p:bldP spid="56" grpId="0" animBg="1"/>
      <p:bldP spid="68" grpId="0"/>
      <p:bldP spid="69" grpId="0"/>
      <p:bldP spid="69" grpId="1"/>
      <p:bldP spid="70" grpId="0"/>
      <p:bldP spid="71" grpId="0"/>
      <p:bldP spid="71" grpId="1"/>
      <p:bldGraphic spid="6" grpId="0">
        <p:bldAsOne/>
      </p:bldGraphic>
      <p:bldP spid="43" grpId="0" animBg="1"/>
      <p:bldP spid="83" grpId="0"/>
      <p:bldP spid="84" grpId="0"/>
      <p:bldP spid="84" grpId="1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82DD7550-B621-426B-9C96-0FDABCA15818}"/>
              </a:ext>
            </a:extLst>
          </p:cNvPr>
          <p:cNvSpPr txBox="1"/>
          <p:nvPr/>
        </p:nvSpPr>
        <p:spPr>
          <a:xfrm>
            <a:off x="724692" y="557265"/>
            <a:ext cx="7606508" cy="8921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" panose="00000500000000000000" pitchFamily="2" charset="0"/>
                <a:ea typeface="+mn-ea"/>
                <a:cs typeface="Arial" panose="020B0604020202020204" pitchFamily="34" charset="0"/>
              </a:rPr>
              <a:t>Título e </a:t>
            </a:r>
            <a:r>
              <a:rPr kumimoji="0" lang="pt-BR" sz="6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estaque</a:t>
            </a:r>
            <a:endParaRPr kumimoji="0" lang="pt-BR" sz="6000" b="1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" panose="00000500000000000000" pitchFamily="2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CE42227A-E792-400B-9EC7-2012BC550D32}"/>
              </a:ext>
            </a:extLst>
          </p:cNvPr>
          <p:cNvCxnSpPr>
            <a:cxnSpLocks/>
          </p:cNvCxnSpPr>
          <p:nvPr/>
        </p:nvCxnSpPr>
        <p:spPr>
          <a:xfrm>
            <a:off x="472233" y="1817680"/>
            <a:ext cx="0" cy="5040320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Agrupar 73">
            <a:extLst>
              <a:ext uri="{FF2B5EF4-FFF2-40B4-BE49-F238E27FC236}">
                <a16:creationId xmlns:a16="http://schemas.microsoft.com/office/drawing/2014/main" id="{C88B1520-F97E-4018-A51A-53567FB95140}"/>
              </a:ext>
            </a:extLst>
          </p:cNvPr>
          <p:cNvGrpSpPr/>
          <p:nvPr/>
        </p:nvGrpSpPr>
        <p:grpSpPr>
          <a:xfrm>
            <a:off x="472233" y="1362861"/>
            <a:ext cx="6855851" cy="914400"/>
            <a:chOff x="948483" y="2362200"/>
            <a:chExt cx="6855851" cy="914400"/>
          </a:xfrm>
        </p:grpSpPr>
        <p:sp>
          <p:nvSpPr>
            <p:cNvPr id="75" name="Arco 74">
              <a:extLst>
                <a:ext uri="{FF2B5EF4-FFF2-40B4-BE49-F238E27FC236}">
                  <a16:creationId xmlns:a16="http://schemas.microsoft.com/office/drawing/2014/main" id="{6F307FE8-4114-4F22-8755-6D46428F15F8}"/>
                </a:ext>
              </a:extLst>
            </p:cNvPr>
            <p:cNvSpPr/>
            <p:nvPr/>
          </p:nvSpPr>
          <p:spPr>
            <a:xfrm flipH="1">
              <a:off x="948483" y="2362200"/>
              <a:ext cx="914400" cy="914400"/>
            </a:xfrm>
            <a:prstGeom prst="arc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76" name="Conector reto 75">
              <a:extLst>
                <a:ext uri="{FF2B5EF4-FFF2-40B4-BE49-F238E27FC236}">
                  <a16:creationId xmlns:a16="http://schemas.microsoft.com/office/drawing/2014/main" id="{BE588282-38B8-4BC7-871C-3A479285E2BA}"/>
                </a:ext>
              </a:extLst>
            </p:cNvPr>
            <p:cNvCxnSpPr>
              <a:cxnSpLocks/>
            </p:cNvCxnSpPr>
            <p:nvPr/>
          </p:nvCxnSpPr>
          <p:spPr>
            <a:xfrm>
              <a:off x="1408135" y="2362200"/>
              <a:ext cx="6396199" cy="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B5547B79-EFA0-4282-8588-06F31A8CD4FD}"/>
              </a:ext>
            </a:extLst>
          </p:cNvPr>
          <p:cNvSpPr txBox="1"/>
          <p:nvPr/>
        </p:nvSpPr>
        <p:spPr>
          <a:xfrm>
            <a:off x="892116" y="1601925"/>
            <a:ext cx="6263427" cy="6074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Lorem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ipsum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si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me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consectetue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dipiscing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eli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Aenean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commodo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ligula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ege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. 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B35D1180-BE56-49B4-9163-E536AFD76686}"/>
              </a:ext>
            </a:extLst>
          </p:cNvPr>
          <p:cNvGraphicFramePr/>
          <p:nvPr/>
        </p:nvGraphicFramePr>
        <p:xfrm>
          <a:off x="724692" y="2899063"/>
          <a:ext cx="6209507" cy="3496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7" name="Agrupar 16">
            <a:extLst>
              <a:ext uri="{FF2B5EF4-FFF2-40B4-BE49-F238E27FC236}">
                <a16:creationId xmlns:a16="http://schemas.microsoft.com/office/drawing/2014/main" id="{C82B22D2-80F6-47D7-AC95-E59B6F974768}"/>
              </a:ext>
            </a:extLst>
          </p:cNvPr>
          <p:cNvGrpSpPr/>
          <p:nvPr/>
        </p:nvGrpSpPr>
        <p:grpSpPr>
          <a:xfrm>
            <a:off x="247656" y="2420149"/>
            <a:ext cx="4248140" cy="430752"/>
            <a:chOff x="505510" y="3027126"/>
            <a:chExt cx="5831099" cy="591261"/>
          </a:xfrm>
        </p:grpSpPr>
        <p:sp>
          <p:nvSpPr>
            <p:cNvPr id="18" name="Retângulo: Cantos Arredondados 17">
              <a:extLst>
                <a:ext uri="{FF2B5EF4-FFF2-40B4-BE49-F238E27FC236}">
                  <a16:creationId xmlns:a16="http://schemas.microsoft.com/office/drawing/2014/main" id="{846597B3-14AE-4B17-9B77-16364F051DE3}"/>
                </a:ext>
              </a:extLst>
            </p:cNvPr>
            <p:cNvSpPr/>
            <p:nvPr/>
          </p:nvSpPr>
          <p:spPr>
            <a:xfrm>
              <a:off x="505510" y="3027126"/>
              <a:ext cx="5831099" cy="591261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087E1850-8B62-4010-A1DD-280B18106D63}"/>
                </a:ext>
              </a:extLst>
            </p:cNvPr>
            <p:cNvSpPr txBox="1"/>
            <p:nvPr/>
          </p:nvSpPr>
          <p:spPr>
            <a:xfrm>
              <a:off x="1247288" y="3131704"/>
              <a:ext cx="4347541" cy="43723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Lorem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ipsum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dolor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sit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amet</a:t>
              </a: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3" name="Imagem 2">
            <a:extLst>
              <a:ext uri="{FF2B5EF4-FFF2-40B4-BE49-F238E27FC236}">
                <a16:creationId xmlns:a16="http://schemas.microsoft.com/office/drawing/2014/main" id="{BBFCB6ED-D1B2-4715-8608-45B23732A5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26" r="26254"/>
          <a:stretch/>
        </p:blipFill>
        <p:spPr>
          <a:xfrm>
            <a:off x="7250030" y="858"/>
            <a:ext cx="4938945" cy="685629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6BCA8FA1-A581-47A9-9D85-27F80F8728F8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A11996A-9B92-421E-B317-BD1471E58BF5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476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8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21" dur="75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26" dur="75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5" grpId="1"/>
      <p:bldGraphic spid="16" grpId="0">
        <p:bldAsOne/>
      </p:bldGraphic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6BCA8FA1-A581-47A9-9D85-27F80F8728F8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275CB088-7066-4F8A-9E09-D1CC3102B78E}"/>
              </a:ext>
            </a:extLst>
          </p:cNvPr>
          <p:cNvSpPr/>
          <p:nvPr/>
        </p:nvSpPr>
        <p:spPr>
          <a:xfrm>
            <a:off x="7328084" y="0"/>
            <a:ext cx="4863916" cy="6858000"/>
          </a:xfrm>
          <a:prstGeom prst="rect">
            <a:avLst/>
          </a:prstGeom>
          <a:solidFill>
            <a:srgbClr val="FF7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2DD7550-B621-426B-9C96-0FDABCA15818}"/>
              </a:ext>
            </a:extLst>
          </p:cNvPr>
          <p:cNvSpPr txBox="1"/>
          <p:nvPr/>
        </p:nvSpPr>
        <p:spPr>
          <a:xfrm>
            <a:off x="724692" y="557265"/>
            <a:ext cx="7606508" cy="8921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" panose="00000500000000000000" pitchFamily="2" charset="0"/>
                <a:ea typeface="+mn-ea"/>
                <a:cs typeface="Arial" panose="020B0604020202020204" pitchFamily="34" charset="0"/>
              </a:rPr>
              <a:t>Título e </a:t>
            </a:r>
            <a:r>
              <a:rPr kumimoji="0" lang="pt-BR" sz="6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estaque</a:t>
            </a:r>
            <a:endParaRPr kumimoji="0" lang="pt-BR" sz="6000" b="1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" panose="000005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B637B1EE-974B-40F1-9489-FDA44646D018}"/>
              </a:ext>
            </a:extLst>
          </p:cNvPr>
          <p:cNvSpPr txBox="1"/>
          <p:nvPr/>
        </p:nvSpPr>
        <p:spPr>
          <a:xfrm>
            <a:off x="892116" y="1601925"/>
            <a:ext cx="6263427" cy="6074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Lorem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ipsum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si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me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consectetue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dipiscing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eli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Aenean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commodo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ligula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ege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. 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79C32B17-0A39-4827-B745-D1F5039F6DB9}"/>
              </a:ext>
            </a:extLst>
          </p:cNvPr>
          <p:cNvGraphicFramePr/>
          <p:nvPr/>
        </p:nvGraphicFramePr>
        <p:xfrm>
          <a:off x="724692" y="2899063"/>
          <a:ext cx="6209507" cy="3496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9" name="Agrupar 38">
            <a:extLst>
              <a:ext uri="{FF2B5EF4-FFF2-40B4-BE49-F238E27FC236}">
                <a16:creationId xmlns:a16="http://schemas.microsoft.com/office/drawing/2014/main" id="{D7660493-A74F-450F-A1E5-0C57521A1733}"/>
              </a:ext>
            </a:extLst>
          </p:cNvPr>
          <p:cNvGrpSpPr/>
          <p:nvPr/>
        </p:nvGrpSpPr>
        <p:grpSpPr>
          <a:xfrm>
            <a:off x="247656" y="2420149"/>
            <a:ext cx="4248140" cy="430752"/>
            <a:chOff x="505510" y="3027126"/>
            <a:chExt cx="5831099" cy="591261"/>
          </a:xfrm>
        </p:grpSpPr>
        <p:sp>
          <p:nvSpPr>
            <p:cNvPr id="40" name="Retângulo: Cantos Arredondados 39">
              <a:extLst>
                <a:ext uri="{FF2B5EF4-FFF2-40B4-BE49-F238E27FC236}">
                  <a16:creationId xmlns:a16="http://schemas.microsoft.com/office/drawing/2014/main" id="{8BEA0807-1C07-4D1F-8426-C77650E01703}"/>
                </a:ext>
              </a:extLst>
            </p:cNvPr>
            <p:cNvSpPr/>
            <p:nvPr/>
          </p:nvSpPr>
          <p:spPr>
            <a:xfrm>
              <a:off x="505510" y="3027126"/>
              <a:ext cx="5831099" cy="591261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B54A7BBF-4974-441B-9590-F10E7D0318FB}"/>
                </a:ext>
              </a:extLst>
            </p:cNvPr>
            <p:cNvSpPr txBox="1"/>
            <p:nvPr/>
          </p:nvSpPr>
          <p:spPr>
            <a:xfrm>
              <a:off x="1247288" y="3131704"/>
              <a:ext cx="4347541" cy="43723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Lorem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ipsum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dolor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sit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amet</a:t>
              </a: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9" name="Freeform 5">
            <a:extLst>
              <a:ext uri="{FF2B5EF4-FFF2-40B4-BE49-F238E27FC236}">
                <a16:creationId xmlns:a16="http://schemas.microsoft.com/office/drawing/2014/main" id="{8A11996A-9B92-421E-B317-BD1471E58BF5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CE42227A-E792-400B-9EC7-2012BC550D32}"/>
              </a:ext>
            </a:extLst>
          </p:cNvPr>
          <p:cNvCxnSpPr>
            <a:cxnSpLocks/>
          </p:cNvCxnSpPr>
          <p:nvPr/>
        </p:nvCxnSpPr>
        <p:spPr>
          <a:xfrm>
            <a:off x="472233" y="1817680"/>
            <a:ext cx="0" cy="5040320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Agrupar 73">
            <a:extLst>
              <a:ext uri="{FF2B5EF4-FFF2-40B4-BE49-F238E27FC236}">
                <a16:creationId xmlns:a16="http://schemas.microsoft.com/office/drawing/2014/main" id="{C88B1520-F97E-4018-A51A-53567FB95140}"/>
              </a:ext>
            </a:extLst>
          </p:cNvPr>
          <p:cNvGrpSpPr/>
          <p:nvPr/>
        </p:nvGrpSpPr>
        <p:grpSpPr>
          <a:xfrm>
            <a:off x="472233" y="1362861"/>
            <a:ext cx="11719767" cy="914400"/>
            <a:chOff x="948483" y="2362200"/>
            <a:chExt cx="11719767" cy="914400"/>
          </a:xfrm>
        </p:grpSpPr>
        <p:sp>
          <p:nvSpPr>
            <p:cNvPr id="75" name="Arco 74">
              <a:extLst>
                <a:ext uri="{FF2B5EF4-FFF2-40B4-BE49-F238E27FC236}">
                  <a16:creationId xmlns:a16="http://schemas.microsoft.com/office/drawing/2014/main" id="{6F307FE8-4114-4F22-8755-6D46428F15F8}"/>
                </a:ext>
              </a:extLst>
            </p:cNvPr>
            <p:cNvSpPr/>
            <p:nvPr/>
          </p:nvSpPr>
          <p:spPr>
            <a:xfrm flipH="1">
              <a:off x="948483" y="2362200"/>
              <a:ext cx="914400" cy="914400"/>
            </a:xfrm>
            <a:prstGeom prst="arc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76" name="Conector reto 75">
              <a:extLst>
                <a:ext uri="{FF2B5EF4-FFF2-40B4-BE49-F238E27FC236}">
                  <a16:creationId xmlns:a16="http://schemas.microsoft.com/office/drawing/2014/main" id="{BE588282-38B8-4BC7-871C-3A479285E2BA}"/>
                </a:ext>
              </a:extLst>
            </p:cNvPr>
            <p:cNvCxnSpPr>
              <a:cxnSpLocks/>
            </p:cNvCxnSpPr>
            <p:nvPr/>
          </p:nvCxnSpPr>
          <p:spPr>
            <a:xfrm>
              <a:off x="1408135" y="2362200"/>
              <a:ext cx="6396199" cy="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>
              <a:extLst>
                <a:ext uri="{FF2B5EF4-FFF2-40B4-BE49-F238E27FC236}">
                  <a16:creationId xmlns:a16="http://schemas.microsoft.com/office/drawing/2014/main" id="{91EE2E82-7FB2-436D-9583-DA30E237C4DC}"/>
                </a:ext>
              </a:extLst>
            </p:cNvPr>
            <p:cNvCxnSpPr>
              <a:cxnSpLocks/>
            </p:cNvCxnSpPr>
            <p:nvPr/>
          </p:nvCxnSpPr>
          <p:spPr>
            <a:xfrm>
              <a:off x="7808935" y="2362200"/>
              <a:ext cx="485931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3242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8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2" grpId="0"/>
      <p:bldP spid="7" grpId="0"/>
      <p:bldP spid="7" grpId="1"/>
      <p:bldGraphic spid="6" grpId="0">
        <p:bldAsOne/>
      </p:bldGraphic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 descr="Nuvens no céu&#10;&#10;Descrição gerada automaticamente">
            <a:extLst>
              <a:ext uri="{FF2B5EF4-FFF2-40B4-BE49-F238E27FC236}">
                <a16:creationId xmlns:a16="http://schemas.microsoft.com/office/drawing/2014/main" id="{88A1EB6C-CF7C-40BF-A22C-A5472769F2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1484"/>
          <a:stretch/>
        </p:blipFill>
        <p:spPr>
          <a:xfrm>
            <a:off x="1524" y="0"/>
            <a:ext cx="12188952" cy="135171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6BCA8FA1-A581-47A9-9D85-27F80F8728F8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2DD7550-B621-426B-9C96-0FDABCA15818}"/>
              </a:ext>
            </a:extLst>
          </p:cNvPr>
          <p:cNvSpPr txBox="1"/>
          <p:nvPr/>
        </p:nvSpPr>
        <p:spPr>
          <a:xfrm>
            <a:off x="643858" y="1876579"/>
            <a:ext cx="5512589" cy="7282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" panose="00000500000000000000" pitchFamily="2" charset="0"/>
                <a:ea typeface="+mn-ea"/>
                <a:cs typeface="Arial" panose="020B0604020202020204" pitchFamily="34" charset="0"/>
              </a:rPr>
              <a:t>Título e </a:t>
            </a:r>
            <a:r>
              <a:rPr kumimoji="0" lang="pt-BR" sz="48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estaque</a:t>
            </a:r>
            <a:endParaRPr kumimoji="0" lang="pt-BR" sz="4800" b="1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" panose="000005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A11996A-9B92-421E-B317-BD1471E58BF5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CE42227A-E792-400B-9EC7-2012BC550D32}"/>
              </a:ext>
            </a:extLst>
          </p:cNvPr>
          <p:cNvCxnSpPr>
            <a:cxnSpLocks/>
            <a:stCxn id="75" idx="2"/>
          </p:cNvCxnSpPr>
          <p:nvPr/>
        </p:nvCxnSpPr>
        <p:spPr>
          <a:xfrm>
            <a:off x="472233" y="1124422"/>
            <a:ext cx="0" cy="5733578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Agrupar 73">
            <a:extLst>
              <a:ext uri="{FF2B5EF4-FFF2-40B4-BE49-F238E27FC236}">
                <a16:creationId xmlns:a16="http://schemas.microsoft.com/office/drawing/2014/main" id="{C88B1520-F97E-4018-A51A-53567FB95140}"/>
              </a:ext>
            </a:extLst>
          </p:cNvPr>
          <p:cNvGrpSpPr/>
          <p:nvPr/>
        </p:nvGrpSpPr>
        <p:grpSpPr>
          <a:xfrm>
            <a:off x="472233" y="667222"/>
            <a:ext cx="11719767" cy="914400"/>
            <a:chOff x="948483" y="2362200"/>
            <a:chExt cx="11719767" cy="914400"/>
          </a:xfrm>
        </p:grpSpPr>
        <p:sp>
          <p:nvSpPr>
            <p:cNvPr id="75" name="Arco 74">
              <a:extLst>
                <a:ext uri="{FF2B5EF4-FFF2-40B4-BE49-F238E27FC236}">
                  <a16:creationId xmlns:a16="http://schemas.microsoft.com/office/drawing/2014/main" id="{6F307FE8-4114-4F22-8755-6D46428F15F8}"/>
                </a:ext>
              </a:extLst>
            </p:cNvPr>
            <p:cNvSpPr/>
            <p:nvPr/>
          </p:nvSpPr>
          <p:spPr>
            <a:xfrm flipH="1">
              <a:off x="948483" y="2362200"/>
              <a:ext cx="914400" cy="914400"/>
            </a:xfrm>
            <a:prstGeom prst="arc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76" name="Conector reto 75">
              <a:extLst>
                <a:ext uri="{FF2B5EF4-FFF2-40B4-BE49-F238E27FC236}">
                  <a16:creationId xmlns:a16="http://schemas.microsoft.com/office/drawing/2014/main" id="{BE588282-38B8-4BC7-871C-3A479285E2BA}"/>
                </a:ext>
              </a:extLst>
            </p:cNvPr>
            <p:cNvCxnSpPr>
              <a:cxnSpLocks/>
            </p:cNvCxnSpPr>
            <p:nvPr/>
          </p:nvCxnSpPr>
          <p:spPr>
            <a:xfrm>
              <a:off x="1408135" y="2362200"/>
              <a:ext cx="11260115" cy="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6AAACB2F-4063-4C83-AD23-CD88F0E61D3D}"/>
              </a:ext>
            </a:extLst>
          </p:cNvPr>
          <p:cNvGraphicFramePr/>
          <p:nvPr/>
        </p:nvGraphicFramePr>
        <p:xfrm>
          <a:off x="6207176" y="1787143"/>
          <a:ext cx="5512591" cy="3675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CaixaDeTexto 17">
            <a:extLst>
              <a:ext uri="{FF2B5EF4-FFF2-40B4-BE49-F238E27FC236}">
                <a16:creationId xmlns:a16="http://schemas.microsoft.com/office/drawing/2014/main" id="{CD3A7918-D16B-4F21-B5F3-543901EA9BB1}"/>
              </a:ext>
            </a:extLst>
          </p:cNvPr>
          <p:cNvSpPr txBox="1"/>
          <p:nvPr/>
        </p:nvSpPr>
        <p:spPr>
          <a:xfrm>
            <a:off x="783733" y="2617801"/>
            <a:ext cx="3160338" cy="11306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Lorem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ipsum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si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me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consectetue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dipiscing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eli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Aenean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commodo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ligula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ege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. 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74DABA2D-0C22-476C-B155-06E5B23E01D3}"/>
              </a:ext>
            </a:extLst>
          </p:cNvPr>
          <p:cNvGrpSpPr/>
          <p:nvPr/>
        </p:nvGrpSpPr>
        <p:grpSpPr>
          <a:xfrm>
            <a:off x="7011975" y="460483"/>
            <a:ext cx="4248140" cy="430752"/>
            <a:chOff x="505510" y="3027126"/>
            <a:chExt cx="5831099" cy="591261"/>
          </a:xfrm>
        </p:grpSpPr>
        <p:sp>
          <p:nvSpPr>
            <p:cNvPr id="21" name="Retângulo: Cantos Arredondados 20">
              <a:extLst>
                <a:ext uri="{FF2B5EF4-FFF2-40B4-BE49-F238E27FC236}">
                  <a16:creationId xmlns:a16="http://schemas.microsoft.com/office/drawing/2014/main" id="{8F08E829-7951-4E00-98F3-E7E0E93C826E}"/>
                </a:ext>
              </a:extLst>
            </p:cNvPr>
            <p:cNvSpPr/>
            <p:nvPr/>
          </p:nvSpPr>
          <p:spPr>
            <a:xfrm>
              <a:off x="505510" y="3027126"/>
              <a:ext cx="5831099" cy="591261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EC1F97C6-BFE5-442D-BCEC-7233E21105FF}"/>
                </a:ext>
              </a:extLst>
            </p:cNvPr>
            <p:cNvSpPr txBox="1"/>
            <p:nvPr/>
          </p:nvSpPr>
          <p:spPr>
            <a:xfrm>
              <a:off x="1247288" y="3131704"/>
              <a:ext cx="4347541" cy="43723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Lorem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ipsum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dolor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sit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-BR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0000800000000000000" pitchFamily="2" charset="0"/>
                  <a:ea typeface="+mn-ea"/>
                  <a:cs typeface="Arial" panose="020B0604020202020204" pitchFamily="34" charset="0"/>
                </a:rPr>
                <a:t>amet</a:t>
              </a: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2" name="Imagem 11" descr="Fundo preto com letras brancas&#10;&#10;Descrição gerada automaticamente">
            <a:extLst>
              <a:ext uri="{FF2B5EF4-FFF2-40B4-BE49-F238E27FC236}">
                <a16:creationId xmlns:a16="http://schemas.microsoft.com/office/drawing/2014/main" id="{A274FFDB-B66C-42B3-ABF7-77C2A8929A5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81" t="89444"/>
          <a:stretch/>
        </p:blipFill>
        <p:spPr>
          <a:xfrm>
            <a:off x="10883900" y="6134100"/>
            <a:ext cx="1306576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02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8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25" dur="75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30" dur="7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1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  <p:bldGraphic spid="5" grpId="0">
        <p:bldAsOne/>
      </p:bldGraphic>
      <p:bldP spid="18" grpId="0"/>
      <p:bldP spid="18" grpId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6BCA8FA1-A581-47A9-9D85-27F80F8728F8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2DD7550-B621-426B-9C96-0FDABCA15818}"/>
              </a:ext>
            </a:extLst>
          </p:cNvPr>
          <p:cNvSpPr txBox="1"/>
          <p:nvPr/>
        </p:nvSpPr>
        <p:spPr>
          <a:xfrm>
            <a:off x="5322092" y="557265"/>
            <a:ext cx="7606508" cy="8921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" panose="00000500000000000000" pitchFamily="2" charset="0"/>
                <a:ea typeface="+mn-ea"/>
                <a:cs typeface="Arial" panose="020B0604020202020204" pitchFamily="34" charset="0"/>
              </a:rPr>
              <a:t>Título e </a:t>
            </a:r>
            <a:r>
              <a:rPr kumimoji="0" lang="pt-BR" sz="6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estaque</a:t>
            </a:r>
            <a:endParaRPr kumimoji="0" lang="pt-BR" sz="6000" b="1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" panose="000005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B5547B79-EFA0-4282-8588-06F31A8CD4FD}"/>
              </a:ext>
            </a:extLst>
          </p:cNvPr>
          <p:cNvSpPr txBox="1"/>
          <p:nvPr/>
        </p:nvSpPr>
        <p:spPr>
          <a:xfrm>
            <a:off x="5489516" y="1601925"/>
            <a:ext cx="6263427" cy="6074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Lorem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ipsum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si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me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consectetue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dipiscing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eli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Aenean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commodo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ligula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eget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. 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B35D1180-BE56-49B4-9163-E536AFD76686}"/>
              </a:ext>
            </a:extLst>
          </p:cNvPr>
          <p:cNvGraphicFramePr/>
          <p:nvPr/>
        </p:nvGraphicFramePr>
        <p:xfrm>
          <a:off x="5322092" y="2496891"/>
          <a:ext cx="6209507" cy="3496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1" name="Imagem 20" descr="Uma imagem contendo pessoa, segurando, jovem, menino&#10;&#10;Descrição gerada automaticamente">
            <a:extLst>
              <a:ext uri="{FF2B5EF4-FFF2-40B4-BE49-F238E27FC236}">
                <a16:creationId xmlns:a16="http://schemas.microsoft.com/office/drawing/2014/main" id="{9D65980D-CB56-4AE8-B05C-B9E9A3BC43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07" r="42498"/>
          <a:stretch/>
        </p:blipFill>
        <p:spPr>
          <a:xfrm>
            <a:off x="1524" y="0"/>
            <a:ext cx="4996919" cy="6858000"/>
          </a:xfrm>
          <a:prstGeom prst="rect">
            <a:avLst/>
          </a:prstGeom>
        </p:spPr>
      </p:pic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A3439EC9-822B-40CE-BAC8-9F9A980A348E}"/>
              </a:ext>
            </a:extLst>
          </p:cNvPr>
          <p:cNvCxnSpPr>
            <a:cxnSpLocks/>
          </p:cNvCxnSpPr>
          <p:nvPr/>
        </p:nvCxnSpPr>
        <p:spPr>
          <a:xfrm>
            <a:off x="429532" y="1817680"/>
            <a:ext cx="0" cy="5040320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9D56B6EA-C4A0-41F5-AAFF-C6E806660EC2}"/>
              </a:ext>
            </a:extLst>
          </p:cNvPr>
          <p:cNvGrpSpPr/>
          <p:nvPr/>
        </p:nvGrpSpPr>
        <p:grpSpPr>
          <a:xfrm>
            <a:off x="429532" y="1362861"/>
            <a:ext cx="11760944" cy="914400"/>
            <a:chOff x="948483" y="2362200"/>
            <a:chExt cx="11760944" cy="914400"/>
          </a:xfrm>
        </p:grpSpPr>
        <p:sp>
          <p:nvSpPr>
            <p:cNvPr id="24" name="Arco 23">
              <a:extLst>
                <a:ext uri="{FF2B5EF4-FFF2-40B4-BE49-F238E27FC236}">
                  <a16:creationId xmlns:a16="http://schemas.microsoft.com/office/drawing/2014/main" id="{B338FFE9-6AFA-40C7-BB77-D4999BAE6231}"/>
                </a:ext>
              </a:extLst>
            </p:cNvPr>
            <p:cNvSpPr/>
            <p:nvPr/>
          </p:nvSpPr>
          <p:spPr>
            <a:xfrm flipH="1">
              <a:off x="948483" y="2362200"/>
              <a:ext cx="914400" cy="914400"/>
            </a:xfrm>
            <a:prstGeom prst="arc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B14EDF40-F81B-48F6-860D-AB70F6BD093A}"/>
                </a:ext>
              </a:extLst>
            </p:cNvPr>
            <p:cNvCxnSpPr>
              <a:cxnSpLocks/>
            </p:cNvCxnSpPr>
            <p:nvPr/>
          </p:nvCxnSpPr>
          <p:spPr>
            <a:xfrm>
              <a:off x="1785960" y="2371725"/>
              <a:ext cx="466541" cy="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>
              <a:extLst>
                <a:ext uri="{FF2B5EF4-FFF2-40B4-BE49-F238E27FC236}">
                  <a16:creationId xmlns:a16="http://schemas.microsoft.com/office/drawing/2014/main" id="{254FB740-C2AC-415A-B8D8-00DD903A89DF}"/>
                </a:ext>
              </a:extLst>
            </p:cNvPr>
            <p:cNvCxnSpPr>
              <a:cxnSpLocks/>
            </p:cNvCxnSpPr>
            <p:nvPr/>
          </p:nvCxnSpPr>
          <p:spPr>
            <a:xfrm>
              <a:off x="7808935" y="2362200"/>
              <a:ext cx="485931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to 26">
              <a:extLst>
                <a:ext uri="{FF2B5EF4-FFF2-40B4-BE49-F238E27FC236}">
                  <a16:creationId xmlns:a16="http://schemas.microsoft.com/office/drawing/2014/main" id="{C9D6E2FA-FD16-405D-A1EC-AAD06AE4AC3B}"/>
                </a:ext>
              </a:extLst>
            </p:cNvPr>
            <p:cNvCxnSpPr>
              <a:cxnSpLocks/>
            </p:cNvCxnSpPr>
            <p:nvPr/>
          </p:nvCxnSpPr>
          <p:spPr>
            <a:xfrm>
              <a:off x="3347876" y="2371725"/>
              <a:ext cx="9361551" cy="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3341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1.25E-6 2.22222E-6 L -1.25E-6 0.03773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5" grpId="1"/>
      <p:bldGraphic spid="16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3AEA4FC8-DD09-4B15-B28C-953C0F012B7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" r="438"/>
          <a:stretch/>
        </p:blipFill>
        <p:spPr>
          <a:xfrm>
            <a:off x="6451522" y="1"/>
            <a:ext cx="5740478" cy="6858000"/>
          </a:xfrm>
          <a:prstGeom prst="rect">
            <a:avLst/>
          </a:prstGeom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B2743874-E120-4959-A780-3F92ECB1EE20}"/>
              </a:ext>
            </a:extLst>
          </p:cNvPr>
          <p:cNvGrpSpPr/>
          <p:nvPr/>
        </p:nvGrpSpPr>
        <p:grpSpPr>
          <a:xfrm>
            <a:off x="-507996" y="402904"/>
            <a:ext cx="10517474" cy="611052"/>
            <a:chOff x="-507995" y="2815957"/>
            <a:chExt cx="10234940" cy="611052"/>
          </a:xfrm>
        </p:grpSpPr>
        <p:sp>
          <p:nvSpPr>
            <p:cNvPr id="7" name="Retângulo: Cantos Arredondados 96">
              <a:extLst>
                <a:ext uri="{FF2B5EF4-FFF2-40B4-BE49-F238E27FC236}">
                  <a16:creationId xmlns:a16="http://schemas.microsoft.com/office/drawing/2014/main" id="{8D4F83B9-9692-44FB-B0AF-9711CAC9D721}"/>
                </a:ext>
              </a:extLst>
            </p:cNvPr>
            <p:cNvSpPr/>
            <p:nvPr/>
          </p:nvSpPr>
          <p:spPr>
            <a:xfrm>
              <a:off x="-507995" y="2815957"/>
              <a:ext cx="9466862" cy="611052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6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9C66FAE3-C40A-4876-9EB1-352E6B4796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467" y="2853243"/>
              <a:ext cx="9187478" cy="5109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altLang="pt-BR" sz="3200" dirty="0">
                  <a:solidFill>
                    <a:prstClr val="white"/>
                  </a:solidFill>
                  <a:latin typeface="Nunito bold" panose="02000803000000000000" pitchFamily="2" charset="0"/>
                  <a:cs typeface="Arial" panose="020B0604020202020204" pitchFamily="34" charset="0"/>
                </a:rPr>
                <a:t>Título e destaque</a:t>
              </a:r>
              <a:endParaRPr kumimoji="0" lang="pt-BR" altLang="pt-BR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unito bold" panose="02000803000000000000" pitchFamily="2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3" name="Freeform 5">
            <a:extLst>
              <a:ext uri="{FF2B5EF4-FFF2-40B4-BE49-F238E27FC236}">
                <a16:creationId xmlns:a16="http://schemas.microsoft.com/office/drawing/2014/main" id="{BCAA20CA-5CD2-4CF1-A539-FEDE8C21DD8D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88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CE245466-EB47-48FE-B2C1-4968BD0A1C49}"/>
              </a:ext>
            </a:extLst>
          </p:cNvPr>
          <p:cNvGrpSpPr/>
          <p:nvPr/>
        </p:nvGrpSpPr>
        <p:grpSpPr>
          <a:xfrm flipH="1">
            <a:off x="482557" y="0"/>
            <a:ext cx="10414043" cy="6455095"/>
            <a:chOff x="1137050" y="-1198617"/>
            <a:chExt cx="10414043" cy="6455095"/>
          </a:xfrm>
        </p:grpSpPr>
        <p:grpSp>
          <p:nvGrpSpPr>
            <p:cNvPr id="55" name="Agrupar 54">
              <a:extLst>
                <a:ext uri="{FF2B5EF4-FFF2-40B4-BE49-F238E27FC236}">
                  <a16:creationId xmlns:a16="http://schemas.microsoft.com/office/drawing/2014/main" id="{C3D5D2DA-7416-463E-A41E-9AA221F04A39}"/>
                </a:ext>
              </a:extLst>
            </p:cNvPr>
            <p:cNvGrpSpPr/>
            <p:nvPr/>
          </p:nvGrpSpPr>
          <p:grpSpPr>
            <a:xfrm rot="10800000">
              <a:off x="1137050" y="-1198617"/>
              <a:ext cx="10414042" cy="6455095"/>
              <a:chOff x="434917" y="1955066"/>
              <a:chExt cx="10414042" cy="6455095"/>
            </a:xfrm>
          </p:grpSpPr>
          <p:cxnSp>
            <p:nvCxnSpPr>
              <p:cNvPr id="57" name="Conector reto 56">
                <a:extLst>
                  <a:ext uri="{FF2B5EF4-FFF2-40B4-BE49-F238E27FC236}">
                    <a16:creationId xmlns:a16="http://schemas.microsoft.com/office/drawing/2014/main" id="{8E1908A5-E2FE-47A0-B917-05AA6E0B6CB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434917" y="2404502"/>
                <a:ext cx="0" cy="6005659"/>
              </a:xfrm>
              <a:prstGeom prst="line">
                <a:avLst/>
              </a:prstGeom>
              <a:ln w="12700">
                <a:solidFill>
                  <a:srgbClr val="FF712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ector reto 57">
                <a:extLst>
                  <a:ext uri="{FF2B5EF4-FFF2-40B4-BE49-F238E27FC236}">
                    <a16:creationId xmlns:a16="http://schemas.microsoft.com/office/drawing/2014/main" id="{0702E27A-DD74-432F-A058-E46E4E34AB4E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884529" y="1955066"/>
                <a:ext cx="5519352" cy="0"/>
              </a:xfrm>
              <a:prstGeom prst="line">
                <a:avLst/>
              </a:prstGeom>
              <a:ln w="12700">
                <a:solidFill>
                  <a:srgbClr val="FF712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Conector reto 58">
                <a:extLst>
                  <a:ext uri="{FF2B5EF4-FFF2-40B4-BE49-F238E27FC236}">
                    <a16:creationId xmlns:a16="http://schemas.microsoft.com/office/drawing/2014/main" id="{75DFEE77-05C8-4C92-ACD2-4545347BABDE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403881" y="1955066"/>
                <a:ext cx="4445078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6" name="Arco 55">
              <a:extLst>
                <a:ext uri="{FF2B5EF4-FFF2-40B4-BE49-F238E27FC236}">
                  <a16:creationId xmlns:a16="http://schemas.microsoft.com/office/drawing/2014/main" id="{FDE110EE-8552-4B5F-A76C-1641A948020B}"/>
                </a:ext>
              </a:extLst>
            </p:cNvPr>
            <p:cNvSpPr/>
            <p:nvPr/>
          </p:nvSpPr>
          <p:spPr>
            <a:xfrm rot="5400000">
              <a:off x="10636693" y="4342078"/>
              <a:ext cx="914400" cy="914400"/>
            </a:xfrm>
            <a:prstGeom prst="arc">
              <a:avLst/>
            </a:prstGeom>
            <a:ln w="12700">
              <a:solidFill>
                <a:srgbClr val="FF71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5" name="Imagem 24" descr="Uma imagem contendo comida&#10;&#10;Descrição gerada automaticamente">
            <a:extLst>
              <a:ext uri="{FF2B5EF4-FFF2-40B4-BE49-F238E27FC236}">
                <a16:creationId xmlns:a16="http://schemas.microsoft.com/office/drawing/2014/main" id="{1B25403D-1D39-42EB-9E61-562CEF4C349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44" t="27408" b="31852"/>
          <a:stretch/>
        </p:blipFill>
        <p:spPr>
          <a:xfrm>
            <a:off x="8977942" y="1879601"/>
            <a:ext cx="3212534" cy="27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144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982 0.08125 L 1.04167E-6 2.22222E-6 " pathEditMode="relative" rAng="0" ptsTypes="AA">
                                      <p:cBhvr>
                                        <p:cTn id="1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97" y="-407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3AEA4FC8-DD09-4B15-B28C-953C0F012B7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0" r="4770"/>
          <a:stretch/>
        </p:blipFill>
        <p:spPr>
          <a:xfrm>
            <a:off x="6451522" y="1"/>
            <a:ext cx="5740478" cy="6858000"/>
          </a:xfrm>
          <a:prstGeom prst="rect">
            <a:avLst/>
          </a:prstGeom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B2743874-E120-4959-A780-3F92ECB1EE20}"/>
              </a:ext>
            </a:extLst>
          </p:cNvPr>
          <p:cNvGrpSpPr/>
          <p:nvPr/>
        </p:nvGrpSpPr>
        <p:grpSpPr>
          <a:xfrm>
            <a:off x="-507996" y="402904"/>
            <a:ext cx="10517474" cy="611052"/>
            <a:chOff x="-507995" y="2815957"/>
            <a:chExt cx="10234940" cy="611052"/>
          </a:xfrm>
        </p:grpSpPr>
        <p:sp>
          <p:nvSpPr>
            <p:cNvPr id="7" name="Retângulo: Cantos Arredondados 96">
              <a:extLst>
                <a:ext uri="{FF2B5EF4-FFF2-40B4-BE49-F238E27FC236}">
                  <a16:creationId xmlns:a16="http://schemas.microsoft.com/office/drawing/2014/main" id="{8D4F83B9-9692-44FB-B0AF-9711CAC9D721}"/>
                </a:ext>
              </a:extLst>
            </p:cNvPr>
            <p:cNvSpPr/>
            <p:nvPr/>
          </p:nvSpPr>
          <p:spPr>
            <a:xfrm>
              <a:off x="-507995" y="2815957"/>
              <a:ext cx="9466862" cy="611052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6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9C66FAE3-C40A-4876-9EB1-352E6B4796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467" y="2853243"/>
              <a:ext cx="9187478" cy="5109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altLang="pt-BR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2000803000000000000" pitchFamily="2" charset="0"/>
                  <a:ea typeface="+mn-ea"/>
                  <a:cs typeface="Arial" panose="020B0604020202020204" pitchFamily="34" charset="0"/>
                </a:rPr>
                <a:t>Título e destaque</a:t>
              </a:r>
            </a:p>
          </p:txBody>
        </p:sp>
      </p:grpSp>
      <p:sp>
        <p:nvSpPr>
          <p:cNvPr id="53" name="Freeform 5">
            <a:extLst>
              <a:ext uri="{FF2B5EF4-FFF2-40B4-BE49-F238E27FC236}">
                <a16:creationId xmlns:a16="http://schemas.microsoft.com/office/drawing/2014/main" id="{BCAA20CA-5CD2-4CF1-A539-FEDE8C21DD8D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88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CE245466-EB47-48FE-B2C1-4968BD0A1C49}"/>
              </a:ext>
            </a:extLst>
          </p:cNvPr>
          <p:cNvGrpSpPr/>
          <p:nvPr/>
        </p:nvGrpSpPr>
        <p:grpSpPr>
          <a:xfrm flipH="1">
            <a:off x="482557" y="0"/>
            <a:ext cx="10414043" cy="6455095"/>
            <a:chOff x="1137050" y="-1198617"/>
            <a:chExt cx="10414043" cy="6455095"/>
          </a:xfrm>
        </p:grpSpPr>
        <p:grpSp>
          <p:nvGrpSpPr>
            <p:cNvPr id="55" name="Agrupar 54">
              <a:extLst>
                <a:ext uri="{FF2B5EF4-FFF2-40B4-BE49-F238E27FC236}">
                  <a16:creationId xmlns:a16="http://schemas.microsoft.com/office/drawing/2014/main" id="{C3D5D2DA-7416-463E-A41E-9AA221F04A39}"/>
                </a:ext>
              </a:extLst>
            </p:cNvPr>
            <p:cNvGrpSpPr/>
            <p:nvPr/>
          </p:nvGrpSpPr>
          <p:grpSpPr>
            <a:xfrm rot="10800000">
              <a:off x="1137050" y="-1198617"/>
              <a:ext cx="10414042" cy="6455095"/>
              <a:chOff x="434917" y="1955066"/>
              <a:chExt cx="10414042" cy="6455095"/>
            </a:xfrm>
          </p:grpSpPr>
          <p:cxnSp>
            <p:nvCxnSpPr>
              <p:cNvPr id="57" name="Conector reto 56">
                <a:extLst>
                  <a:ext uri="{FF2B5EF4-FFF2-40B4-BE49-F238E27FC236}">
                    <a16:creationId xmlns:a16="http://schemas.microsoft.com/office/drawing/2014/main" id="{8E1908A5-E2FE-47A0-B917-05AA6E0B6CB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434917" y="2404502"/>
                <a:ext cx="0" cy="6005659"/>
              </a:xfrm>
              <a:prstGeom prst="line">
                <a:avLst/>
              </a:prstGeom>
              <a:ln w="12700">
                <a:solidFill>
                  <a:srgbClr val="FF712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ector reto 57">
                <a:extLst>
                  <a:ext uri="{FF2B5EF4-FFF2-40B4-BE49-F238E27FC236}">
                    <a16:creationId xmlns:a16="http://schemas.microsoft.com/office/drawing/2014/main" id="{0702E27A-DD74-432F-A058-E46E4E34AB4E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884529" y="1955066"/>
                <a:ext cx="5519352" cy="0"/>
              </a:xfrm>
              <a:prstGeom prst="line">
                <a:avLst/>
              </a:prstGeom>
              <a:ln w="12700">
                <a:solidFill>
                  <a:srgbClr val="FF712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Conector reto 58">
                <a:extLst>
                  <a:ext uri="{FF2B5EF4-FFF2-40B4-BE49-F238E27FC236}">
                    <a16:creationId xmlns:a16="http://schemas.microsoft.com/office/drawing/2014/main" id="{75DFEE77-05C8-4C92-ACD2-4545347BABDE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403881" y="1955066"/>
                <a:ext cx="4445078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6" name="Arco 55">
              <a:extLst>
                <a:ext uri="{FF2B5EF4-FFF2-40B4-BE49-F238E27FC236}">
                  <a16:creationId xmlns:a16="http://schemas.microsoft.com/office/drawing/2014/main" id="{FDE110EE-8552-4B5F-A76C-1641A948020B}"/>
                </a:ext>
              </a:extLst>
            </p:cNvPr>
            <p:cNvSpPr/>
            <p:nvPr/>
          </p:nvSpPr>
          <p:spPr>
            <a:xfrm rot="5400000">
              <a:off x="10636693" y="4342078"/>
              <a:ext cx="914400" cy="914400"/>
            </a:xfrm>
            <a:prstGeom prst="arc">
              <a:avLst/>
            </a:prstGeom>
            <a:ln w="12700">
              <a:solidFill>
                <a:srgbClr val="FF71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8986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8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8" y="-297"/>
            <a:ext cx="12193057" cy="685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23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Fundo preto com letras brancas&#10;&#10;Descrição gerada automaticamente">
            <a:extLst>
              <a:ext uri="{FF2B5EF4-FFF2-40B4-BE49-F238E27FC236}">
                <a16:creationId xmlns:a16="http://schemas.microsoft.com/office/drawing/2014/main" id="{7C4D6282-7939-4AFB-90E1-DAC0ADAC559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81" t="89444"/>
          <a:stretch/>
        </p:blipFill>
        <p:spPr>
          <a:xfrm>
            <a:off x="10883900" y="6134100"/>
            <a:ext cx="1306576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449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496DBF25-9908-4A8C-AF94-CB83BBD51680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88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Agrupar 30">
            <a:extLst>
              <a:ext uri="{FF2B5EF4-FFF2-40B4-BE49-F238E27FC236}">
                <a16:creationId xmlns:a16="http://schemas.microsoft.com/office/drawing/2014/main" id="{822ABBEB-BFAE-4FFB-B5F6-CE7CC92F056D}"/>
              </a:ext>
            </a:extLst>
          </p:cNvPr>
          <p:cNvGrpSpPr/>
          <p:nvPr/>
        </p:nvGrpSpPr>
        <p:grpSpPr>
          <a:xfrm rot="10800000" flipH="1" flipV="1">
            <a:off x="474647" y="0"/>
            <a:ext cx="10321749" cy="6455095"/>
            <a:chOff x="434917" y="-82076"/>
            <a:chExt cx="10321749" cy="6455095"/>
          </a:xfrm>
        </p:grpSpPr>
        <p:cxnSp>
          <p:nvCxnSpPr>
            <p:cNvPr id="10" name="Conector reto 31">
              <a:extLst>
                <a:ext uri="{FF2B5EF4-FFF2-40B4-BE49-F238E27FC236}">
                  <a16:creationId xmlns:a16="http://schemas.microsoft.com/office/drawing/2014/main" id="{686C4F9B-AC8D-4C24-861D-E3C0085831F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434917" y="-82076"/>
              <a:ext cx="0" cy="6000276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Arco 32">
              <a:extLst>
                <a:ext uri="{FF2B5EF4-FFF2-40B4-BE49-F238E27FC236}">
                  <a16:creationId xmlns:a16="http://schemas.microsoft.com/office/drawing/2014/main" id="{02583BD0-D11F-440B-B6DA-27BCFBF30306}"/>
                </a:ext>
              </a:extLst>
            </p:cNvPr>
            <p:cNvSpPr/>
            <p:nvPr/>
          </p:nvSpPr>
          <p:spPr>
            <a:xfrm rot="10800000">
              <a:off x="434917" y="5458619"/>
              <a:ext cx="914400" cy="914400"/>
            </a:xfrm>
            <a:prstGeom prst="arc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Conector reto 33">
              <a:extLst>
                <a:ext uri="{FF2B5EF4-FFF2-40B4-BE49-F238E27FC236}">
                  <a16:creationId xmlns:a16="http://schemas.microsoft.com/office/drawing/2014/main" id="{3D890006-A33D-442D-8A17-7585FF6B63AD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897232" y="6373019"/>
              <a:ext cx="9859434" cy="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2255FDE4-188F-49C4-AC90-C0A5038B8282}"/>
              </a:ext>
            </a:extLst>
          </p:cNvPr>
          <p:cNvGrpSpPr/>
          <p:nvPr/>
        </p:nvGrpSpPr>
        <p:grpSpPr>
          <a:xfrm>
            <a:off x="-507996" y="402904"/>
            <a:ext cx="10917980" cy="557070"/>
            <a:chOff x="-507995" y="2815956"/>
            <a:chExt cx="10624688" cy="1130997"/>
          </a:xfrm>
        </p:grpSpPr>
        <p:sp>
          <p:nvSpPr>
            <p:cNvPr id="44" name="Retângulo: Cantos Arredondados 96">
              <a:extLst>
                <a:ext uri="{FF2B5EF4-FFF2-40B4-BE49-F238E27FC236}">
                  <a16:creationId xmlns:a16="http://schemas.microsoft.com/office/drawing/2014/main" id="{EBB46790-E664-415F-904E-FBDDF6F9A9C9}"/>
                </a:ext>
              </a:extLst>
            </p:cNvPr>
            <p:cNvSpPr/>
            <p:nvPr/>
          </p:nvSpPr>
          <p:spPr>
            <a:xfrm>
              <a:off x="-507995" y="2815956"/>
              <a:ext cx="10624688" cy="1130997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6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Rectangle 11">
              <a:extLst>
                <a:ext uri="{FF2B5EF4-FFF2-40B4-BE49-F238E27FC236}">
                  <a16:creationId xmlns:a16="http://schemas.microsoft.com/office/drawing/2014/main" id="{F20DA693-B142-4E8A-A8D9-2C7D0511D0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6416" y="2882315"/>
              <a:ext cx="8403577" cy="10448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altLang="pt-BR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unito bold" panose="02000803000000000000" pitchFamily="2" charset="0"/>
                  <a:ea typeface="+mn-ea"/>
                  <a:cs typeface="Arial" panose="020B0604020202020204" pitchFamily="34" charset="0"/>
                </a:rPr>
                <a:t>Título e destaque</a:t>
              </a:r>
            </a:p>
          </p:txBody>
        </p:sp>
      </p:grpSp>
      <p:sp>
        <p:nvSpPr>
          <p:cNvPr id="159" name="object 17">
            <a:extLst>
              <a:ext uri="{FF2B5EF4-FFF2-40B4-BE49-F238E27FC236}">
                <a16:creationId xmlns:a16="http://schemas.microsoft.com/office/drawing/2014/main" id="{33406585-A993-47F4-96C8-6F50A145D46E}"/>
              </a:ext>
            </a:extLst>
          </p:cNvPr>
          <p:cNvSpPr txBox="1">
            <a:spLocks/>
          </p:cNvSpPr>
          <p:nvPr/>
        </p:nvSpPr>
        <p:spPr>
          <a:xfrm>
            <a:off x="1131609" y="1103833"/>
            <a:ext cx="10764442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4000" b="1" i="0">
                <a:solidFill>
                  <a:schemeClr val="bg1"/>
                </a:solidFill>
                <a:latin typeface="Carlito"/>
                <a:ea typeface="+mj-ea"/>
                <a:cs typeface="Carlito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Lorem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ipsum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dolor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sit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met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consectetuer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adipiscing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Nunito light" panose="00000400000000000000" pitchFamily="2" charset="0"/>
                <a:ea typeface="+mn-ea"/>
                <a:cs typeface="Arial" panose="020B0604020202020204" pitchFamily="34" charset="0"/>
              </a:rPr>
              <a:t>elit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0986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8" y="-297"/>
            <a:ext cx="12193057" cy="6858594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5991224" y="3429000"/>
            <a:ext cx="4546147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lnSpc>
                <a:spcPct val="90000"/>
              </a:lnSpc>
              <a:spcAft>
                <a:spcPts val="1200"/>
              </a:spcAft>
              <a:defRPr sz="1400">
                <a:solidFill>
                  <a:srgbClr val="969696"/>
                </a:solidFill>
                <a:latin typeface="Segoe UI" panose="020B0502040204020203" pitchFamily="34" charset="0"/>
                <a:ea typeface="Kozuka Gothic Pr6N EL" panose="020B0200000000000000" pitchFamily="34" charset="-128"/>
                <a:cs typeface="Segoe UI" panose="020B0502040204020203" pitchFamily="34" charset="0"/>
              </a:defRPr>
            </a:lvl1pPr>
          </a:lstStyle>
          <a:p>
            <a:r>
              <a:rPr lang="pt-BR" dirty="0"/>
              <a:t>Essa identidade visual foi desenvolvida tendo como base o logo Smiles, utilizando elementos geométricos para remeter a identidade da empresa, trazendo modernidade, mas ao mesmo tempo seriedade</a:t>
            </a:r>
          </a:p>
        </p:txBody>
      </p:sp>
    </p:spTree>
    <p:extLst>
      <p:ext uri="{BB962C8B-B14F-4D97-AF65-F5344CB8AC3E}">
        <p14:creationId xmlns:p14="http://schemas.microsoft.com/office/powerpoint/2010/main" val="251462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ângulo: Cantos Arredondados 39">
            <a:extLst>
              <a:ext uri="{FF2B5EF4-FFF2-40B4-BE49-F238E27FC236}">
                <a16:creationId xmlns:a16="http://schemas.microsoft.com/office/drawing/2014/main" id="{9E82122C-059A-4009-AA3C-12FB40A6AF6C}"/>
              </a:ext>
            </a:extLst>
          </p:cNvPr>
          <p:cNvSpPr/>
          <p:nvPr/>
        </p:nvSpPr>
        <p:spPr>
          <a:xfrm>
            <a:off x="835929" y="1676400"/>
            <a:ext cx="4351730" cy="245488"/>
          </a:xfrm>
          <a:prstGeom prst="roundRect">
            <a:avLst>
              <a:gd name="adj" fmla="val 50000"/>
            </a:avLst>
          </a:prstGeom>
          <a:solidFill>
            <a:srgbClr val="FF7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B68CA3F-5073-49D4-8FA9-23627036E843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C72DC3EB-D64E-47E6-BE04-BCD686528E8B}"/>
              </a:ext>
            </a:extLst>
          </p:cNvPr>
          <p:cNvGrpSpPr/>
          <p:nvPr/>
        </p:nvGrpSpPr>
        <p:grpSpPr>
          <a:xfrm>
            <a:off x="849983" y="0"/>
            <a:ext cx="10885124" cy="6090365"/>
            <a:chOff x="434917" y="5114082"/>
            <a:chExt cx="10885124" cy="6090365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E98766F9-0EA2-4695-BCC2-183FF4DEC49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34918" y="5114082"/>
              <a:ext cx="1" cy="80412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AB04C79D-E2D1-47D2-99B8-CC6D2CAF57F9}"/>
                </a:ext>
              </a:extLst>
            </p:cNvPr>
            <p:cNvSpPr/>
            <p:nvPr/>
          </p:nvSpPr>
          <p:spPr>
            <a:xfrm rot="10800000">
              <a:off x="434917" y="5458619"/>
              <a:ext cx="914400" cy="914400"/>
            </a:xfrm>
            <a:prstGeom prst="arc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077ABF1F-26A9-44F5-A034-5297171249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7232" y="6373023"/>
              <a:ext cx="10037873" cy="1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439292F1-B0F8-415B-BB2E-9A7777A429C8}"/>
                </a:ext>
              </a:extLst>
            </p:cNvPr>
            <p:cNvSpPr/>
            <p:nvPr/>
          </p:nvSpPr>
          <p:spPr>
            <a:xfrm>
              <a:off x="10405640" y="6373020"/>
              <a:ext cx="914400" cy="914400"/>
            </a:xfrm>
            <a:prstGeom prst="arc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FB7014FF-FF65-4781-B68B-539CA6785A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20040" y="6822609"/>
              <a:ext cx="1" cy="4381838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9CD78CFB-C8EF-4854-A8AB-6F22437B4261}"/>
              </a:ext>
            </a:extLst>
          </p:cNvPr>
          <p:cNvSpPr txBox="1"/>
          <p:nvPr/>
        </p:nvSpPr>
        <p:spPr>
          <a:xfrm>
            <a:off x="1307182" y="402060"/>
            <a:ext cx="10375922" cy="4580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Título</a:t>
            </a:r>
            <a:r>
              <a:rPr kumimoji="0" lang="pt-BR" sz="3200" b="0" i="0" u="none" strike="noStrike" kern="1200" cap="none" spc="0" normalizeH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 e destaque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FF7020"/>
              </a:solidFill>
              <a:effectLst/>
              <a:uLnTx/>
              <a:uFillTx/>
              <a:latin typeface="Nunito bold" panose="000008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6C2C3B4F-A797-4BB1-B323-66B93690D48F}"/>
              </a:ext>
            </a:extLst>
          </p:cNvPr>
          <p:cNvSpPr txBox="1"/>
          <p:nvPr/>
        </p:nvSpPr>
        <p:spPr>
          <a:xfrm>
            <a:off x="835930" y="1579837"/>
            <a:ext cx="1035500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unito bold" panose="02000803000000000000" pitchFamily="2" charset="0"/>
                <a:ea typeface="+mn-ea"/>
                <a:cs typeface="Arial" panose="020B0604020202020204" pitchFamily="34" charset="0"/>
              </a:rPr>
              <a:t>destaque</a:t>
            </a:r>
          </a:p>
          <a:p>
            <a:pPr lvl="0" defTabSz="914400">
              <a:defRPr/>
            </a:pP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DD6740FB-656A-4762-BA78-5076EF743CA0}"/>
              </a:ext>
            </a:extLst>
          </p:cNvPr>
          <p:cNvSpPr txBox="1"/>
          <p:nvPr/>
        </p:nvSpPr>
        <p:spPr>
          <a:xfrm>
            <a:off x="1908940" y="2771052"/>
            <a:ext cx="63968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914400">
              <a:defRPr/>
            </a:pP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45E2FDB9-7B75-433A-B853-053D4704049A}"/>
              </a:ext>
            </a:extLst>
          </p:cNvPr>
          <p:cNvSpPr txBox="1"/>
          <p:nvPr/>
        </p:nvSpPr>
        <p:spPr>
          <a:xfrm>
            <a:off x="1908940" y="3621680"/>
            <a:ext cx="63968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914400">
              <a:defRPr/>
            </a:pP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261DC123-5982-4F01-9B5F-5080BC9769FB}"/>
              </a:ext>
            </a:extLst>
          </p:cNvPr>
          <p:cNvSpPr txBox="1"/>
          <p:nvPr/>
        </p:nvSpPr>
        <p:spPr>
          <a:xfrm>
            <a:off x="1908940" y="4480963"/>
            <a:ext cx="63968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914400">
              <a:defRPr/>
            </a:pP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Nunito light" panose="00000400000000000000" pitchFamily="2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F7EE082D-FD20-4A12-9775-415BA6E86B84}"/>
              </a:ext>
            </a:extLst>
          </p:cNvPr>
          <p:cNvCxnSpPr>
            <a:cxnSpLocks/>
          </p:cNvCxnSpPr>
          <p:nvPr/>
        </p:nvCxnSpPr>
        <p:spPr>
          <a:xfrm flipH="1">
            <a:off x="1001062" y="3019403"/>
            <a:ext cx="747779" cy="0"/>
          </a:xfrm>
          <a:prstGeom prst="line">
            <a:avLst/>
          </a:prstGeom>
          <a:ln>
            <a:solidFill>
              <a:srgbClr val="7C7C7C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3BF7601C-F08F-47F2-91C2-643A4A24CF4F}"/>
              </a:ext>
            </a:extLst>
          </p:cNvPr>
          <p:cNvCxnSpPr>
            <a:cxnSpLocks/>
          </p:cNvCxnSpPr>
          <p:nvPr/>
        </p:nvCxnSpPr>
        <p:spPr>
          <a:xfrm flipH="1">
            <a:off x="1001062" y="3834822"/>
            <a:ext cx="747779" cy="0"/>
          </a:xfrm>
          <a:prstGeom prst="line">
            <a:avLst/>
          </a:prstGeom>
          <a:ln>
            <a:solidFill>
              <a:srgbClr val="7C7C7C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B0EE0D18-A636-4C19-80DD-7BF13B3C2EC8}"/>
              </a:ext>
            </a:extLst>
          </p:cNvPr>
          <p:cNvCxnSpPr>
            <a:cxnSpLocks/>
          </p:cNvCxnSpPr>
          <p:nvPr/>
        </p:nvCxnSpPr>
        <p:spPr>
          <a:xfrm flipH="1">
            <a:off x="1001062" y="4650240"/>
            <a:ext cx="747779" cy="0"/>
          </a:xfrm>
          <a:prstGeom prst="line">
            <a:avLst/>
          </a:prstGeom>
          <a:ln>
            <a:solidFill>
              <a:srgbClr val="7C7C7C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0141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25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7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25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75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25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75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14" grpId="0"/>
      <p:bldP spid="28" grpId="0"/>
      <p:bldP spid="29" grpId="0"/>
      <p:bldP spid="32" grpId="0"/>
      <p:bldP spid="3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8" y="-297"/>
            <a:ext cx="12193057" cy="685859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85AC324-A3BF-4F7B-99F9-1F06028B6E4A}"/>
              </a:ext>
            </a:extLst>
          </p:cNvPr>
          <p:cNvSpPr txBox="1"/>
          <p:nvPr/>
        </p:nvSpPr>
        <p:spPr>
          <a:xfrm>
            <a:off x="5991224" y="3429000"/>
            <a:ext cx="354561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pt-BR" sz="1400" dirty="0">
                <a:solidFill>
                  <a:srgbClr val="969696"/>
                </a:solidFill>
                <a:latin typeface="Segoe UI" panose="020B0502040204020203" pitchFamily="34" charset="0"/>
                <a:ea typeface="Kozuka Gothic Pr6N EL" panose="020B0200000000000000" pitchFamily="34" charset="-128"/>
                <a:cs typeface="Segoe UI" panose="020B0502040204020203" pitchFamily="34" charset="0"/>
              </a:rPr>
              <a:t>As cores foram retiradas do guia da marca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0ED4B689-AEDC-4261-9F2B-9A8DE6CE1E7C}"/>
              </a:ext>
            </a:extLst>
          </p:cNvPr>
          <p:cNvGrpSpPr/>
          <p:nvPr/>
        </p:nvGrpSpPr>
        <p:grpSpPr>
          <a:xfrm>
            <a:off x="6096000" y="3915876"/>
            <a:ext cx="1143000" cy="381000"/>
            <a:chOff x="6477000" y="4241800"/>
            <a:chExt cx="1143000" cy="381000"/>
          </a:xfrm>
        </p:grpSpPr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A239220C-D0E4-45D4-8E8A-BDA37CC0C6C0}"/>
                </a:ext>
              </a:extLst>
            </p:cNvPr>
            <p:cNvSpPr/>
            <p:nvPr/>
          </p:nvSpPr>
          <p:spPr>
            <a:xfrm>
              <a:off x="6477000" y="4241800"/>
              <a:ext cx="381000" cy="381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2C3056A7-63A1-4F61-980B-9AF288EE7427}"/>
                </a:ext>
              </a:extLst>
            </p:cNvPr>
            <p:cNvSpPr/>
            <p:nvPr/>
          </p:nvSpPr>
          <p:spPr>
            <a:xfrm>
              <a:off x="6858000" y="4241800"/>
              <a:ext cx="381000" cy="381000"/>
            </a:xfrm>
            <a:prstGeom prst="rect">
              <a:avLst/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Retângulo 30">
              <a:extLst>
                <a:ext uri="{FF2B5EF4-FFF2-40B4-BE49-F238E27FC236}">
                  <a16:creationId xmlns:a16="http://schemas.microsoft.com/office/drawing/2014/main" id="{2A4BCCC7-1CEA-4030-AC57-43684F77C04C}"/>
                </a:ext>
              </a:extLst>
            </p:cNvPr>
            <p:cNvSpPr/>
            <p:nvPr/>
          </p:nvSpPr>
          <p:spPr>
            <a:xfrm>
              <a:off x="7239000" y="4241800"/>
              <a:ext cx="381000" cy="381000"/>
            </a:xfrm>
            <a:prstGeom prst="rect">
              <a:avLst/>
            </a:prstGeom>
            <a:solidFill>
              <a:srgbClr val="7C7C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429463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8" y="-297"/>
            <a:ext cx="12193057" cy="6858594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E2B14814-3E3D-4F1A-9BE3-BBE228E9EE5C}"/>
              </a:ext>
            </a:extLst>
          </p:cNvPr>
          <p:cNvSpPr txBox="1"/>
          <p:nvPr/>
        </p:nvSpPr>
        <p:spPr>
          <a:xfrm>
            <a:off x="5762623" y="2666440"/>
            <a:ext cx="4565283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pt-BR" sz="1400" dirty="0">
                <a:solidFill>
                  <a:srgbClr val="969696"/>
                </a:solidFill>
                <a:latin typeface="Segoe UI" panose="020B0502040204020203" pitchFamily="34" charset="0"/>
                <a:ea typeface="Kozuka Gothic Pr6N EL" panose="020B0200000000000000" pitchFamily="34" charset="-128"/>
                <a:cs typeface="Segoe UI" panose="020B0502040204020203" pitchFamily="34" charset="0"/>
              </a:rPr>
              <a:t>Utilizaremos fonte editável </a:t>
            </a:r>
            <a:r>
              <a:rPr lang="pt-BR" sz="1400" dirty="0" err="1">
                <a:solidFill>
                  <a:srgbClr val="969696"/>
                </a:solidFill>
                <a:latin typeface="Segoe UI" panose="020B0502040204020203" pitchFamily="34" charset="0"/>
                <a:ea typeface="Kozuka Gothic Pr6N EL" panose="020B0200000000000000" pitchFamily="34" charset="-128"/>
                <a:cs typeface="Segoe UI" panose="020B0502040204020203" pitchFamily="34" charset="0"/>
              </a:rPr>
              <a:t>Nunito</a:t>
            </a:r>
            <a:r>
              <a:rPr lang="pt-BR" sz="1400" dirty="0">
                <a:solidFill>
                  <a:srgbClr val="969696"/>
                </a:solidFill>
                <a:latin typeface="Segoe UI" panose="020B0502040204020203" pitchFamily="34" charset="0"/>
                <a:ea typeface="Kozuka Gothic Pr6N EL" panose="020B0200000000000000" pitchFamily="34" charset="-128"/>
                <a:cs typeface="Segoe UI" panose="020B0502040204020203" pitchFamily="34" charset="0"/>
              </a:rPr>
              <a:t> e suas variantes </a:t>
            </a:r>
            <a:r>
              <a:rPr lang="pt-BR" sz="1400" dirty="0" err="1">
                <a:solidFill>
                  <a:srgbClr val="969696"/>
                </a:solidFill>
                <a:latin typeface="Segoe UI" panose="020B0502040204020203" pitchFamily="34" charset="0"/>
                <a:ea typeface="Kozuka Gothic Pr6N EL" panose="020B0200000000000000" pitchFamily="34" charset="-128"/>
                <a:cs typeface="Segoe UI" panose="020B0502040204020203" pitchFamily="34" charset="0"/>
              </a:rPr>
              <a:t>Bold</a:t>
            </a:r>
            <a:r>
              <a:rPr lang="pt-BR" sz="1400" dirty="0">
                <a:solidFill>
                  <a:srgbClr val="969696"/>
                </a:solidFill>
                <a:latin typeface="Segoe UI" panose="020B0502040204020203" pitchFamily="34" charset="0"/>
                <a:ea typeface="Kozuka Gothic Pr6N EL" panose="020B0200000000000000" pitchFamily="34" charset="-128"/>
                <a:cs typeface="Segoe UI" panose="020B0502040204020203" pitchFamily="34" charset="0"/>
              </a:rPr>
              <a:t> e Light, respeitando as diretrizes do guia da marca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327791F-DF49-44A5-8D88-1AB5F15BC79D}"/>
              </a:ext>
            </a:extLst>
          </p:cNvPr>
          <p:cNvSpPr txBox="1"/>
          <p:nvPr/>
        </p:nvSpPr>
        <p:spPr>
          <a:xfrm>
            <a:off x="5824692" y="4910270"/>
            <a:ext cx="3414557" cy="34585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Fonte de 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texto corrido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E0D960C5-1440-40E1-A36B-61D1EA84B07A}"/>
              </a:ext>
            </a:extLst>
          </p:cNvPr>
          <p:cNvSpPr txBox="1"/>
          <p:nvPr/>
        </p:nvSpPr>
        <p:spPr>
          <a:xfrm>
            <a:off x="5824692" y="5283838"/>
            <a:ext cx="1014257" cy="99462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16000" indent="-216000">
              <a:lnSpc>
                <a:spcPct val="85000"/>
              </a:lnSpc>
              <a:spcAft>
                <a:spcPts val="800"/>
              </a:spcAft>
              <a:buClr>
                <a:srgbClr val="FF7020"/>
              </a:buClr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Bullet</a:t>
            </a:r>
          </a:p>
          <a:p>
            <a:pPr marL="216000" indent="-216000">
              <a:lnSpc>
                <a:spcPct val="85000"/>
              </a:lnSpc>
              <a:spcAft>
                <a:spcPts val="800"/>
              </a:spcAft>
              <a:buClr>
                <a:srgbClr val="FF7020"/>
              </a:buClr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Bullet</a:t>
            </a:r>
          </a:p>
          <a:p>
            <a:pPr marL="216000" indent="-216000">
              <a:lnSpc>
                <a:spcPct val="85000"/>
              </a:lnSpc>
              <a:spcAft>
                <a:spcPts val="800"/>
              </a:spcAft>
              <a:buClr>
                <a:srgbClr val="FF7020"/>
              </a:buClr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Bullet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973B5FD9-BA8C-4572-B810-D55E7C0FB153}"/>
              </a:ext>
            </a:extLst>
          </p:cNvPr>
          <p:cNvSpPr txBox="1"/>
          <p:nvPr/>
        </p:nvSpPr>
        <p:spPr>
          <a:xfrm>
            <a:off x="5824693" y="3610838"/>
            <a:ext cx="3128807" cy="67363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4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Título e</a:t>
            </a:r>
            <a:endParaRPr lang="pt-BR" sz="44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20C2879A-AD7A-4420-8B92-D5D7D3AB9784}"/>
              </a:ext>
            </a:extLst>
          </p:cNvPr>
          <p:cNvSpPr txBox="1"/>
          <p:nvPr/>
        </p:nvSpPr>
        <p:spPr>
          <a:xfrm>
            <a:off x="5824693" y="4108742"/>
            <a:ext cx="5267327" cy="97410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66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estaque</a:t>
            </a:r>
          </a:p>
        </p:txBody>
      </p:sp>
    </p:spTree>
    <p:extLst>
      <p:ext uri="{BB962C8B-B14F-4D97-AF65-F5344CB8AC3E}">
        <p14:creationId xmlns:p14="http://schemas.microsoft.com/office/powerpoint/2010/main" val="275485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8" y="-297"/>
            <a:ext cx="12193057" cy="685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46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tângulo: Cantos Arredondados 36">
            <a:extLst>
              <a:ext uri="{FF2B5EF4-FFF2-40B4-BE49-F238E27FC236}">
                <a16:creationId xmlns:a16="http://schemas.microsoft.com/office/drawing/2014/main" id="{40CED659-01B7-450C-AB68-95E262B6B087}"/>
              </a:ext>
            </a:extLst>
          </p:cNvPr>
          <p:cNvSpPr/>
          <p:nvPr/>
        </p:nvSpPr>
        <p:spPr>
          <a:xfrm>
            <a:off x="5910982" y="2008576"/>
            <a:ext cx="5587206" cy="3614717"/>
          </a:xfrm>
          <a:prstGeom prst="roundRect">
            <a:avLst>
              <a:gd name="adj" fmla="val 8726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4FD7389-ECAB-44F9-A494-C81B0885F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" y="3062"/>
            <a:ext cx="6748285" cy="6858014"/>
          </a:xfrm>
          <a:prstGeom prst="rect">
            <a:avLst/>
          </a:prstGeom>
        </p:spPr>
      </p:pic>
      <p:grpSp>
        <p:nvGrpSpPr>
          <p:cNvPr id="31" name="Agrupar 30">
            <a:extLst>
              <a:ext uri="{FF2B5EF4-FFF2-40B4-BE49-F238E27FC236}">
                <a16:creationId xmlns:a16="http://schemas.microsoft.com/office/drawing/2014/main" id="{3CA91B00-4DE8-4AB3-A095-268F9956B368}"/>
              </a:ext>
            </a:extLst>
          </p:cNvPr>
          <p:cNvGrpSpPr/>
          <p:nvPr/>
        </p:nvGrpSpPr>
        <p:grpSpPr>
          <a:xfrm rot="10800000">
            <a:off x="4398947" y="319465"/>
            <a:ext cx="7510329" cy="5581650"/>
            <a:chOff x="434917" y="791369"/>
            <a:chExt cx="7510329" cy="5581650"/>
          </a:xfrm>
        </p:grpSpPr>
        <p:cxnSp>
          <p:nvCxnSpPr>
            <p:cNvPr id="32" name="Conector reto 31">
              <a:extLst>
                <a:ext uri="{FF2B5EF4-FFF2-40B4-BE49-F238E27FC236}">
                  <a16:creationId xmlns:a16="http://schemas.microsoft.com/office/drawing/2014/main" id="{8252FEAB-33AF-445C-AF99-A6D714A1C6E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34917" y="791369"/>
              <a:ext cx="0" cy="5126831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Arco 32">
              <a:extLst>
                <a:ext uri="{FF2B5EF4-FFF2-40B4-BE49-F238E27FC236}">
                  <a16:creationId xmlns:a16="http://schemas.microsoft.com/office/drawing/2014/main" id="{06407ACC-3377-49DB-B115-4C05FD6383B5}"/>
                </a:ext>
              </a:extLst>
            </p:cNvPr>
            <p:cNvSpPr/>
            <p:nvPr/>
          </p:nvSpPr>
          <p:spPr>
            <a:xfrm rot="10800000">
              <a:off x="434917" y="5458619"/>
              <a:ext cx="914400" cy="914400"/>
            </a:xfrm>
            <a:prstGeom prst="arc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34" name="Conector reto 33">
              <a:extLst>
                <a:ext uri="{FF2B5EF4-FFF2-40B4-BE49-F238E27FC236}">
                  <a16:creationId xmlns:a16="http://schemas.microsoft.com/office/drawing/2014/main" id="{B64186FB-D008-48B0-AAE9-3F73D411EBB7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897232" y="6373019"/>
              <a:ext cx="7048014" cy="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tângulo 15">
            <a:extLst>
              <a:ext uri="{FF2B5EF4-FFF2-40B4-BE49-F238E27FC236}">
                <a16:creationId xmlns:a16="http://schemas.microsoft.com/office/drawing/2014/main" id="{F34790A1-4534-41BB-B384-989FBA7D6F8C}"/>
              </a:ext>
            </a:extLst>
          </p:cNvPr>
          <p:cNvSpPr/>
          <p:nvPr/>
        </p:nvSpPr>
        <p:spPr>
          <a:xfrm>
            <a:off x="6748285" y="3619494"/>
            <a:ext cx="5442191" cy="825496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 descr="Fundo preto com letras brancas&#10;&#10;Descrição gerada automaticamente">
            <a:extLst>
              <a:ext uri="{FF2B5EF4-FFF2-40B4-BE49-F238E27FC236}">
                <a16:creationId xmlns:a16="http://schemas.microsoft.com/office/drawing/2014/main" id="{5A2638CC-FDE3-45EE-B8BD-A5289AAE69C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81" t="89444"/>
          <a:stretch/>
        </p:blipFill>
        <p:spPr>
          <a:xfrm>
            <a:off x="10883900" y="6134100"/>
            <a:ext cx="1306576" cy="723900"/>
          </a:xfrm>
          <a:prstGeom prst="rect">
            <a:avLst/>
          </a:prstGeom>
        </p:spPr>
      </p:pic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5B7172C7-7721-440D-8AE2-BBF581AE0ED8}"/>
              </a:ext>
            </a:extLst>
          </p:cNvPr>
          <p:cNvSpPr/>
          <p:nvPr/>
        </p:nvSpPr>
        <p:spPr>
          <a:xfrm>
            <a:off x="5791200" y="2990854"/>
            <a:ext cx="5442192" cy="1041388"/>
          </a:xfrm>
          <a:prstGeom prst="roundRect">
            <a:avLst>
              <a:gd name="adj" fmla="val 50000"/>
            </a:avLst>
          </a:prstGeom>
          <a:solidFill>
            <a:srgbClr val="FF7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68A73D8A-7F39-4750-B2B5-3BD804872EC5}"/>
              </a:ext>
            </a:extLst>
          </p:cNvPr>
          <p:cNvSpPr txBox="1"/>
          <p:nvPr/>
        </p:nvSpPr>
        <p:spPr>
          <a:xfrm>
            <a:off x="6835717" y="2287160"/>
            <a:ext cx="3128807" cy="8102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54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Título e</a:t>
            </a:r>
            <a:endParaRPr lang="pt-BR" sz="54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127098C7-7EB1-4CBF-B0C0-37DF25403E74}"/>
              </a:ext>
            </a:extLst>
          </p:cNvPr>
          <p:cNvSpPr txBox="1"/>
          <p:nvPr/>
        </p:nvSpPr>
        <p:spPr>
          <a:xfrm>
            <a:off x="6269861" y="3051485"/>
            <a:ext cx="4817239" cy="116531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8000" b="1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estaque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344CC006-43A0-4C16-9A70-7F7D455598C6}"/>
              </a:ext>
            </a:extLst>
          </p:cNvPr>
          <p:cNvGrpSpPr/>
          <p:nvPr/>
        </p:nvGrpSpPr>
        <p:grpSpPr>
          <a:xfrm>
            <a:off x="7041772" y="4737050"/>
            <a:ext cx="868338" cy="586046"/>
            <a:chOff x="7460872" y="4981402"/>
            <a:chExt cx="643478" cy="434287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F8071B8D-8CE4-41C2-A750-67D4A51AA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0872" y="5256156"/>
              <a:ext cx="643478" cy="159533"/>
            </a:xfrm>
            <a:custGeom>
              <a:avLst/>
              <a:gdLst>
                <a:gd name="T0" fmla="*/ 233 w 1469"/>
                <a:gd name="T1" fmla="*/ 157 h 362"/>
                <a:gd name="T2" fmla="*/ 607 w 1469"/>
                <a:gd name="T3" fmla="*/ 266 h 362"/>
                <a:gd name="T4" fmla="*/ 1233 w 1469"/>
                <a:gd name="T5" fmla="*/ 159 h 362"/>
                <a:gd name="T6" fmla="*/ 1388 w 1469"/>
                <a:gd name="T7" fmla="*/ 63 h 362"/>
                <a:gd name="T8" fmla="*/ 1457 w 1469"/>
                <a:gd name="T9" fmla="*/ 4 h 362"/>
                <a:gd name="T10" fmla="*/ 1459 w 1469"/>
                <a:gd name="T11" fmla="*/ 3 h 362"/>
                <a:gd name="T12" fmla="*/ 1466 w 1469"/>
                <a:gd name="T13" fmla="*/ 4 h 362"/>
                <a:gd name="T14" fmla="*/ 1466 w 1469"/>
                <a:gd name="T15" fmla="*/ 7 h 362"/>
                <a:gd name="T16" fmla="*/ 1442 w 1469"/>
                <a:gd name="T17" fmla="*/ 80 h 362"/>
                <a:gd name="T18" fmla="*/ 1276 w 1469"/>
                <a:gd name="T19" fmla="*/ 207 h 362"/>
                <a:gd name="T20" fmla="*/ 980 w 1469"/>
                <a:gd name="T21" fmla="*/ 331 h 362"/>
                <a:gd name="T22" fmla="*/ 860 w 1469"/>
                <a:gd name="T23" fmla="*/ 353 h 362"/>
                <a:gd name="T24" fmla="*/ 786 w 1469"/>
                <a:gd name="T25" fmla="*/ 359 h 362"/>
                <a:gd name="T26" fmla="*/ 694 w 1469"/>
                <a:gd name="T27" fmla="*/ 360 h 362"/>
                <a:gd name="T28" fmla="*/ 593 w 1469"/>
                <a:gd name="T29" fmla="*/ 351 h 362"/>
                <a:gd name="T30" fmla="*/ 402 w 1469"/>
                <a:gd name="T31" fmla="*/ 305 h 362"/>
                <a:gd name="T32" fmla="*/ 87 w 1469"/>
                <a:gd name="T33" fmla="*/ 132 h 362"/>
                <a:gd name="T34" fmla="*/ 28 w 1469"/>
                <a:gd name="T35" fmla="*/ 81 h 362"/>
                <a:gd name="T36" fmla="*/ 5 w 1469"/>
                <a:gd name="T37" fmla="*/ 4 h 362"/>
                <a:gd name="T38" fmla="*/ 7 w 1469"/>
                <a:gd name="T39" fmla="*/ 0 h 362"/>
                <a:gd name="T40" fmla="*/ 12 w 1469"/>
                <a:gd name="T41" fmla="*/ 3 h 362"/>
                <a:gd name="T42" fmla="*/ 54 w 1469"/>
                <a:gd name="T43" fmla="*/ 40 h 362"/>
                <a:gd name="T44" fmla="*/ 137 w 1469"/>
                <a:gd name="T45" fmla="*/ 102 h 362"/>
                <a:gd name="T46" fmla="*/ 233 w 1469"/>
                <a:gd name="T47" fmla="*/ 157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69" h="362">
                  <a:moveTo>
                    <a:pt x="233" y="157"/>
                  </a:moveTo>
                  <a:cubicBezTo>
                    <a:pt x="351" y="216"/>
                    <a:pt x="476" y="252"/>
                    <a:pt x="607" y="266"/>
                  </a:cubicBezTo>
                  <a:cubicBezTo>
                    <a:pt x="825" y="289"/>
                    <a:pt x="1035" y="256"/>
                    <a:pt x="1233" y="159"/>
                  </a:cubicBezTo>
                  <a:cubicBezTo>
                    <a:pt x="1233" y="159"/>
                    <a:pt x="1323" y="113"/>
                    <a:pt x="1388" y="63"/>
                  </a:cubicBezTo>
                  <a:cubicBezTo>
                    <a:pt x="1411" y="43"/>
                    <a:pt x="1434" y="23"/>
                    <a:pt x="1457" y="4"/>
                  </a:cubicBezTo>
                  <a:cubicBezTo>
                    <a:pt x="1458" y="3"/>
                    <a:pt x="1458" y="3"/>
                    <a:pt x="1459" y="3"/>
                  </a:cubicBezTo>
                  <a:cubicBezTo>
                    <a:pt x="1461" y="1"/>
                    <a:pt x="1464" y="2"/>
                    <a:pt x="1466" y="4"/>
                  </a:cubicBezTo>
                  <a:cubicBezTo>
                    <a:pt x="1466" y="5"/>
                    <a:pt x="1466" y="6"/>
                    <a:pt x="1466" y="7"/>
                  </a:cubicBezTo>
                  <a:cubicBezTo>
                    <a:pt x="1469" y="35"/>
                    <a:pt x="1464" y="60"/>
                    <a:pt x="1442" y="80"/>
                  </a:cubicBezTo>
                  <a:cubicBezTo>
                    <a:pt x="1392" y="129"/>
                    <a:pt x="1336" y="170"/>
                    <a:pt x="1276" y="207"/>
                  </a:cubicBezTo>
                  <a:cubicBezTo>
                    <a:pt x="1184" y="263"/>
                    <a:pt x="1085" y="305"/>
                    <a:pt x="980" y="331"/>
                  </a:cubicBezTo>
                  <a:cubicBezTo>
                    <a:pt x="941" y="341"/>
                    <a:pt x="901" y="349"/>
                    <a:pt x="860" y="353"/>
                  </a:cubicBezTo>
                  <a:cubicBezTo>
                    <a:pt x="835" y="356"/>
                    <a:pt x="811" y="358"/>
                    <a:pt x="786" y="359"/>
                  </a:cubicBezTo>
                  <a:cubicBezTo>
                    <a:pt x="755" y="361"/>
                    <a:pt x="725" y="362"/>
                    <a:pt x="694" y="360"/>
                  </a:cubicBezTo>
                  <a:cubicBezTo>
                    <a:pt x="660" y="359"/>
                    <a:pt x="626" y="355"/>
                    <a:pt x="593" y="351"/>
                  </a:cubicBezTo>
                  <a:cubicBezTo>
                    <a:pt x="527" y="342"/>
                    <a:pt x="464" y="326"/>
                    <a:pt x="402" y="305"/>
                  </a:cubicBezTo>
                  <a:cubicBezTo>
                    <a:pt x="287" y="265"/>
                    <a:pt x="182" y="208"/>
                    <a:pt x="87" y="132"/>
                  </a:cubicBezTo>
                  <a:cubicBezTo>
                    <a:pt x="67" y="116"/>
                    <a:pt x="48" y="98"/>
                    <a:pt x="28" y="81"/>
                  </a:cubicBezTo>
                  <a:cubicBezTo>
                    <a:pt x="5" y="60"/>
                    <a:pt x="0" y="33"/>
                    <a:pt x="5" y="4"/>
                  </a:cubicBezTo>
                  <a:cubicBezTo>
                    <a:pt x="5" y="3"/>
                    <a:pt x="6" y="1"/>
                    <a:pt x="7" y="0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26" y="15"/>
                    <a:pt x="39" y="29"/>
                    <a:pt x="54" y="40"/>
                  </a:cubicBezTo>
                  <a:cubicBezTo>
                    <a:pt x="81" y="62"/>
                    <a:pt x="109" y="82"/>
                    <a:pt x="137" y="102"/>
                  </a:cubicBezTo>
                  <a:cubicBezTo>
                    <a:pt x="164" y="120"/>
                    <a:pt x="213" y="149"/>
                    <a:pt x="233" y="157"/>
                  </a:cubicBezTo>
                </a:path>
              </a:pathLst>
            </a:custGeom>
            <a:solidFill>
              <a:srgbClr val="FF70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grpSp>
          <p:nvGrpSpPr>
            <p:cNvPr id="59" name="Agrupar 58">
              <a:extLst>
                <a:ext uri="{FF2B5EF4-FFF2-40B4-BE49-F238E27FC236}">
                  <a16:creationId xmlns:a16="http://schemas.microsoft.com/office/drawing/2014/main" id="{CFF3A564-417C-49F0-84B8-01F83B237307}"/>
                </a:ext>
              </a:extLst>
            </p:cNvPr>
            <p:cNvGrpSpPr/>
            <p:nvPr/>
          </p:nvGrpSpPr>
          <p:grpSpPr>
            <a:xfrm>
              <a:off x="7579645" y="4981402"/>
              <a:ext cx="405932" cy="405932"/>
              <a:chOff x="11004132" y="5738765"/>
              <a:chExt cx="405932" cy="405932"/>
            </a:xfrm>
            <a:solidFill>
              <a:srgbClr val="FF7020"/>
            </a:solidFill>
          </p:grpSpPr>
          <p:sp>
            <p:nvSpPr>
              <p:cNvPr id="60" name="Freeform 1504">
                <a:extLst>
                  <a:ext uri="{FF2B5EF4-FFF2-40B4-BE49-F238E27FC236}">
                    <a16:creationId xmlns:a16="http://schemas.microsoft.com/office/drawing/2014/main" id="{2FFC87AB-2499-45C1-A638-5E3B6A761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4132" y="5738765"/>
                <a:ext cx="405932" cy="405932"/>
              </a:xfrm>
              <a:custGeom>
                <a:avLst/>
                <a:gdLst>
                  <a:gd name="T0" fmla="*/ 191 w 224"/>
                  <a:gd name="T1" fmla="*/ 33 h 224"/>
                  <a:gd name="T2" fmla="*/ 112 w 224"/>
                  <a:gd name="T3" fmla="*/ 0 h 224"/>
                  <a:gd name="T4" fmla="*/ 49 w 224"/>
                  <a:gd name="T5" fmla="*/ 20 h 224"/>
                  <a:gd name="T6" fmla="*/ 47 w 224"/>
                  <a:gd name="T7" fmla="*/ 26 h 224"/>
                  <a:gd name="T8" fmla="*/ 53 w 224"/>
                  <a:gd name="T9" fmla="*/ 27 h 224"/>
                  <a:gd name="T10" fmla="*/ 112 w 224"/>
                  <a:gd name="T11" fmla="*/ 9 h 224"/>
                  <a:gd name="T12" fmla="*/ 215 w 224"/>
                  <a:gd name="T13" fmla="*/ 112 h 224"/>
                  <a:gd name="T14" fmla="*/ 112 w 224"/>
                  <a:gd name="T15" fmla="*/ 216 h 224"/>
                  <a:gd name="T16" fmla="*/ 9 w 224"/>
                  <a:gd name="T17" fmla="*/ 112 h 224"/>
                  <a:gd name="T18" fmla="*/ 27 w 224"/>
                  <a:gd name="T19" fmla="*/ 54 h 224"/>
                  <a:gd name="T20" fmla="*/ 26 w 224"/>
                  <a:gd name="T21" fmla="*/ 48 h 224"/>
                  <a:gd name="T22" fmla="*/ 19 w 224"/>
                  <a:gd name="T23" fmla="*/ 49 h 224"/>
                  <a:gd name="T24" fmla="*/ 0 w 224"/>
                  <a:gd name="T25" fmla="*/ 112 h 224"/>
                  <a:gd name="T26" fmla="*/ 33 w 224"/>
                  <a:gd name="T27" fmla="*/ 191 h 224"/>
                  <a:gd name="T28" fmla="*/ 112 w 224"/>
                  <a:gd name="T29" fmla="*/ 224 h 224"/>
                  <a:gd name="T30" fmla="*/ 191 w 224"/>
                  <a:gd name="T31" fmla="*/ 191 h 224"/>
                  <a:gd name="T32" fmla="*/ 224 w 224"/>
                  <a:gd name="T33" fmla="*/ 112 h 224"/>
                  <a:gd name="T34" fmla="*/ 191 w 224"/>
                  <a:gd name="T35" fmla="*/ 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24" h="224">
                    <a:moveTo>
                      <a:pt x="191" y="33"/>
                    </a:moveTo>
                    <a:cubicBezTo>
                      <a:pt x="170" y="12"/>
                      <a:pt x="142" y="0"/>
                      <a:pt x="112" y="0"/>
                    </a:cubicBezTo>
                    <a:cubicBezTo>
                      <a:pt x="89" y="0"/>
                      <a:pt x="67" y="7"/>
                      <a:pt x="49" y="20"/>
                    </a:cubicBezTo>
                    <a:cubicBezTo>
                      <a:pt x="47" y="21"/>
                      <a:pt x="46" y="24"/>
                      <a:pt x="47" y="26"/>
                    </a:cubicBezTo>
                    <a:cubicBezTo>
                      <a:pt x="49" y="28"/>
                      <a:pt x="51" y="28"/>
                      <a:pt x="53" y="27"/>
                    </a:cubicBezTo>
                    <a:cubicBezTo>
                      <a:pt x="71" y="15"/>
                      <a:pt x="91" y="9"/>
                      <a:pt x="112" y="9"/>
                    </a:cubicBezTo>
                    <a:cubicBezTo>
                      <a:pt x="169" y="9"/>
                      <a:pt x="215" y="55"/>
                      <a:pt x="215" y="112"/>
                    </a:cubicBezTo>
                    <a:cubicBezTo>
                      <a:pt x="215" y="169"/>
                      <a:pt x="169" y="216"/>
                      <a:pt x="112" y="216"/>
                    </a:cubicBezTo>
                    <a:cubicBezTo>
                      <a:pt x="55" y="216"/>
                      <a:pt x="9" y="169"/>
                      <a:pt x="9" y="112"/>
                    </a:cubicBezTo>
                    <a:cubicBezTo>
                      <a:pt x="9" y="91"/>
                      <a:pt x="15" y="71"/>
                      <a:pt x="27" y="54"/>
                    </a:cubicBezTo>
                    <a:cubicBezTo>
                      <a:pt x="28" y="52"/>
                      <a:pt x="28" y="49"/>
                      <a:pt x="26" y="48"/>
                    </a:cubicBezTo>
                    <a:cubicBezTo>
                      <a:pt x="24" y="46"/>
                      <a:pt x="21" y="47"/>
                      <a:pt x="19" y="49"/>
                    </a:cubicBezTo>
                    <a:cubicBezTo>
                      <a:pt x="7" y="67"/>
                      <a:pt x="0" y="89"/>
                      <a:pt x="0" y="112"/>
                    </a:cubicBezTo>
                    <a:cubicBezTo>
                      <a:pt x="0" y="142"/>
                      <a:pt x="11" y="170"/>
                      <a:pt x="33" y="191"/>
                    </a:cubicBezTo>
                    <a:cubicBezTo>
                      <a:pt x="54" y="213"/>
                      <a:pt x="82" y="224"/>
                      <a:pt x="112" y="224"/>
                    </a:cubicBezTo>
                    <a:cubicBezTo>
                      <a:pt x="142" y="224"/>
                      <a:pt x="170" y="213"/>
                      <a:pt x="191" y="191"/>
                    </a:cubicBezTo>
                    <a:cubicBezTo>
                      <a:pt x="212" y="170"/>
                      <a:pt x="224" y="142"/>
                      <a:pt x="224" y="112"/>
                    </a:cubicBezTo>
                    <a:cubicBezTo>
                      <a:pt x="224" y="82"/>
                      <a:pt x="212" y="54"/>
                      <a:pt x="191" y="3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2" name="Freeform 1505">
                <a:extLst>
                  <a:ext uri="{FF2B5EF4-FFF2-40B4-BE49-F238E27FC236}">
                    <a16:creationId xmlns:a16="http://schemas.microsoft.com/office/drawing/2014/main" id="{1604A77B-5AB8-42C9-A3BA-9EC3B9533A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44599" y="5777967"/>
                <a:ext cx="326263" cy="327528"/>
              </a:xfrm>
              <a:custGeom>
                <a:avLst/>
                <a:gdLst>
                  <a:gd name="T0" fmla="*/ 90 w 180"/>
                  <a:gd name="T1" fmla="*/ 9 h 180"/>
                  <a:gd name="T2" fmla="*/ 164 w 180"/>
                  <a:gd name="T3" fmla="*/ 56 h 180"/>
                  <a:gd name="T4" fmla="*/ 90 w 180"/>
                  <a:gd name="T5" fmla="*/ 49 h 180"/>
                  <a:gd name="T6" fmla="*/ 16 w 180"/>
                  <a:gd name="T7" fmla="*/ 56 h 180"/>
                  <a:gd name="T8" fmla="*/ 90 w 180"/>
                  <a:gd name="T9" fmla="*/ 9 h 180"/>
                  <a:gd name="T10" fmla="*/ 113 w 180"/>
                  <a:gd name="T11" fmla="*/ 168 h 180"/>
                  <a:gd name="T12" fmla="*/ 113 w 180"/>
                  <a:gd name="T13" fmla="*/ 167 h 180"/>
                  <a:gd name="T14" fmla="*/ 170 w 180"/>
                  <a:gd name="T15" fmla="*/ 105 h 180"/>
                  <a:gd name="T16" fmla="*/ 113 w 180"/>
                  <a:gd name="T17" fmla="*/ 168 h 180"/>
                  <a:gd name="T18" fmla="*/ 76 w 180"/>
                  <a:gd name="T19" fmla="*/ 170 h 180"/>
                  <a:gd name="T20" fmla="*/ 76 w 180"/>
                  <a:gd name="T21" fmla="*/ 167 h 180"/>
                  <a:gd name="T22" fmla="*/ 75 w 180"/>
                  <a:gd name="T23" fmla="*/ 157 h 180"/>
                  <a:gd name="T24" fmla="*/ 90 w 180"/>
                  <a:gd name="T25" fmla="*/ 159 h 180"/>
                  <a:gd name="T26" fmla="*/ 105 w 180"/>
                  <a:gd name="T27" fmla="*/ 157 h 180"/>
                  <a:gd name="T28" fmla="*/ 104 w 180"/>
                  <a:gd name="T29" fmla="*/ 167 h 180"/>
                  <a:gd name="T30" fmla="*/ 104 w 180"/>
                  <a:gd name="T31" fmla="*/ 170 h 180"/>
                  <a:gd name="T32" fmla="*/ 90 w 180"/>
                  <a:gd name="T33" fmla="*/ 172 h 180"/>
                  <a:gd name="T34" fmla="*/ 76 w 180"/>
                  <a:gd name="T35" fmla="*/ 170 h 180"/>
                  <a:gd name="T36" fmla="*/ 10 w 180"/>
                  <a:gd name="T37" fmla="*/ 105 h 180"/>
                  <a:gd name="T38" fmla="*/ 67 w 180"/>
                  <a:gd name="T39" fmla="*/ 167 h 180"/>
                  <a:gd name="T40" fmla="*/ 67 w 180"/>
                  <a:gd name="T41" fmla="*/ 168 h 180"/>
                  <a:gd name="T42" fmla="*/ 10 w 180"/>
                  <a:gd name="T43" fmla="*/ 105 h 180"/>
                  <a:gd name="T44" fmla="*/ 22 w 180"/>
                  <a:gd name="T45" fmla="*/ 98 h 180"/>
                  <a:gd name="T46" fmla="*/ 9 w 180"/>
                  <a:gd name="T47" fmla="*/ 96 h 180"/>
                  <a:gd name="T48" fmla="*/ 8 w 180"/>
                  <a:gd name="T49" fmla="*/ 90 h 180"/>
                  <a:gd name="T50" fmla="*/ 12 w 180"/>
                  <a:gd name="T51" fmla="*/ 66 h 180"/>
                  <a:gd name="T52" fmla="*/ 27 w 180"/>
                  <a:gd name="T53" fmla="*/ 63 h 180"/>
                  <a:gd name="T54" fmla="*/ 22 w 180"/>
                  <a:gd name="T55" fmla="*/ 98 h 180"/>
                  <a:gd name="T56" fmla="*/ 142 w 180"/>
                  <a:gd name="T57" fmla="*/ 61 h 180"/>
                  <a:gd name="T58" fmla="*/ 149 w 180"/>
                  <a:gd name="T59" fmla="*/ 101 h 180"/>
                  <a:gd name="T60" fmla="*/ 107 w 180"/>
                  <a:gd name="T61" fmla="*/ 147 h 180"/>
                  <a:gd name="T62" fmla="*/ 73 w 180"/>
                  <a:gd name="T63" fmla="*/ 147 h 180"/>
                  <a:gd name="T64" fmla="*/ 31 w 180"/>
                  <a:gd name="T65" fmla="*/ 101 h 180"/>
                  <a:gd name="T66" fmla="*/ 38 w 180"/>
                  <a:gd name="T67" fmla="*/ 61 h 180"/>
                  <a:gd name="T68" fmla="*/ 90 w 180"/>
                  <a:gd name="T69" fmla="*/ 58 h 180"/>
                  <a:gd name="T70" fmla="*/ 142 w 180"/>
                  <a:gd name="T71" fmla="*/ 61 h 180"/>
                  <a:gd name="T72" fmla="*/ 171 w 180"/>
                  <a:gd name="T73" fmla="*/ 90 h 180"/>
                  <a:gd name="T74" fmla="*/ 171 w 180"/>
                  <a:gd name="T75" fmla="*/ 96 h 180"/>
                  <a:gd name="T76" fmla="*/ 158 w 180"/>
                  <a:gd name="T77" fmla="*/ 98 h 180"/>
                  <a:gd name="T78" fmla="*/ 153 w 180"/>
                  <a:gd name="T79" fmla="*/ 63 h 180"/>
                  <a:gd name="T80" fmla="*/ 168 w 180"/>
                  <a:gd name="T81" fmla="*/ 66 h 180"/>
                  <a:gd name="T82" fmla="*/ 171 w 180"/>
                  <a:gd name="T83" fmla="*/ 90 h 180"/>
                  <a:gd name="T84" fmla="*/ 90 w 180"/>
                  <a:gd name="T85" fmla="*/ 180 h 180"/>
                  <a:gd name="T86" fmla="*/ 180 w 180"/>
                  <a:gd name="T87" fmla="*/ 90 h 180"/>
                  <a:gd name="T88" fmla="*/ 175 w 180"/>
                  <a:gd name="T89" fmla="*/ 61 h 180"/>
                  <a:gd name="T90" fmla="*/ 175 w 180"/>
                  <a:gd name="T91" fmla="*/ 61 h 180"/>
                  <a:gd name="T92" fmla="*/ 90 w 180"/>
                  <a:gd name="T93" fmla="*/ 0 h 180"/>
                  <a:gd name="T94" fmla="*/ 0 w 180"/>
                  <a:gd name="T95" fmla="*/ 90 h 180"/>
                  <a:gd name="T96" fmla="*/ 90 w 180"/>
                  <a:gd name="T97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0" h="180">
                    <a:moveTo>
                      <a:pt x="90" y="9"/>
                    </a:moveTo>
                    <a:cubicBezTo>
                      <a:pt x="123" y="9"/>
                      <a:pt x="151" y="28"/>
                      <a:pt x="164" y="56"/>
                    </a:cubicBezTo>
                    <a:cubicBezTo>
                      <a:pt x="140" y="51"/>
                      <a:pt x="115" y="49"/>
                      <a:pt x="90" y="49"/>
                    </a:cubicBezTo>
                    <a:cubicBezTo>
                      <a:pt x="65" y="49"/>
                      <a:pt x="40" y="51"/>
                      <a:pt x="16" y="56"/>
                    </a:cubicBezTo>
                    <a:cubicBezTo>
                      <a:pt x="29" y="28"/>
                      <a:pt x="57" y="9"/>
                      <a:pt x="90" y="9"/>
                    </a:cubicBezTo>
                    <a:moveTo>
                      <a:pt x="113" y="168"/>
                    </a:moveTo>
                    <a:cubicBezTo>
                      <a:pt x="113" y="168"/>
                      <a:pt x="113" y="168"/>
                      <a:pt x="113" y="167"/>
                    </a:cubicBezTo>
                    <a:cubicBezTo>
                      <a:pt x="113" y="135"/>
                      <a:pt x="138" y="108"/>
                      <a:pt x="170" y="105"/>
                    </a:cubicBezTo>
                    <a:cubicBezTo>
                      <a:pt x="164" y="136"/>
                      <a:pt x="142" y="160"/>
                      <a:pt x="113" y="168"/>
                    </a:cubicBezTo>
                    <a:moveTo>
                      <a:pt x="76" y="170"/>
                    </a:moveTo>
                    <a:cubicBezTo>
                      <a:pt x="76" y="169"/>
                      <a:pt x="76" y="168"/>
                      <a:pt x="76" y="167"/>
                    </a:cubicBezTo>
                    <a:cubicBezTo>
                      <a:pt x="76" y="164"/>
                      <a:pt x="76" y="160"/>
                      <a:pt x="75" y="157"/>
                    </a:cubicBezTo>
                    <a:cubicBezTo>
                      <a:pt x="80" y="158"/>
                      <a:pt x="85" y="159"/>
                      <a:pt x="90" y="159"/>
                    </a:cubicBezTo>
                    <a:cubicBezTo>
                      <a:pt x="95" y="159"/>
                      <a:pt x="100" y="158"/>
                      <a:pt x="105" y="157"/>
                    </a:cubicBezTo>
                    <a:cubicBezTo>
                      <a:pt x="104" y="160"/>
                      <a:pt x="104" y="164"/>
                      <a:pt x="104" y="167"/>
                    </a:cubicBezTo>
                    <a:cubicBezTo>
                      <a:pt x="104" y="168"/>
                      <a:pt x="104" y="169"/>
                      <a:pt x="104" y="170"/>
                    </a:cubicBezTo>
                    <a:cubicBezTo>
                      <a:pt x="100" y="171"/>
                      <a:pt x="95" y="172"/>
                      <a:pt x="90" y="172"/>
                    </a:cubicBezTo>
                    <a:cubicBezTo>
                      <a:pt x="85" y="172"/>
                      <a:pt x="80" y="171"/>
                      <a:pt x="76" y="170"/>
                    </a:cubicBezTo>
                    <a:moveTo>
                      <a:pt x="10" y="105"/>
                    </a:moveTo>
                    <a:cubicBezTo>
                      <a:pt x="42" y="108"/>
                      <a:pt x="67" y="135"/>
                      <a:pt x="67" y="167"/>
                    </a:cubicBezTo>
                    <a:cubicBezTo>
                      <a:pt x="67" y="168"/>
                      <a:pt x="67" y="168"/>
                      <a:pt x="67" y="168"/>
                    </a:cubicBezTo>
                    <a:cubicBezTo>
                      <a:pt x="38" y="160"/>
                      <a:pt x="16" y="136"/>
                      <a:pt x="10" y="105"/>
                    </a:cubicBezTo>
                    <a:moveTo>
                      <a:pt x="22" y="98"/>
                    </a:moveTo>
                    <a:cubicBezTo>
                      <a:pt x="18" y="97"/>
                      <a:pt x="13" y="97"/>
                      <a:pt x="9" y="96"/>
                    </a:cubicBezTo>
                    <a:cubicBezTo>
                      <a:pt x="9" y="94"/>
                      <a:pt x="8" y="92"/>
                      <a:pt x="8" y="90"/>
                    </a:cubicBezTo>
                    <a:cubicBezTo>
                      <a:pt x="8" y="82"/>
                      <a:pt x="10" y="74"/>
                      <a:pt x="12" y="66"/>
                    </a:cubicBezTo>
                    <a:cubicBezTo>
                      <a:pt x="17" y="65"/>
                      <a:pt x="22" y="64"/>
                      <a:pt x="27" y="63"/>
                    </a:cubicBezTo>
                    <a:cubicBezTo>
                      <a:pt x="22" y="74"/>
                      <a:pt x="21" y="86"/>
                      <a:pt x="22" y="98"/>
                    </a:cubicBezTo>
                    <a:moveTo>
                      <a:pt x="142" y="61"/>
                    </a:moveTo>
                    <a:cubicBezTo>
                      <a:pt x="149" y="73"/>
                      <a:pt x="151" y="88"/>
                      <a:pt x="149" y="101"/>
                    </a:cubicBezTo>
                    <a:cubicBezTo>
                      <a:pt x="129" y="110"/>
                      <a:pt x="113" y="126"/>
                      <a:pt x="107" y="147"/>
                    </a:cubicBezTo>
                    <a:cubicBezTo>
                      <a:pt x="96" y="151"/>
                      <a:pt x="84" y="151"/>
                      <a:pt x="73" y="147"/>
                    </a:cubicBezTo>
                    <a:cubicBezTo>
                      <a:pt x="67" y="126"/>
                      <a:pt x="51" y="110"/>
                      <a:pt x="31" y="101"/>
                    </a:cubicBezTo>
                    <a:cubicBezTo>
                      <a:pt x="29" y="88"/>
                      <a:pt x="31" y="73"/>
                      <a:pt x="38" y="61"/>
                    </a:cubicBezTo>
                    <a:cubicBezTo>
                      <a:pt x="55" y="59"/>
                      <a:pt x="73" y="58"/>
                      <a:pt x="90" y="58"/>
                    </a:cubicBezTo>
                    <a:cubicBezTo>
                      <a:pt x="107" y="58"/>
                      <a:pt x="125" y="59"/>
                      <a:pt x="142" y="61"/>
                    </a:cubicBezTo>
                    <a:moveTo>
                      <a:pt x="171" y="90"/>
                    </a:moveTo>
                    <a:cubicBezTo>
                      <a:pt x="171" y="92"/>
                      <a:pt x="171" y="94"/>
                      <a:pt x="171" y="96"/>
                    </a:cubicBezTo>
                    <a:cubicBezTo>
                      <a:pt x="167" y="97"/>
                      <a:pt x="162" y="97"/>
                      <a:pt x="158" y="98"/>
                    </a:cubicBezTo>
                    <a:cubicBezTo>
                      <a:pt x="159" y="86"/>
                      <a:pt x="157" y="74"/>
                      <a:pt x="153" y="63"/>
                    </a:cubicBezTo>
                    <a:cubicBezTo>
                      <a:pt x="158" y="64"/>
                      <a:pt x="163" y="65"/>
                      <a:pt x="168" y="66"/>
                    </a:cubicBezTo>
                    <a:cubicBezTo>
                      <a:pt x="170" y="74"/>
                      <a:pt x="171" y="82"/>
                      <a:pt x="171" y="90"/>
                    </a:cubicBezTo>
                    <a:moveTo>
                      <a:pt x="90" y="180"/>
                    </a:moveTo>
                    <a:cubicBezTo>
                      <a:pt x="140" y="180"/>
                      <a:pt x="180" y="140"/>
                      <a:pt x="180" y="90"/>
                    </a:cubicBezTo>
                    <a:cubicBezTo>
                      <a:pt x="180" y="80"/>
                      <a:pt x="179" y="70"/>
                      <a:pt x="175" y="61"/>
                    </a:cubicBezTo>
                    <a:cubicBezTo>
                      <a:pt x="175" y="61"/>
                      <a:pt x="175" y="61"/>
                      <a:pt x="175" y="61"/>
                    </a:cubicBezTo>
                    <a:cubicBezTo>
                      <a:pt x="163" y="25"/>
                      <a:pt x="129" y="0"/>
                      <a:pt x="90" y="0"/>
                    </a:cubicBezTo>
                    <a:cubicBezTo>
                      <a:pt x="40" y="0"/>
                      <a:pt x="0" y="40"/>
                      <a:pt x="0" y="90"/>
                    </a:cubicBezTo>
                    <a:cubicBezTo>
                      <a:pt x="0" y="140"/>
                      <a:pt x="40" y="180"/>
                      <a:pt x="90" y="18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4" name="Freeform 1506">
                <a:extLst>
                  <a:ext uri="{FF2B5EF4-FFF2-40B4-BE49-F238E27FC236}">
                    <a16:creationId xmlns:a16="http://schemas.microsoft.com/office/drawing/2014/main" id="{68059A99-2F0D-461E-89D4-CA17CBEB59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67264" y="5901896"/>
                <a:ext cx="79669" cy="79669"/>
              </a:xfrm>
              <a:custGeom>
                <a:avLst/>
                <a:gdLst>
                  <a:gd name="T0" fmla="*/ 22 w 44"/>
                  <a:gd name="T1" fmla="*/ 9 h 44"/>
                  <a:gd name="T2" fmla="*/ 35 w 44"/>
                  <a:gd name="T3" fmla="*/ 22 h 44"/>
                  <a:gd name="T4" fmla="*/ 22 w 44"/>
                  <a:gd name="T5" fmla="*/ 35 h 44"/>
                  <a:gd name="T6" fmla="*/ 9 w 44"/>
                  <a:gd name="T7" fmla="*/ 22 h 44"/>
                  <a:gd name="T8" fmla="*/ 22 w 44"/>
                  <a:gd name="T9" fmla="*/ 9 h 44"/>
                  <a:gd name="T10" fmla="*/ 0 w 44"/>
                  <a:gd name="T11" fmla="*/ 22 h 44"/>
                  <a:gd name="T12" fmla="*/ 22 w 44"/>
                  <a:gd name="T13" fmla="*/ 44 h 44"/>
                  <a:gd name="T14" fmla="*/ 44 w 44"/>
                  <a:gd name="T15" fmla="*/ 22 h 44"/>
                  <a:gd name="T16" fmla="*/ 22 w 44"/>
                  <a:gd name="T17" fmla="*/ 0 h 44"/>
                  <a:gd name="T18" fmla="*/ 0 w 44"/>
                  <a:gd name="T19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22" y="9"/>
                    </a:moveTo>
                    <a:cubicBezTo>
                      <a:pt x="29" y="9"/>
                      <a:pt x="35" y="15"/>
                      <a:pt x="35" y="22"/>
                    </a:cubicBezTo>
                    <a:cubicBezTo>
                      <a:pt x="35" y="29"/>
                      <a:pt x="29" y="35"/>
                      <a:pt x="22" y="35"/>
                    </a:cubicBezTo>
                    <a:cubicBezTo>
                      <a:pt x="15" y="35"/>
                      <a:pt x="9" y="29"/>
                      <a:pt x="9" y="22"/>
                    </a:cubicBezTo>
                    <a:cubicBezTo>
                      <a:pt x="9" y="15"/>
                      <a:pt x="15" y="9"/>
                      <a:pt x="22" y="9"/>
                    </a:cubicBezTo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4" y="44"/>
                      <a:pt x="44" y="34"/>
                      <a:pt x="44" y="22"/>
                    </a:cubicBezTo>
                    <a:cubicBezTo>
                      <a:pt x="44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6" name="Freeform 1507">
                <a:extLst>
                  <a:ext uri="{FF2B5EF4-FFF2-40B4-BE49-F238E27FC236}">
                    <a16:creationId xmlns:a16="http://schemas.microsoft.com/office/drawing/2014/main" id="{9F67267D-5DB1-49F7-A5BB-AABE2042A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1039" y="5794407"/>
                <a:ext cx="17704" cy="16440"/>
              </a:xfrm>
              <a:custGeom>
                <a:avLst/>
                <a:gdLst>
                  <a:gd name="T0" fmla="*/ 5 w 10"/>
                  <a:gd name="T1" fmla="*/ 9 h 9"/>
                  <a:gd name="T2" fmla="*/ 8 w 10"/>
                  <a:gd name="T3" fmla="*/ 8 h 9"/>
                  <a:gd name="T4" fmla="*/ 8 w 10"/>
                  <a:gd name="T5" fmla="*/ 2 h 9"/>
                  <a:gd name="T6" fmla="*/ 2 w 10"/>
                  <a:gd name="T7" fmla="*/ 2 h 9"/>
                  <a:gd name="T8" fmla="*/ 2 w 10"/>
                  <a:gd name="T9" fmla="*/ 2 h 9"/>
                  <a:gd name="T10" fmla="*/ 2 w 10"/>
                  <a:gd name="T11" fmla="*/ 8 h 9"/>
                  <a:gd name="T12" fmla="*/ 5 w 10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6" y="9"/>
                      <a:pt x="7" y="9"/>
                      <a:pt x="8" y="8"/>
                    </a:cubicBezTo>
                    <a:cubicBezTo>
                      <a:pt x="10" y="6"/>
                      <a:pt x="10" y="4"/>
                      <a:pt x="8" y="2"/>
                    </a:cubicBezTo>
                    <a:cubicBezTo>
                      <a:pt x="6" y="0"/>
                      <a:pt x="3" y="0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4"/>
                      <a:pt x="0" y="6"/>
                      <a:pt x="2" y="8"/>
                    </a:cubicBezTo>
                    <a:cubicBezTo>
                      <a:pt x="3" y="9"/>
                      <a:pt x="4" y="9"/>
                      <a:pt x="5" y="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</p:grp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56513523-F069-43FB-9649-35C150720E9D}"/>
              </a:ext>
            </a:extLst>
          </p:cNvPr>
          <p:cNvGrpSpPr/>
          <p:nvPr/>
        </p:nvGrpSpPr>
        <p:grpSpPr>
          <a:xfrm>
            <a:off x="8212699" y="4776252"/>
            <a:ext cx="868338" cy="533145"/>
            <a:chOff x="7923122" y="4776252"/>
            <a:chExt cx="643478" cy="395085"/>
          </a:xfrm>
        </p:grpSpPr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7F0E0346-9507-4497-B855-3104BF5A2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122" y="5011804"/>
              <a:ext cx="643478" cy="159533"/>
            </a:xfrm>
            <a:custGeom>
              <a:avLst/>
              <a:gdLst>
                <a:gd name="T0" fmla="*/ 233 w 1469"/>
                <a:gd name="T1" fmla="*/ 157 h 362"/>
                <a:gd name="T2" fmla="*/ 607 w 1469"/>
                <a:gd name="T3" fmla="*/ 266 h 362"/>
                <a:gd name="T4" fmla="*/ 1233 w 1469"/>
                <a:gd name="T5" fmla="*/ 159 h 362"/>
                <a:gd name="T6" fmla="*/ 1388 w 1469"/>
                <a:gd name="T7" fmla="*/ 63 h 362"/>
                <a:gd name="T8" fmla="*/ 1457 w 1469"/>
                <a:gd name="T9" fmla="*/ 4 h 362"/>
                <a:gd name="T10" fmla="*/ 1459 w 1469"/>
                <a:gd name="T11" fmla="*/ 3 h 362"/>
                <a:gd name="T12" fmla="*/ 1466 w 1469"/>
                <a:gd name="T13" fmla="*/ 4 h 362"/>
                <a:gd name="T14" fmla="*/ 1466 w 1469"/>
                <a:gd name="T15" fmla="*/ 7 h 362"/>
                <a:gd name="T16" fmla="*/ 1442 w 1469"/>
                <a:gd name="T17" fmla="*/ 80 h 362"/>
                <a:gd name="T18" fmla="*/ 1276 w 1469"/>
                <a:gd name="T19" fmla="*/ 207 h 362"/>
                <a:gd name="T20" fmla="*/ 980 w 1469"/>
                <a:gd name="T21" fmla="*/ 331 h 362"/>
                <a:gd name="T22" fmla="*/ 860 w 1469"/>
                <a:gd name="T23" fmla="*/ 353 h 362"/>
                <a:gd name="T24" fmla="*/ 786 w 1469"/>
                <a:gd name="T25" fmla="*/ 359 h 362"/>
                <a:gd name="T26" fmla="*/ 694 w 1469"/>
                <a:gd name="T27" fmla="*/ 360 h 362"/>
                <a:gd name="T28" fmla="*/ 593 w 1469"/>
                <a:gd name="T29" fmla="*/ 351 h 362"/>
                <a:gd name="T30" fmla="*/ 402 w 1469"/>
                <a:gd name="T31" fmla="*/ 305 h 362"/>
                <a:gd name="T32" fmla="*/ 87 w 1469"/>
                <a:gd name="T33" fmla="*/ 132 h 362"/>
                <a:gd name="T34" fmla="*/ 28 w 1469"/>
                <a:gd name="T35" fmla="*/ 81 h 362"/>
                <a:gd name="T36" fmla="*/ 5 w 1469"/>
                <a:gd name="T37" fmla="*/ 4 h 362"/>
                <a:gd name="T38" fmla="*/ 7 w 1469"/>
                <a:gd name="T39" fmla="*/ 0 h 362"/>
                <a:gd name="T40" fmla="*/ 12 w 1469"/>
                <a:gd name="T41" fmla="*/ 3 h 362"/>
                <a:gd name="T42" fmla="*/ 54 w 1469"/>
                <a:gd name="T43" fmla="*/ 40 h 362"/>
                <a:gd name="T44" fmla="*/ 137 w 1469"/>
                <a:gd name="T45" fmla="*/ 102 h 362"/>
                <a:gd name="T46" fmla="*/ 233 w 1469"/>
                <a:gd name="T47" fmla="*/ 157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69" h="362">
                  <a:moveTo>
                    <a:pt x="233" y="157"/>
                  </a:moveTo>
                  <a:cubicBezTo>
                    <a:pt x="351" y="216"/>
                    <a:pt x="476" y="252"/>
                    <a:pt x="607" y="266"/>
                  </a:cubicBezTo>
                  <a:cubicBezTo>
                    <a:pt x="825" y="289"/>
                    <a:pt x="1035" y="256"/>
                    <a:pt x="1233" y="159"/>
                  </a:cubicBezTo>
                  <a:cubicBezTo>
                    <a:pt x="1233" y="159"/>
                    <a:pt x="1323" y="113"/>
                    <a:pt x="1388" y="63"/>
                  </a:cubicBezTo>
                  <a:cubicBezTo>
                    <a:pt x="1411" y="43"/>
                    <a:pt x="1434" y="23"/>
                    <a:pt x="1457" y="4"/>
                  </a:cubicBezTo>
                  <a:cubicBezTo>
                    <a:pt x="1458" y="3"/>
                    <a:pt x="1458" y="3"/>
                    <a:pt x="1459" y="3"/>
                  </a:cubicBezTo>
                  <a:cubicBezTo>
                    <a:pt x="1461" y="1"/>
                    <a:pt x="1464" y="2"/>
                    <a:pt x="1466" y="4"/>
                  </a:cubicBezTo>
                  <a:cubicBezTo>
                    <a:pt x="1466" y="5"/>
                    <a:pt x="1466" y="6"/>
                    <a:pt x="1466" y="7"/>
                  </a:cubicBezTo>
                  <a:cubicBezTo>
                    <a:pt x="1469" y="35"/>
                    <a:pt x="1464" y="60"/>
                    <a:pt x="1442" y="80"/>
                  </a:cubicBezTo>
                  <a:cubicBezTo>
                    <a:pt x="1392" y="129"/>
                    <a:pt x="1336" y="170"/>
                    <a:pt x="1276" y="207"/>
                  </a:cubicBezTo>
                  <a:cubicBezTo>
                    <a:pt x="1184" y="263"/>
                    <a:pt x="1085" y="305"/>
                    <a:pt x="980" y="331"/>
                  </a:cubicBezTo>
                  <a:cubicBezTo>
                    <a:pt x="941" y="341"/>
                    <a:pt x="901" y="349"/>
                    <a:pt x="860" y="353"/>
                  </a:cubicBezTo>
                  <a:cubicBezTo>
                    <a:pt x="835" y="356"/>
                    <a:pt x="811" y="358"/>
                    <a:pt x="786" y="359"/>
                  </a:cubicBezTo>
                  <a:cubicBezTo>
                    <a:pt x="755" y="361"/>
                    <a:pt x="725" y="362"/>
                    <a:pt x="694" y="360"/>
                  </a:cubicBezTo>
                  <a:cubicBezTo>
                    <a:pt x="660" y="359"/>
                    <a:pt x="626" y="355"/>
                    <a:pt x="593" y="351"/>
                  </a:cubicBezTo>
                  <a:cubicBezTo>
                    <a:pt x="527" y="342"/>
                    <a:pt x="464" y="326"/>
                    <a:pt x="402" y="305"/>
                  </a:cubicBezTo>
                  <a:cubicBezTo>
                    <a:pt x="287" y="265"/>
                    <a:pt x="182" y="208"/>
                    <a:pt x="87" y="132"/>
                  </a:cubicBezTo>
                  <a:cubicBezTo>
                    <a:pt x="67" y="116"/>
                    <a:pt x="48" y="98"/>
                    <a:pt x="28" y="81"/>
                  </a:cubicBezTo>
                  <a:cubicBezTo>
                    <a:pt x="5" y="60"/>
                    <a:pt x="0" y="33"/>
                    <a:pt x="5" y="4"/>
                  </a:cubicBezTo>
                  <a:cubicBezTo>
                    <a:pt x="5" y="3"/>
                    <a:pt x="6" y="1"/>
                    <a:pt x="7" y="0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26" y="15"/>
                    <a:pt x="39" y="29"/>
                    <a:pt x="54" y="40"/>
                  </a:cubicBezTo>
                  <a:cubicBezTo>
                    <a:pt x="81" y="62"/>
                    <a:pt x="109" y="82"/>
                    <a:pt x="137" y="102"/>
                  </a:cubicBezTo>
                  <a:cubicBezTo>
                    <a:pt x="164" y="120"/>
                    <a:pt x="213" y="149"/>
                    <a:pt x="233" y="157"/>
                  </a:cubicBezTo>
                </a:path>
              </a:pathLst>
            </a:custGeom>
            <a:solidFill>
              <a:srgbClr val="7C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grpSp>
          <p:nvGrpSpPr>
            <p:cNvPr id="77" name="Agrupar 76">
              <a:extLst>
                <a:ext uri="{FF2B5EF4-FFF2-40B4-BE49-F238E27FC236}">
                  <a16:creationId xmlns:a16="http://schemas.microsoft.com/office/drawing/2014/main" id="{7581EA48-343C-47DD-8172-BBF238357B0E}"/>
                </a:ext>
              </a:extLst>
            </p:cNvPr>
            <p:cNvGrpSpPr/>
            <p:nvPr/>
          </p:nvGrpSpPr>
          <p:grpSpPr>
            <a:xfrm>
              <a:off x="7997442" y="4776252"/>
              <a:ext cx="494838" cy="343710"/>
              <a:chOff x="8377589" y="3734397"/>
              <a:chExt cx="467897" cy="324998"/>
            </a:xfrm>
            <a:solidFill>
              <a:srgbClr val="7C7C7C"/>
            </a:solidFill>
          </p:grpSpPr>
          <p:sp>
            <p:nvSpPr>
              <p:cNvPr id="78" name="Freeform 990">
                <a:extLst>
                  <a:ext uri="{FF2B5EF4-FFF2-40B4-BE49-F238E27FC236}">
                    <a16:creationId xmlns:a16="http://schemas.microsoft.com/office/drawing/2014/main" id="{D730D376-5B30-408D-8FDE-068328C51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7589" y="3864649"/>
                <a:ext cx="196011" cy="194746"/>
              </a:xfrm>
              <a:custGeom>
                <a:avLst/>
                <a:gdLst>
                  <a:gd name="T0" fmla="*/ 54 w 108"/>
                  <a:gd name="T1" fmla="*/ 107 h 107"/>
                  <a:gd name="T2" fmla="*/ 0 w 108"/>
                  <a:gd name="T3" fmla="*/ 53 h 107"/>
                  <a:gd name="T4" fmla="*/ 54 w 108"/>
                  <a:gd name="T5" fmla="*/ 0 h 107"/>
                  <a:gd name="T6" fmla="*/ 108 w 108"/>
                  <a:gd name="T7" fmla="*/ 53 h 107"/>
                  <a:gd name="T8" fmla="*/ 54 w 108"/>
                  <a:gd name="T9" fmla="*/ 107 h 107"/>
                  <a:gd name="T10" fmla="*/ 54 w 108"/>
                  <a:gd name="T11" fmla="*/ 6 h 107"/>
                  <a:gd name="T12" fmla="*/ 7 w 108"/>
                  <a:gd name="T13" fmla="*/ 53 h 107"/>
                  <a:gd name="T14" fmla="*/ 54 w 108"/>
                  <a:gd name="T15" fmla="*/ 100 h 107"/>
                  <a:gd name="T16" fmla="*/ 101 w 108"/>
                  <a:gd name="T17" fmla="*/ 53 h 107"/>
                  <a:gd name="T18" fmla="*/ 54 w 108"/>
                  <a:gd name="T19" fmla="*/ 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107">
                    <a:moveTo>
                      <a:pt x="54" y="107"/>
                    </a:moveTo>
                    <a:cubicBezTo>
                      <a:pt x="24" y="107"/>
                      <a:pt x="0" y="83"/>
                      <a:pt x="0" y="53"/>
                    </a:cubicBezTo>
                    <a:cubicBezTo>
                      <a:pt x="0" y="24"/>
                      <a:pt x="24" y="0"/>
                      <a:pt x="54" y="0"/>
                    </a:cubicBezTo>
                    <a:cubicBezTo>
                      <a:pt x="83" y="0"/>
                      <a:pt x="108" y="24"/>
                      <a:pt x="108" y="53"/>
                    </a:cubicBezTo>
                    <a:cubicBezTo>
                      <a:pt x="108" y="83"/>
                      <a:pt x="83" y="107"/>
                      <a:pt x="54" y="107"/>
                    </a:cubicBezTo>
                    <a:close/>
                    <a:moveTo>
                      <a:pt x="54" y="6"/>
                    </a:moveTo>
                    <a:cubicBezTo>
                      <a:pt x="28" y="6"/>
                      <a:pt x="7" y="27"/>
                      <a:pt x="7" y="53"/>
                    </a:cubicBezTo>
                    <a:cubicBezTo>
                      <a:pt x="7" y="79"/>
                      <a:pt x="28" y="100"/>
                      <a:pt x="54" y="100"/>
                    </a:cubicBezTo>
                    <a:cubicBezTo>
                      <a:pt x="80" y="100"/>
                      <a:pt x="101" y="79"/>
                      <a:pt x="101" y="53"/>
                    </a:cubicBezTo>
                    <a:cubicBezTo>
                      <a:pt x="101" y="27"/>
                      <a:pt x="80" y="6"/>
                      <a:pt x="5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9" name="Freeform 991">
                <a:extLst>
                  <a:ext uri="{FF2B5EF4-FFF2-40B4-BE49-F238E27FC236}">
                    <a16:creationId xmlns:a16="http://schemas.microsoft.com/office/drawing/2014/main" id="{92BA2402-2599-4449-A8FD-2E45CCF81A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09204" y="3893734"/>
                <a:ext cx="134046" cy="134046"/>
              </a:xfrm>
              <a:custGeom>
                <a:avLst/>
                <a:gdLst>
                  <a:gd name="T0" fmla="*/ 37 w 74"/>
                  <a:gd name="T1" fmla="*/ 74 h 74"/>
                  <a:gd name="T2" fmla="*/ 0 w 74"/>
                  <a:gd name="T3" fmla="*/ 37 h 74"/>
                  <a:gd name="T4" fmla="*/ 37 w 74"/>
                  <a:gd name="T5" fmla="*/ 0 h 74"/>
                  <a:gd name="T6" fmla="*/ 74 w 74"/>
                  <a:gd name="T7" fmla="*/ 37 h 74"/>
                  <a:gd name="T8" fmla="*/ 37 w 74"/>
                  <a:gd name="T9" fmla="*/ 74 h 74"/>
                  <a:gd name="T10" fmla="*/ 37 w 74"/>
                  <a:gd name="T11" fmla="*/ 7 h 74"/>
                  <a:gd name="T12" fmla="*/ 7 w 74"/>
                  <a:gd name="T13" fmla="*/ 37 h 74"/>
                  <a:gd name="T14" fmla="*/ 37 w 74"/>
                  <a:gd name="T15" fmla="*/ 67 h 74"/>
                  <a:gd name="T16" fmla="*/ 67 w 74"/>
                  <a:gd name="T17" fmla="*/ 37 h 74"/>
                  <a:gd name="T18" fmla="*/ 37 w 74"/>
                  <a:gd name="T19" fmla="*/ 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74">
                    <a:moveTo>
                      <a:pt x="37" y="74"/>
                    </a:moveTo>
                    <a:cubicBezTo>
                      <a:pt x="16" y="74"/>
                      <a:pt x="0" y="58"/>
                      <a:pt x="0" y="37"/>
                    </a:cubicBezTo>
                    <a:cubicBezTo>
                      <a:pt x="0" y="17"/>
                      <a:pt x="16" y="0"/>
                      <a:pt x="37" y="0"/>
                    </a:cubicBezTo>
                    <a:cubicBezTo>
                      <a:pt x="57" y="0"/>
                      <a:pt x="74" y="17"/>
                      <a:pt x="74" y="37"/>
                    </a:cubicBezTo>
                    <a:cubicBezTo>
                      <a:pt x="74" y="58"/>
                      <a:pt x="57" y="74"/>
                      <a:pt x="37" y="74"/>
                    </a:cubicBezTo>
                    <a:close/>
                    <a:moveTo>
                      <a:pt x="37" y="7"/>
                    </a:moveTo>
                    <a:cubicBezTo>
                      <a:pt x="20" y="7"/>
                      <a:pt x="7" y="21"/>
                      <a:pt x="7" y="37"/>
                    </a:cubicBezTo>
                    <a:cubicBezTo>
                      <a:pt x="7" y="54"/>
                      <a:pt x="20" y="67"/>
                      <a:pt x="37" y="67"/>
                    </a:cubicBezTo>
                    <a:cubicBezTo>
                      <a:pt x="53" y="67"/>
                      <a:pt x="67" y="54"/>
                      <a:pt x="67" y="37"/>
                    </a:cubicBezTo>
                    <a:cubicBezTo>
                      <a:pt x="67" y="21"/>
                      <a:pt x="53" y="7"/>
                      <a:pt x="3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0" name="Freeform 992">
                <a:extLst>
                  <a:ext uri="{FF2B5EF4-FFF2-40B4-BE49-F238E27FC236}">
                    <a16:creationId xmlns:a16="http://schemas.microsoft.com/office/drawing/2014/main" id="{D4792E37-5F33-4B2E-88DD-16AD622FA3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52004" y="3864649"/>
                <a:ext cx="193482" cy="194746"/>
              </a:xfrm>
              <a:custGeom>
                <a:avLst/>
                <a:gdLst>
                  <a:gd name="T0" fmla="*/ 54 w 107"/>
                  <a:gd name="T1" fmla="*/ 107 h 107"/>
                  <a:gd name="T2" fmla="*/ 0 w 107"/>
                  <a:gd name="T3" fmla="*/ 53 h 107"/>
                  <a:gd name="T4" fmla="*/ 54 w 107"/>
                  <a:gd name="T5" fmla="*/ 0 h 107"/>
                  <a:gd name="T6" fmla="*/ 107 w 107"/>
                  <a:gd name="T7" fmla="*/ 53 h 107"/>
                  <a:gd name="T8" fmla="*/ 54 w 107"/>
                  <a:gd name="T9" fmla="*/ 107 h 107"/>
                  <a:gd name="T10" fmla="*/ 54 w 107"/>
                  <a:gd name="T11" fmla="*/ 6 h 107"/>
                  <a:gd name="T12" fmla="*/ 7 w 107"/>
                  <a:gd name="T13" fmla="*/ 53 h 107"/>
                  <a:gd name="T14" fmla="*/ 54 w 107"/>
                  <a:gd name="T15" fmla="*/ 100 h 107"/>
                  <a:gd name="T16" fmla="*/ 101 w 107"/>
                  <a:gd name="T17" fmla="*/ 53 h 107"/>
                  <a:gd name="T18" fmla="*/ 54 w 107"/>
                  <a:gd name="T19" fmla="*/ 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107">
                    <a:moveTo>
                      <a:pt x="54" y="107"/>
                    </a:moveTo>
                    <a:cubicBezTo>
                      <a:pt x="24" y="107"/>
                      <a:pt x="0" y="83"/>
                      <a:pt x="0" y="53"/>
                    </a:cubicBezTo>
                    <a:cubicBezTo>
                      <a:pt x="0" y="24"/>
                      <a:pt x="24" y="0"/>
                      <a:pt x="54" y="0"/>
                    </a:cubicBezTo>
                    <a:cubicBezTo>
                      <a:pt x="83" y="0"/>
                      <a:pt x="107" y="24"/>
                      <a:pt x="107" y="53"/>
                    </a:cubicBezTo>
                    <a:cubicBezTo>
                      <a:pt x="107" y="83"/>
                      <a:pt x="83" y="107"/>
                      <a:pt x="54" y="107"/>
                    </a:cubicBezTo>
                    <a:close/>
                    <a:moveTo>
                      <a:pt x="54" y="6"/>
                    </a:moveTo>
                    <a:cubicBezTo>
                      <a:pt x="28" y="6"/>
                      <a:pt x="7" y="27"/>
                      <a:pt x="7" y="53"/>
                    </a:cubicBezTo>
                    <a:cubicBezTo>
                      <a:pt x="7" y="79"/>
                      <a:pt x="28" y="100"/>
                      <a:pt x="54" y="100"/>
                    </a:cubicBezTo>
                    <a:cubicBezTo>
                      <a:pt x="80" y="100"/>
                      <a:pt x="101" y="79"/>
                      <a:pt x="101" y="53"/>
                    </a:cubicBezTo>
                    <a:cubicBezTo>
                      <a:pt x="101" y="27"/>
                      <a:pt x="80" y="6"/>
                      <a:pt x="5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1" name="Freeform 993">
                <a:extLst>
                  <a:ext uri="{FF2B5EF4-FFF2-40B4-BE49-F238E27FC236}">
                    <a16:creationId xmlns:a16="http://schemas.microsoft.com/office/drawing/2014/main" id="{92CDEDF7-A8BE-460D-A052-490E7B5FD1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82354" y="3893734"/>
                <a:ext cx="135311" cy="134046"/>
              </a:xfrm>
              <a:custGeom>
                <a:avLst/>
                <a:gdLst>
                  <a:gd name="T0" fmla="*/ 37 w 74"/>
                  <a:gd name="T1" fmla="*/ 74 h 74"/>
                  <a:gd name="T2" fmla="*/ 0 w 74"/>
                  <a:gd name="T3" fmla="*/ 37 h 74"/>
                  <a:gd name="T4" fmla="*/ 37 w 74"/>
                  <a:gd name="T5" fmla="*/ 0 h 74"/>
                  <a:gd name="T6" fmla="*/ 74 w 74"/>
                  <a:gd name="T7" fmla="*/ 37 h 74"/>
                  <a:gd name="T8" fmla="*/ 37 w 74"/>
                  <a:gd name="T9" fmla="*/ 74 h 74"/>
                  <a:gd name="T10" fmla="*/ 37 w 74"/>
                  <a:gd name="T11" fmla="*/ 7 h 74"/>
                  <a:gd name="T12" fmla="*/ 7 w 74"/>
                  <a:gd name="T13" fmla="*/ 37 h 74"/>
                  <a:gd name="T14" fmla="*/ 37 w 74"/>
                  <a:gd name="T15" fmla="*/ 67 h 74"/>
                  <a:gd name="T16" fmla="*/ 67 w 74"/>
                  <a:gd name="T17" fmla="*/ 37 h 74"/>
                  <a:gd name="T18" fmla="*/ 37 w 74"/>
                  <a:gd name="T19" fmla="*/ 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74">
                    <a:moveTo>
                      <a:pt x="37" y="74"/>
                    </a:moveTo>
                    <a:cubicBezTo>
                      <a:pt x="16" y="74"/>
                      <a:pt x="0" y="58"/>
                      <a:pt x="0" y="37"/>
                    </a:cubicBezTo>
                    <a:cubicBezTo>
                      <a:pt x="0" y="17"/>
                      <a:pt x="16" y="0"/>
                      <a:pt x="37" y="0"/>
                    </a:cubicBezTo>
                    <a:cubicBezTo>
                      <a:pt x="57" y="0"/>
                      <a:pt x="74" y="17"/>
                      <a:pt x="74" y="37"/>
                    </a:cubicBezTo>
                    <a:cubicBezTo>
                      <a:pt x="74" y="58"/>
                      <a:pt x="57" y="74"/>
                      <a:pt x="37" y="74"/>
                    </a:cubicBezTo>
                    <a:close/>
                    <a:moveTo>
                      <a:pt x="37" y="7"/>
                    </a:moveTo>
                    <a:cubicBezTo>
                      <a:pt x="20" y="7"/>
                      <a:pt x="7" y="21"/>
                      <a:pt x="7" y="37"/>
                    </a:cubicBezTo>
                    <a:cubicBezTo>
                      <a:pt x="7" y="54"/>
                      <a:pt x="20" y="67"/>
                      <a:pt x="37" y="67"/>
                    </a:cubicBezTo>
                    <a:cubicBezTo>
                      <a:pt x="53" y="67"/>
                      <a:pt x="67" y="54"/>
                      <a:pt x="67" y="37"/>
                    </a:cubicBezTo>
                    <a:cubicBezTo>
                      <a:pt x="67" y="21"/>
                      <a:pt x="53" y="7"/>
                      <a:pt x="3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2" name="Freeform 994">
                <a:extLst>
                  <a:ext uri="{FF2B5EF4-FFF2-40B4-BE49-F238E27FC236}">
                    <a16:creationId xmlns:a16="http://schemas.microsoft.com/office/drawing/2014/main" id="{A12A531F-7608-4E46-8126-79A919B2DC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68639" y="3817859"/>
                <a:ext cx="140369" cy="150486"/>
              </a:xfrm>
              <a:custGeom>
                <a:avLst/>
                <a:gdLst>
                  <a:gd name="T0" fmla="*/ 67 w 77"/>
                  <a:gd name="T1" fmla="*/ 83 h 83"/>
                  <a:gd name="T2" fmla="*/ 4 w 77"/>
                  <a:gd name="T3" fmla="*/ 83 h 83"/>
                  <a:gd name="T4" fmla="*/ 1 w 77"/>
                  <a:gd name="T5" fmla="*/ 81 h 83"/>
                  <a:gd name="T6" fmla="*/ 1 w 77"/>
                  <a:gd name="T7" fmla="*/ 78 h 83"/>
                  <a:gd name="T8" fmla="*/ 38 w 77"/>
                  <a:gd name="T9" fmla="*/ 2 h 83"/>
                  <a:gd name="T10" fmla="*/ 42 w 77"/>
                  <a:gd name="T11" fmla="*/ 0 h 83"/>
                  <a:gd name="T12" fmla="*/ 42 w 77"/>
                  <a:gd name="T13" fmla="*/ 0 h 83"/>
                  <a:gd name="T14" fmla="*/ 45 w 77"/>
                  <a:gd name="T15" fmla="*/ 2 h 83"/>
                  <a:gd name="T16" fmla="*/ 77 w 77"/>
                  <a:gd name="T17" fmla="*/ 67 h 83"/>
                  <a:gd name="T18" fmla="*/ 77 w 77"/>
                  <a:gd name="T19" fmla="*/ 69 h 83"/>
                  <a:gd name="T20" fmla="*/ 75 w 77"/>
                  <a:gd name="T21" fmla="*/ 71 h 83"/>
                  <a:gd name="T22" fmla="*/ 70 w 77"/>
                  <a:gd name="T23" fmla="*/ 79 h 83"/>
                  <a:gd name="T24" fmla="*/ 67 w 77"/>
                  <a:gd name="T25" fmla="*/ 83 h 83"/>
                  <a:gd name="T26" fmla="*/ 9 w 77"/>
                  <a:gd name="T27" fmla="*/ 76 h 83"/>
                  <a:gd name="T28" fmla="*/ 64 w 77"/>
                  <a:gd name="T29" fmla="*/ 76 h 83"/>
                  <a:gd name="T30" fmla="*/ 69 w 77"/>
                  <a:gd name="T31" fmla="*/ 67 h 83"/>
                  <a:gd name="T32" fmla="*/ 42 w 77"/>
                  <a:gd name="T33" fmla="*/ 11 h 83"/>
                  <a:gd name="T34" fmla="*/ 9 w 77"/>
                  <a:gd name="T35" fmla="*/ 7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7" h="83">
                    <a:moveTo>
                      <a:pt x="67" y="83"/>
                    </a:moveTo>
                    <a:cubicBezTo>
                      <a:pt x="4" y="83"/>
                      <a:pt x="4" y="83"/>
                      <a:pt x="4" y="83"/>
                    </a:cubicBezTo>
                    <a:cubicBezTo>
                      <a:pt x="3" y="83"/>
                      <a:pt x="2" y="82"/>
                      <a:pt x="1" y="81"/>
                    </a:cubicBezTo>
                    <a:cubicBezTo>
                      <a:pt x="0" y="80"/>
                      <a:pt x="0" y="79"/>
                      <a:pt x="1" y="78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9" y="1"/>
                      <a:pt x="40" y="0"/>
                      <a:pt x="42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1"/>
                      <a:pt x="45" y="2"/>
                    </a:cubicBezTo>
                    <a:cubicBezTo>
                      <a:pt x="77" y="67"/>
                      <a:pt x="77" y="67"/>
                      <a:pt x="77" y="67"/>
                    </a:cubicBezTo>
                    <a:cubicBezTo>
                      <a:pt x="77" y="67"/>
                      <a:pt x="77" y="68"/>
                      <a:pt x="77" y="69"/>
                    </a:cubicBezTo>
                    <a:cubicBezTo>
                      <a:pt x="77" y="70"/>
                      <a:pt x="76" y="71"/>
                      <a:pt x="75" y="71"/>
                    </a:cubicBezTo>
                    <a:cubicBezTo>
                      <a:pt x="72" y="73"/>
                      <a:pt x="70" y="76"/>
                      <a:pt x="70" y="79"/>
                    </a:cubicBezTo>
                    <a:cubicBezTo>
                      <a:pt x="70" y="81"/>
                      <a:pt x="69" y="83"/>
                      <a:pt x="67" y="83"/>
                    </a:cubicBezTo>
                    <a:close/>
                    <a:moveTo>
                      <a:pt x="9" y="76"/>
                    </a:moveTo>
                    <a:cubicBezTo>
                      <a:pt x="64" y="76"/>
                      <a:pt x="64" y="76"/>
                      <a:pt x="64" y="76"/>
                    </a:cubicBezTo>
                    <a:cubicBezTo>
                      <a:pt x="64" y="72"/>
                      <a:pt x="66" y="69"/>
                      <a:pt x="69" y="67"/>
                    </a:cubicBezTo>
                    <a:cubicBezTo>
                      <a:pt x="42" y="11"/>
                      <a:pt x="42" y="11"/>
                      <a:pt x="42" y="11"/>
                    </a:cubicBezTo>
                    <a:lnTo>
                      <a:pt x="9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3" name="Freeform 995">
                <a:extLst>
                  <a:ext uri="{FF2B5EF4-FFF2-40B4-BE49-F238E27FC236}">
                    <a16:creationId xmlns:a16="http://schemas.microsoft.com/office/drawing/2014/main" id="{518DA6B3-FBCF-435B-9DC0-1EBA51932A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38192" y="3817859"/>
                <a:ext cx="188423" cy="132781"/>
              </a:xfrm>
              <a:custGeom>
                <a:avLst/>
                <a:gdLst>
                  <a:gd name="T0" fmla="*/ 49 w 104"/>
                  <a:gd name="T1" fmla="*/ 73 h 73"/>
                  <a:gd name="T2" fmla="*/ 47 w 104"/>
                  <a:gd name="T3" fmla="*/ 72 h 73"/>
                  <a:gd name="T4" fmla="*/ 37 w 104"/>
                  <a:gd name="T5" fmla="*/ 71 h 73"/>
                  <a:gd name="T6" fmla="*/ 33 w 104"/>
                  <a:gd name="T7" fmla="*/ 70 h 73"/>
                  <a:gd name="T8" fmla="*/ 0 w 104"/>
                  <a:gd name="T9" fmla="*/ 5 h 73"/>
                  <a:gd name="T10" fmla="*/ 1 w 104"/>
                  <a:gd name="T11" fmla="*/ 2 h 73"/>
                  <a:gd name="T12" fmla="*/ 4 w 104"/>
                  <a:gd name="T13" fmla="*/ 0 h 73"/>
                  <a:gd name="T14" fmla="*/ 100 w 104"/>
                  <a:gd name="T15" fmla="*/ 0 h 73"/>
                  <a:gd name="T16" fmla="*/ 103 w 104"/>
                  <a:gd name="T17" fmla="*/ 2 h 73"/>
                  <a:gd name="T18" fmla="*/ 103 w 104"/>
                  <a:gd name="T19" fmla="*/ 6 h 73"/>
                  <a:gd name="T20" fmla="*/ 52 w 104"/>
                  <a:gd name="T21" fmla="*/ 71 h 73"/>
                  <a:gd name="T22" fmla="*/ 49 w 104"/>
                  <a:gd name="T23" fmla="*/ 73 h 73"/>
                  <a:gd name="T24" fmla="*/ 41 w 104"/>
                  <a:gd name="T25" fmla="*/ 63 h 73"/>
                  <a:gd name="T26" fmla="*/ 48 w 104"/>
                  <a:gd name="T27" fmla="*/ 65 h 73"/>
                  <a:gd name="T28" fmla="*/ 93 w 104"/>
                  <a:gd name="T29" fmla="*/ 7 h 73"/>
                  <a:gd name="T30" fmla="*/ 9 w 104"/>
                  <a:gd name="T31" fmla="*/ 7 h 73"/>
                  <a:gd name="T32" fmla="*/ 37 w 104"/>
                  <a:gd name="T33" fmla="*/ 64 h 73"/>
                  <a:gd name="T34" fmla="*/ 41 w 104"/>
                  <a:gd name="T35" fmla="*/ 6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4" h="73">
                    <a:moveTo>
                      <a:pt x="49" y="73"/>
                    </a:moveTo>
                    <a:cubicBezTo>
                      <a:pt x="48" y="73"/>
                      <a:pt x="47" y="73"/>
                      <a:pt x="47" y="72"/>
                    </a:cubicBezTo>
                    <a:cubicBezTo>
                      <a:pt x="44" y="70"/>
                      <a:pt x="40" y="70"/>
                      <a:pt x="37" y="71"/>
                    </a:cubicBezTo>
                    <a:cubicBezTo>
                      <a:pt x="35" y="72"/>
                      <a:pt x="33" y="71"/>
                      <a:pt x="33" y="7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2" y="1"/>
                      <a:pt x="103" y="2"/>
                    </a:cubicBezTo>
                    <a:cubicBezTo>
                      <a:pt x="104" y="4"/>
                      <a:pt x="103" y="5"/>
                      <a:pt x="103" y="6"/>
                    </a:cubicBezTo>
                    <a:cubicBezTo>
                      <a:pt x="52" y="71"/>
                      <a:pt x="52" y="71"/>
                      <a:pt x="52" y="71"/>
                    </a:cubicBezTo>
                    <a:cubicBezTo>
                      <a:pt x="51" y="72"/>
                      <a:pt x="50" y="73"/>
                      <a:pt x="49" y="73"/>
                    </a:cubicBezTo>
                    <a:close/>
                    <a:moveTo>
                      <a:pt x="41" y="63"/>
                    </a:moveTo>
                    <a:cubicBezTo>
                      <a:pt x="44" y="63"/>
                      <a:pt x="46" y="64"/>
                      <a:pt x="48" y="65"/>
                    </a:cubicBezTo>
                    <a:cubicBezTo>
                      <a:pt x="93" y="7"/>
                      <a:pt x="93" y="7"/>
                      <a:pt x="93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37" y="64"/>
                      <a:pt x="37" y="64"/>
                      <a:pt x="37" y="64"/>
                    </a:cubicBezTo>
                    <a:cubicBezTo>
                      <a:pt x="39" y="63"/>
                      <a:pt x="40" y="63"/>
                      <a:pt x="41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4" name="Freeform 996">
                <a:extLst>
                  <a:ext uri="{FF2B5EF4-FFF2-40B4-BE49-F238E27FC236}">
                    <a16:creationId xmlns:a16="http://schemas.microsoft.com/office/drawing/2014/main" id="{18C81C32-EA17-4D14-832B-662E68541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3969" y="3758424"/>
                <a:ext cx="72081" cy="209921"/>
              </a:xfrm>
              <a:custGeom>
                <a:avLst/>
                <a:gdLst>
                  <a:gd name="T0" fmla="*/ 20 w 40"/>
                  <a:gd name="T1" fmla="*/ 116 h 116"/>
                  <a:gd name="T2" fmla="*/ 17 w 40"/>
                  <a:gd name="T3" fmla="*/ 115 h 116"/>
                  <a:gd name="T4" fmla="*/ 0 w 40"/>
                  <a:gd name="T5" fmla="*/ 72 h 116"/>
                  <a:gd name="T6" fmla="*/ 0 w 40"/>
                  <a:gd name="T7" fmla="*/ 3 h 116"/>
                  <a:gd name="T8" fmla="*/ 3 w 40"/>
                  <a:gd name="T9" fmla="*/ 0 h 116"/>
                  <a:gd name="T10" fmla="*/ 26 w 40"/>
                  <a:gd name="T11" fmla="*/ 0 h 116"/>
                  <a:gd name="T12" fmla="*/ 40 w 40"/>
                  <a:gd name="T13" fmla="*/ 14 h 116"/>
                  <a:gd name="T14" fmla="*/ 26 w 40"/>
                  <a:gd name="T15" fmla="*/ 28 h 116"/>
                  <a:gd name="T16" fmla="*/ 24 w 40"/>
                  <a:gd name="T17" fmla="*/ 28 h 116"/>
                  <a:gd name="T18" fmla="*/ 20 w 40"/>
                  <a:gd name="T19" fmla="*/ 24 h 116"/>
                  <a:gd name="T20" fmla="*/ 24 w 40"/>
                  <a:gd name="T21" fmla="*/ 21 h 116"/>
                  <a:gd name="T22" fmla="*/ 26 w 40"/>
                  <a:gd name="T23" fmla="*/ 21 h 116"/>
                  <a:gd name="T24" fmla="*/ 33 w 40"/>
                  <a:gd name="T25" fmla="*/ 14 h 116"/>
                  <a:gd name="T26" fmla="*/ 26 w 40"/>
                  <a:gd name="T27" fmla="*/ 7 h 116"/>
                  <a:gd name="T28" fmla="*/ 6 w 40"/>
                  <a:gd name="T29" fmla="*/ 7 h 116"/>
                  <a:gd name="T30" fmla="*/ 6 w 40"/>
                  <a:gd name="T31" fmla="*/ 72 h 116"/>
                  <a:gd name="T32" fmla="*/ 22 w 40"/>
                  <a:gd name="T33" fmla="*/ 110 h 116"/>
                  <a:gd name="T34" fmla="*/ 22 w 40"/>
                  <a:gd name="T35" fmla="*/ 115 h 116"/>
                  <a:gd name="T36" fmla="*/ 20 w 40"/>
                  <a:gd name="T3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0" h="116">
                    <a:moveTo>
                      <a:pt x="20" y="116"/>
                    </a:moveTo>
                    <a:cubicBezTo>
                      <a:pt x="19" y="116"/>
                      <a:pt x="18" y="115"/>
                      <a:pt x="17" y="115"/>
                    </a:cubicBezTo>
                    <a:cubicBezTo>
                      <a:pt x="6" y="103"/>
                      <a:pt x="0" y="88"/>
                      <a:pt x="0" y="7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34" y="0"/>
                      <a:pt x="40" y="6"/>
                      <a:pt x="40" y="14"/>
                    </a:cubicBezTo>
                    <a:cubicBezTo>
                      <a:pt x="40" y="21"/>
                      <a:pt x="34" y="28"/>
                      <a:pt x="26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2" y="28"/>
                      <a:pt x="20" y="26"/>
                      <a:pt x="20" y="24"/>
                    </a:cubicBezTo>
                    <a:cubicBezTo>
                      <a:pt x="20" y="22"/>
                      <a:pt x="22" y="21"/>
                      <a:pt x="24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30" y="21"/>
                      <a:pt x="33" y="18"/>
                      <a:pt x="33" y="14"/>
                    </a:cubicBezTo>
                    <a:cubicBezTo>
                      <a:pt x="33" y="10"/>
                      <a:pt x="30" y="7"/>
                      <a:pt x="2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6" y="86"/>
                      <a:pt x="12" y="100"/>
                      <a:pt x="22" y="110"/>
                    </a:cubicBezTo>
                    <a:cubicBezTo>
                      <a:pt x="23" y="111"/>
                      <a:pt x="23" y="113"/>
                      <a:pt x="22" y="115"/>
                    </a:cubicBezTo>
                    <a:cubicBezTo>
                      <a:pt x="21" y="115"/>
                      <a:pt x="21" y="116"/>
                      <a:pt x="20" y="1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5" name="Freeform 997">
                <a:extLst>
                  <a:ext uri="{FF2B5EF4-FFF2-40B4-BE49-F238E27FC236}">
                    <a16:creationId xmlns:a16="http://schemas.microsoft.com/office/drawing/2014/main" id="{8B5C7556-F2FC-49BE-8D39-2D4E17C9FD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92666" y="3734397"/>
                <a:ext cx="96108" cy="58171"/>
              </a:xfrm>
              <a:custGeom>
                <a:avLst/>
                <a:gdLst>
                  <a:gd name="T0" fmla="*/ 41 w 53"/>
                  <a:gd name="T1" fmla="*/ 32 h 32"/>
                  <a:gd name="T2" fmla="*/ 20 w 53"/>
                  <a:gd name="T3" fmla="*/ 32 h 32"/>
                  <a:gd name="T4" fmla="*/ 0 w 53"/>
                  <a:gd name="T5" fmla="*/ 12 h 32"/>
                  <a:gd name="T6" fmla="*/ 12 w 53"/>
                  <a:gd name="T7" fmla="*/ 0 h 32"/>
                  <a:gd name="T8" fmla="*/ 18 w 53"/>
                  <a:gd name="T9" fmla="*/ 0 h 32"/>
                  <a:gd name="T10" fmla="*/ 31 w 53"/>
                  <a:gd name="T11" fmla="*/ 6 h 32"/>
                  <a:gd name="T12" fmla="*/ 39 w 53"/>
                  <a:gd name="T13" fmla="*/ 9 h 32"/>
                  <a:gd name="T14" fmla="*/ 41 w 53"/>
                  <a:gd name="T15" fmla="*/ 9 h 32"/>
                  <a:gd name="T16" fmla="*/ 53 w 53"/>
                  <a:gd name="T17" fmla="*/ 21 h 32"/>
                  <a:gd name="T18" fmla="*/ 41 w 53"/>
                  <a:gd name="T19" fmla="*/ 32 h 32"/>
                  <a:gd name="T20" fmla="*/ 12 w 53"/>
                  <a:gd name="T21" fmla="*/ 7 h 32"/>
                  <a:gd name="T22" fmla="*/ 7 w 53"/>
                  <a:gd name="T23" fmla="*/ 12 h 32"/>
                  <a:gd name="T24" fmla="*/ 20 w 53"/>
                  <a:gd name="T25" fmla="*/ 25 h 32"/>
                  <a:gd name="T26" fmla="*/ 41 w 53"/>
                  <a:gd name="T27" fmla="*/ 25 h 32"/>
                  <a:gd name="T28" fmla="*/ 46 w 53"/>
                  <a:gd name="T29" fmla="*/ 21 h 32"/>
                  <a:gd name="T30" fmla="*/ 41 w 53"/>
                  <a:gd name="T31" fmla="*/ 16 h 32"/>
                  <a:gd name="T32" fmla="*/ 39 w 53"/>
                  <a:gd name="T33" fmla="*/ 16 h 32"/>
                  <a:gd name="T34" fmla="*/ 26 w 53"/>
                  <a:gd name="T35" fmla="*/ 10 h 32"/>
                  <a:gd name="T36" fmla="*/ 18 w 53"/>
                  <a:gd name="T37" fmla="*/ 7 h 32"/>
                  <a:gd name="T38" fmla="*/ 12 w 53"/>
                  <a:gd name="T39" fmla="*/ 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3" h="32">
                    <a:moveTo>
                      <a:pt x="41" y="32"/>
                    </a:moveTo>
                    <a:cubicBezTo>
                      <a:pt x="20" y="32"/>
                      <a:pt x="20" y="32"/>
                      <a:pt x="20" y="32"/>
                    </a:cubicBezTo>
                    <a:cubicBezTo>
                      <a:pt x="9" y="32"/>
                      <a:pt x="0" y="23"/>
                      <a:pt x="0" y="12"/>
                    </a:cubicBezTo>
                    <a:cubicBezTo>
                      <a:pt x="0" y="6"/>
                      <a:pt x="5" y="0"/>
                      <a:pt x="12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3" y="0"/>
                      <a:pt x="28" y="2"/>
                      <a:pt x="31" y="6"/>
                    </a:cubicBezTo>
                    <a:cubicBezTo>
                      <a:pt x="33" y="8"/>
                      <a:pt x="36" y="9"/>
                      <a:pt x="39" y="9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8" y="9"/>
                      <a:pt x="53" y="14"/>
                      <a:pt x="53" y="21"/>
                    </a:cubicBezTo>
                    <a:cubicBezTo>
                      <a:pt x="53" y="27"/>
                      <a:pt x="48" y="32"/>
                      <a:pt x="41" y="32"/>
                    </a:cubicBezTo>
                    <a:close/>
                    <a:moveTo>
                      <a:pt x="12" y="7"/>
                    </a:moveTo>
                    <a:cubicBezTo>
                      <a:pt x="9" y="7"/>
                      <a:pt x="7" y="9"/>
                      <a:pt x="7" y="12"/>
                    </a:cubicBezTo>
                    <a:cubicBezTo>
                      <a:pt x="7" y="19"/>
                      <a:pt x="13" y="25"/>
                      <a:pt x="20" y="25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4" y="25"/>
                      <a:pt x="46" y="23"/>
                      <a:pt x="46" y="21"/>
                    </a:cubicBezTo>
                    <a:cubicBezTo>
                      <a:pt x="46" y="18"/>
                      <a:pt x="44" y="16"/>
                      <a:pt x="41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4" y="16"/>
                      <a:pt x="29" y="14"/>
                      <a:pt x="26" y="10"/>
                    </a:cubicBezTo>
                    <a:cubicBezTo>
                      <a:pt x="24" y="8"/>
                      <a:pt x="21" y="7"/>
                      <a:pt x="18" y="7"/>
                    </a:cubicBezTo>
                    <a:lnTo>
                      <a:pt x="1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6" name="Freeform 998">
                <a:extLst>
                  <a:ext uri="{FF2B5EF4-FFF2-40B4-BE49-F238E27FC236}">
                    <a16:creationId xmlns:a16="http://schemas.microsoft.com/office/drawing/2014/main" id="{4B3C5E42-9957-4212-AB29-D7DDE9B84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8192" y="3779922"/>
                <a:ext cx="12646" cy="50583"/>
              </a:xfrm>
              <a:custGeom>
                <a:avLst/>
                <a:gdLst>
                  <a:gd name="T0" fmla="*/ 4 w 7"/>
                  <a:gd name="T1" fmla="*/ 28 h 28"/>
                  <a:gd name="T2" fmla="*/ 0 w 7"/>
                  <a:gd name="T3" fmla="*/ 25 h 28"/>
                  <a:gd name="T4" fmla="*/ 0 w 7"/>
                  <a:gd name="T5" fmla="*/ 4 h 28"/>
                  <a:gd name="T6" fmla="*/ 4 w 7"/>
                  <a:gd name="T7" fmla="*/ 0 h 28"/>
                  <a:gd name="T8" fmla="*/ 7 w 7"/>
                  <a:gd name="T9" fmla="*/ 4 h 28"/>
                  <a:gd name="T10" fmla="*/ 7 w 7"/>
                  <a:gd name="T11" fmla="*/ 25 h 28"/>
                  <a:gd name="T12" fmla="*/ 4 w 7"/>
                  <a:gd name="T13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8">
                    <a:moveTo>
                      <a:pt x="4" y="28"/>
                    </a:moveTo>
                    <a:cubicBezTo>
                      <a:pt x="2" y="28"/>
                      <a:pt x="0" y="27"/>
                      <a:pt x="0" y="2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2"/>
                      <a:pt x="7" y="4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7"/>
                      <a:pt x="5" y="28"/>
                      <a:pt x="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7" name="Freeform 999">
                <a:extLst>
                  <a:ext uri="{FF2B5EF4-FFF2-40B4-BE49-F238E27FC236}">
                    <a16:creationId xmlns:a16="http://schemas.microsoft.com/office/drawing/2014/main" id="{7538CE7F-9F48-4EE8-ABC1-852337DAB2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83717" y="3930407"/>
                <a:ext cx="56906" cy="59436"/>
              </a:xfrm>
              <a:custGeom>
                <a:avLst/>
                <a:gdLst>
                  <a:gd name="T0" fmla="*/ 16 w 32"/>
                  <a:gd name="T1" fmla="*/ 33 h 33"/>
                  <a:gd name="T2" fmla="*/ 0 w 32"/>
                  <a:gd name="T3" fmla="*/ 17 h 33"/>
                  <a:gd name="T4" fmla="*/ 9 w 32"/>
                  <a:gd name="T5" fmla="*/ 3 h 33"/>
                  <a:gd name="T6" fmla="*/ 26 w 32"/>
                  <a:gd name="T7" fmla="*/ 5 h 33"/>
                  <a:gd name="T8" fmla="*/ 32 w 32"/>
                  <a:gd name="T9" fmla="*/ 17 h 33"/>
                  <a:gd name="T10" fmla="*/ 16 w 32"/>
                  <a:gd name="T11" fmla="*/ 33 h 33"/>
                  <a:gd name="T12" fmla="*/ 16 w 32"/>
                  <a:gd name="T13" fmla="*/ 8 h 33"/>
                  <a:gd name="T14" fmla="*/ 12 w 32"/>
                  <a:gd name="T15" fmla="*/ 9 h 33"/>
                  <a:gd name="T16" fmla="*/ 7 w 32"/>
                  <a:gd name="T17" fmla="*/ 17 h 33"/>
                  <a:gd name="T18" fmla="*/ 16 w 32"/>
                  <a:gd name="T19" fmla="*/ 26 h 33"/>
                  <a:gd name="T20" fmla="*/ 25 w 32"/>
                  <a:gd name="T21" fmla="*/ 17 h 33"/>
                  <a:gd name="T22" fmla="*/ 22 w 32"/>
                  <a:gd name="T23" fmla="*/ 10 h 33"/>
                  <a:gd name="T24" fmla="*/ 16 w 32"/>
                  <a:gd name="T25" fmla="*/ 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3">
                    <a:moveTo>
                      <a:pt x="16" y="33"/>
                    </a:moveTo>
                    <a:cubicBezTo>
                      <a:pt x="7" y="33"/>
                      <a:pt x="0" y="26"/>
                      <a:pt x="0" y="17"/>
                    </a:cubicBezTo>
                    <a:cubicBezTo>
                      <a:pt x="0" y="11"/>
                      <a:pt x="4" y="6"/>
                      <a:pt x="9" y="3"/>
                    </a:cubicBezTo>
                    <a:cubicBezTo>
                      <a:pt x="15" y="0"/>
                      <a:pt x="21" y="1"/>
                      <a:pt x="26" y="5"/>
                    </a:cubicBezTo>
                    <a:cubicBezTo>
                      <a:pt x="30" y="8"/>
                      <a:pt x="32" y="12"/>
                      <a:pt x="32" y="17"/>
                    </a:cubicBezTo>
                    <a:cubicBezTo>
                      <a:pt x="32" y="26"/>
                      <a:pt x="25" y="33"/>
                      <a:pt x="16" y="33"/>
                    </a:cubicBezTo>
                    <a:close/>
                    <a:moveTo>
                      <a:pt x="16" y="8"/>
                    </a:moveTo>
                    <a:cubicBezTo>
                      <a:pt x="15" y="8"/>
                      <a:pt x="13" y="8"/>
                      <a:pt x="12" y="9"/>
                    </a:cubicBezTo>
                    <a:cubicBezTo>
                      <a:pt x="9" y="11"/>
                      <a:pt x="7" y="14"/>
                      <a:pt x="7" y="17"/>
                    </a:cubicBezTo>
                    <a:cubicBezTo>
                      <a:pt x="7" y="22"/>
                      <a:pt x="11" y="26"/>
                      <a:pt x="16" y="26"/>
                    </a:cubicBezTo>
                    <a:cubicBezTo>
                      <a:pt x="21" y="26"/>
                      <a:pt x="25" y="22"/>
                      <a:pt x="25" y="17"/>
                    </a:cubicBezTo>
                    <a:cubicBezTo>
                      <a:pt x="25" y="14"/>
                      <a:pt x="24" y="12"/>
                      <a:pt x="22" y="10"/>
                    </a:cubicBezTo>
                    <a:cubicBezTo>
                      <a:pt x="20" y="9"/>
                      <a:pt x="18" y="8"/>
                      <a:pt x="1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</p:grpSp>
      </p:grpSp>
      <p:sp>
        <p:nvSpPr>
          <p:cNvPr id="36" name="Freeform 5">
            <a:extLst>
              <a:ext uri="{FF2B5EF4-FFF2-40B4-BE49-F238E27FC236}">
                <a16:creationId xmlns:a16="http://schemas.microsoft.com/office/drawing/2014/main" id="{2CEBF4EE-52A8-47BB-B9E3-095926A41368}"/>
              </a:ext>
            </a:extLst>
          </p:cNvPr>
          <p:cNvSpPr>
            <a:spLocks/>
          </p:cNvSpPr>
          <p:nvPr/>
        </p:nvSpPr>
        <p:spPr bwMode="auto">
          <a:xfrm>
            <a:off x="1448833" y="3817969"/>
            <a:ext cx="3173581" cy="786804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4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5C1C1FA7-ED43-4A87-81E0-DDFB41779F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88976" cy="6858014"/>
          </a:xfrm>
          <a:prstGeom prst="rect">
            <a:avLst/>
          </a:prstGeom>
        </p:spPr>
      </p:pic>
      <p:grpSp>
        <p:nvGrpSpPr>
          <p:cNvPr id="24" name="Agrupar 23">
            <a:extLst>
              <a:ext uri="{FF2B5EF4-FFF2-40B4-BE49-F238E27FC236}">
                <a16:creationId xmlns:a16="http://schemas.microsoft.com/office/drawing/2014/main" id="{344CC006-43A0-4C16-9A70-7F7D455598C6}"/>
              </a:ext>
            </a:extLst>
          </p:cNvPr>
          <p:cNvGrpSpPr/>
          <p:nvPr/>
        </p:nvGrpSpPr>
        <p:grpSpPr>
          <a:xfrm>
            <a:off x="983075" y="2688949"/>
            <a:ext cx="868338" cy="586046"/>
            <a:chOff x="7460872" y="4981402"/>
            <a:chExt cx="643478" cy="434287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F8071B8D-8CE4-41C2-A750-67D4A51AA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0872" y="5256156"/>
              <a:ext cx="643478" cy="159533"/>
            </a:xfrm>
            <a:custGeom>
              <a:avLst/>
              <a:gdLst>
                <a:gd name="T0" fmla="*/ 233 w 1469"/>
                <a:gd name="T1" fmla="*/ 157 h 362"/>
                <a:gd name="T2" fmla="*/ 607 w 1469"/>
                <a:gd name="T3" fmla="*/ 266 h 362"/>
                <a:gd name="T4" fmla="*/ 1233 w 1469"/>
                <a:gd name="T5" fmla="*/ 159 h 362"/>
                <a:gd name="T6" fmla="*/ 1388 w 1469"/>
                <a:gd name="T7" fmla="*/ 63 h 362"/>
                <a:gd name="T8" fmla="*/ 1457 w 1469"/>
                <a:gd name="T9" fmla="*/ 4 h 362"/>
                <a:gd name="T10" fmla="*/ 1459 w 1469"/>
                <a:gd name="T11" fmla="*/ 3 h 362"/>
                <a:gd name="T12" fmla="*/ 1466 w 1469"/>
                <a:gd name="T13" fmla="*/ 4 h 362"/>
                <a:gd name="T14" fmla="*/ 1466 w 1469"/>
                <a:gd name="T15" fmla="*/ 7 h 362"/>
                <a:gd name="T16" fmla="*/ 1442 w 1469"/>
                <a:gd name="T17" fmla="*/ 80 h 362"/>
                <a:gd name="T18" fmla="*/ 1276 w 1469"/>
                <a:gd name="T19" fmla="*/ 207 h 362"/>
                <a:gd name="T20" fmla="*/ 980 w 1469"/>
                <a:gd name="T21" fmla="*/ 331 h 362"/>
                <a:gd name="T22" fmla="*/ 860 w 1469"/>
                <a:gd name="T23" fmla="*/ 353 h 362"/>
                <a:gd name="T24" fmla="*/ 786 w 1469"/>
                <a:gd name="T25" fmla="*/ 359 h 362"/>
                <a:gd name="T26" fmla="*/ 694 w 1469"/>
                <a:gd name="T27" fmla="*/ 360 h 362"/>
                <a:gd name="T28" fmla="*/ 593 w 1469"/>
                <a:gd name="T29" fmla="*/ 351 h 362"/>
                <a:gd name="T30" fmla="*/ 402 w 1469"/>
                <a:gd name="T31" fmla="*/ 305 h 362"/>
                <a:gd name="T32" fmla="*/ 87 w 1469"/>
                <a:gd name="T33" fmla="*/ 132 h 362"/>
                <a:gd name="T34" fmla="*/ 28 w 1469"/>
                <a:gd name="T35" fmla="*/ 81 h 362"/>
                <a:gd name="T36" fmla="*/ 5 w 1469"/>
                <a:gd name="T37" fmla="*/ 4 h 362"/>
                <a:gd name="T38" fmla="*/ 7 w 1469"/>
                <a:gd name="T39" fmla="*/ 0 h 362"/>
                <a:gd name="T40" fmla="*/ 12 w 1469"/>
                <a:gd name="T41" fmla="*/ 3 h 362"/>
                <a:gd name="T42" fmla="*/ 54 w 1469"/>
                <a:gd name="T43" fmla="*/ 40 h 362"/>
                <a:gd name="T44" fmla="*/ 137 w 1469"/>
                <a:gd name="T45" fmla="*/ 102 h 362"/>
                <a:gd name="T46" fmla="*/ 233 w 1469"/>
                <a:gd name="T47" fmla="*/ 157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69" h="362">
                  <a:moveTo>
                    <a:pt x="233" y="157"/>
                  </a:moveTo>
                  <a:cubicBezTo>
                    <a:pt x="351" y="216"/>
                    <a:pt x="476" y="252"/>
                    <a:pt x="607" y="266"/>
                  </a:cubicBezTo>
                  <a:cubicBezTo>
                    <a:pt x="825" y="289"/>
                    <a:pt x="1035" y="256"/>
                    <a:pt x="1233" y="159"/>
                  </a:cubicBezTo>
                  <a:cubicBezTo>
                    <a:pt x="1233" y="159"/>
                    <a:pt x="1323" y="113"/>
                    <a:pt x="1388" y="63"/>
                  </a:cubicBezTo>
                  <a:cubicBezTo>
                    <a:pt x="1411" y="43"/>
                    <a:pt x="1434" y="23"/>
                    <a:pt x="1457" y="4"/>
                  </a:cubicBezTo>
                  <a:cubicBezTo>
                    <a:pt x="1458" y="3"/>
                    <a:pt x="1458" y="3"/>
                    <a:pt x="1459" y="3"/>
                  </a:cubicBezTo>
                  <a:cubicBezTo>
                    <a:pt x="1461" y="1"/>
                    <a:pt x="1464" y="2"/>
                    <a:pt x="1466" y="4"/>
                  </a:cubicBezTo>
                  <a:cubicBezTo>
                    <a:pt x="1466" y="5"/>
                    <a:pt x="1466" y="6"/>
                    <a:pt x="1466" y="7"/>
                  </a:cubicBezTo>
                  <a:cubicBezTo>
                    <a:pt x="1469" y="35"/>
                    <a:pt x="1464" y="60"/>
                    <a:pt x="1442" y="80"/>
                  </a:cubicBezTo>
                  <a:cubicBezTo>
                    <a:pt x="1392" y="129"/>
                    <a:pt x="1336" y="170"/>
                    <a:pt x="1276" y="207"/>
                  </a:cubicBezTo>
                  <a:cubicBezTo>
                    <a:pt x="1184" y="263"/>
                    <a:pt x="1085" y="305"/>
                    <a:pt x="980" y="331"/>
                  </a:cubicBezTo>
                  <a:cubicBezTo>
                    <a:pt x="941" y="341"/>
                    <a:pt x="901" y="349"/>
                    <a:pt x="860" y="353"/>
                  </a:cubicBezTo>
                  <a:cubicBezTo>
                    <a:pt x="835" y="356"/>
                    <a:pt x="811" y="358"/>
                    <a:pt x="786" y="359"/>
                  </a:cubicBezTo>
                  <a:cubicBezTo>
                    <a:pt x="755" y="361"/>
                    <a:pt x="725" y="362"/>
                    <a:pt x="694" y="360"/>
                  </a:cubicBezTo>
                  <a:cubicBezTo>
                    <a:pt x="660" y="359"/>
                    <a:pt x="626" y="355"/>
                    <a:pt x="593" y="351"/>
                  </a:cubicBezTo>
                  <a:cubicBezTo>
                    <a:pt x="527" y="342"/>
                    <a:pt x="464" y="326"/>
                    <a:pt x="402" y="305"/>
                  </a:cubicBezTo>
                  <a:cubicBezTo>
                    <a:pt x="287" y="265"/>
                    <a:pt x="182" y="208"/>
                    <a:pt x="87" y="132"/>
                  </a:cubicBezTo>
                  <a:cubicBezTo>
                    <a:pt x="67" y="116"/>
                    <a:pt x="48" y="98"/>
                    <a:pt x="28" y="81"/>
                  </a:cubicBezTo>
                  <a:cubicBezTo>
                    <a:pt x="5" y="60"/>
                    <a:pt x="0" y="33"/>
                    <a:pt x="5" y="4"/>
                  </a:cubicBezTo>
                  <a:cubicBezTo>
                    <a:pt x="5" y="3"/>
                    <a:pt x="6" y="1"/>
                    <a:pt x="7" y="0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26" y="15"/>
                    <a:pt x="39" y="29"/>
                    <a:pt x="54" y="40"/>
                  </a:cubicBezTo>
                  <a:cubicBezTo>
                    <a:pt x="81" y="62"/>
                    <a:pt x="109" y="82"/>
                    <a:pt x="137" y="102"/>
                  </a:cubicBezTo>
                  <a:cubicBezTo>
                    <a:pt x="164" y="120"/>
                    <a:pt x="213" y="149"/>
                    <a:pt x="233" y="157"/>
                  </a:cubicBezTo>
                </a:path>
              </a:pathLst>
            </a:custGeom>
            <a:solidFill>
              <a:srgbClr val="FF70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grpSp>
          <p:nvGrpSpPr>
            <p:cNvPr id="59" name="Agrupar 58">
              <a:extLst>
                <a:ext uri="{FF2B5EF4-FFF2-40B4-BE49-F238E27FC236}">
                  <a16:creationId xmlns:a16="http://schemas.microsoft.com/office/drawing/2014/main" id="{CFF3A564-417C-49F0-84B8-01F83B237307}"/>
                </a:ext>
              </a:extLst>
            </p:cNvPr>
            <p:cNvGrpSpPr/>
            <p:nvPr/>
          </p:nvGrpSpPr>
          <p:grpSpPr>
            <a:xfrm>
              <a:off x="7579645" y="4981402"/>
              <a:ext cx="405932" cy="405932"/>
              <a:chOff x="11004132" y="5738765"/>
              <a:chExt cx="405932" cy="405932"/>
            </a:xfrm>
            <a:solidFill>
              <a:srgbClr val="FF7020"/>
            </a:solidFill>
          </p:grpSpPr>
          <p:sp>
            <p:nvSpPr>
              <p:cNvPr id="60" name="Freeform 1504">
                <a:extLst>
                  <a:ext uri="{FF2B5EF4-FFF2-40B4-BE49-F238E27FC236}">
                    <a16:creationId xmlns:a16="http://schemas.microsoft.com/office/drawing/2014/main" id="{2FFC87AB-2499-45C1-A638-5E3B6A761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4132" y="5738765"/>
                <a:ext cx="405932" cy="405932"/>
              </a:xfrm>
              <a:custGeom>
                <a:avLst/>
                <a:gdLst>
                  <a:gd name="T0" fmla="*/ 191 w 224"/>
                  <a:gd name="T1" fmla="*/ 33 h 224"/>
                  <a:gd name="T2" fmla="*/ 112 w 224"/>
                  <a:gd name="T3" fmla="*/ 0 h 224"/>
                  <a:gd name="T4" fmla="*/ 49 w 224"/>
                  <a:gd name="T5" fmla="*/ 20 h 224"/>
                  <a:gd name="T6" fmla="*/ 47 w 224"/>
                  <a:gd name="T7" fmla="*/ 26 h 224"/>
                  <a:gd name="T8" fmla="*/ 53 w 224"/>
                  <a:gd name="T9" fmla="*/ 27 h 224"/>
                  <a:gd name="T10" fmla="*/ 112 w 224"/>
                  <a:gd name="T11" fmla="*/ 9 h 224"/>
                  <a:gd name="T12" fmla="*/ 215 w 224"/>
                  <a:gd name="T13" fmla="*/ 112 h 224"/>
                  <a:gd name="T14" fmla="*/ 112 w 224"/>
                  <a:gd name="T15" fmla="*/ 216 h 224"/>
                  <a:gd name="T16" fmla="*/ 9 w 224"/>
                  <a:gd name="T17" fmla="*/ 112 h 224"/>
                  <a:gd name="T18" fmla="*/ 27 w 224"/>
                  <a:gd name="T19" fmla="*/ 54 h 224"/>
                  <a:gd name="T20" fmla="*/ 26 w 224"/>
                  <a:gd name="T21" fmla="*/ 48 h 224"/>
                  <a:gd name="T22" fmla="*/ 19 w 224"/>
                  <a:gd name="T23" fmla="*/ 49 h 224"/>
                  <a:gd name="T24" fmla="*/ 0 w 224"/>
                  <a:gd name="T25" fmla="*/ 112 h 224"/>
                  <a:gd name="T26" fmla="*/ 33 w 224"/>
                  <a:gd name="T27" fmla="*/ 191 h 224"/>
                  <a:gd name="T28" fmla="*/ 112 w 224"/>
                  <a:gd name="T29" fmla="*/ 224 h 224"/>
                  <a:gd name="T30" fmla="*/ 191 w 224"/>
                  <a:gd name="T31" fmla="*/ 191 h 224"/>
                  <a:gd name="T32" fmla="*/ 224 w 224"/>
                  <a:gd name="T33" fmla="*/ 112 h 224"/>
                  <a:gd name="T34" fmla="*/ 191 w 224"/>
                  <a:gd name="T35" fmla="*/ 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24" h="224">
                    <a:moveTo>
                      <a:pt x="191" y="33"/>
                    </a:moveTo>
                    <a:cubicBezTo>
                      <a:pt x="170" y="12"/>
                      <a:pt x="142" y="0"/>
                      <a:pt x="112" y="0"/>
                    </a:cubicBezTo>
                    <a:cubicBezTo>
                      <a:pt x="89" y="0"/>
                      <a:pt x="67" y="7"/>
                      <a:pt x="49" y="20"/>
                    </a:cubicBezTo>
                    <a:cubicBezTo>
                      <a:pt x="47" y="21"/>
                      <a:pt x="46" y="24"/>
                      <a:pt x="47" y="26"/>
                    </a:cubicBezTo>
                    <a:cubicBezTo>
                      <a:pt x="49" y="28"/>
                      <a:pt x="51" y="28"/>
                      <a:pt x="53" y="27"/>
                    </a:cubicBezTo>
                    <a:cubicBezTo>
                      <a:pt x="71" y="15"/>
                      <a:pt x="91" y="9"/>
                      <a:pt x="112" y="9"/>
                    </a:cubicBezTo>
                    <a:cubicBezTo>
                      <a:pt x="169" y="9"/>
                      <a:pt x="215" y="55"/>
                      <a:pt x="215" y="112"/>
                    </a:cubicBezTo>
                    <a:cubicBezTo>
                      <a:pt x="215" y="169"/>
                      <a:pt x="169" y="216"/>
                      <a:pt x="112" y="216"/>
                    </a:cubicBezTo>
                    <a:cubicBezTo>
                      <a:pt x="55" y="216"/>
                      <a:pt x="9" y="169"/>
                      <a:pt x="9" y="112"/>
                    </a:cubicBezTo>
                    <a:cubicBezTo>
                      <a:pt x="9" y="91"/>
                      <a:pt x="15" y="71"/>
                      <a:pt x="27" y="54"/>
                    </a:cubicBezTo>
                    <a:cubicBezTo>
                      <a:pt x="28" y="52"/>
                      <a:pt x="28" y="49"/>
                      <a:pt x="26" y="48"/>
                    </a:cubicBezTo>
                    <a:cubicBezTo>
                      <a:pt x="24" y="46"/>
                      <a:pt x="21" y="47"/>
                      <a:pt x="19" y="49"/>
                    </a:cubicBezTo>
                    <a:cubicBezTo>
                      <a:pt x="7" y="67"/>
                      <a:pt x="0" y="89"/>
                      <a:pt x="0" y="112"/>
                    </a:cubicBezTo>
                    <a:cubicBezTo>
                      <a:pt x="0" y="142"/>
                      <a:pt x="11" y="170"/>
                      <a:pt x="33" y="191"/>
                    </a:cubicBezTo>
                    <a:cubicBezTo>
                      <a:pt x="54" y="213"/>
                      <a:pt x="82" y="224"/>
                      <a:pt x="112" y="224"/>
                    </a:cubicBezTo>
                    <a:cubicBezTo>
                      <a:pt x="142" y="224"/>
                      <a:pt x="170" y="213"/>
                      <a:pt x="191" y="191"/>
                    </a:cubicBezTo>
                    <a:cubicBezTo>
                      <a:pt x="212" y="170"/>
                      <a:pt x="224" y="142"/>
                      <a:pt x="224" y="112"/>
                    </a:cubicBezTo>
                    <a:cubicBezTo>
                      <a:pt x="224" y="82"/>
                      <a:pt x="212" y="54"/>
                      <a:pt x="191" y="3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2" name="Freeform 1505">
                <a:extLst>
                  <a:ext uri="{FF2B5EF4-FFF2-40B4-BE49-F238E27FC236}">
                    <a16:creationId xmlns:a16="http://schemas.microsoft.com/office/drawing/2014/main" id="{1604A77B-5AB8-42C9-A3BA-9EC3B9533A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44599" y="5777967"/>
                <a:ext cx="326263" cy="327528"/>
              </a:xfrm>
              <a:custGeom>
                <a:avLst/>
                <a:gdLst>
                  <a:gd name="T0" fmla="*/ 90 w 180"/>
                  <a:gd name="T1" fmla="*/ 9 h 180"/>
                  <a:gd name="T2" fmla="*/ 164 w 180"/>
                  <a:gd name="T3" fmla="*/ 56 h 180"/>
                  <a:gd name="T4" fmla="*/ 90 w 180"/>
                  <a:gd name="T5" fmla="*/ 49 h 180"/>
                  <a:gd name="T6" fmla="*/ 16 w 180"/>
                  <a:gd name="T7" fmla="*/ 56 h 180"/>
                  <a:gd name="T8" fmla="*/ 90 w 180"/>
                  <a:gd name="T9" fmla="*/ 9 h 180"/>
                  <a:gd name="T10" fmla="*/ 113 w 180"/>
                  <a:gd name="T11" fmla="*/ 168 h 180"/>
                  <a:gd name="T12" fmla="*/ 113 w 180"/>
                  <a:gd name="T13" fmla="*/ 167 h 180"/>
                  <a:gd name="T14" fmla="*/ 170 w 180"/>
                  <a:gd name="T15" fmla="*/ 105 h 180"/>
                  <a:gd name="T16" fmla="*/ 113 w 180"/>
                  <a:gd name="T17" fmla="*/ 168 h 180"/>
                  <a:gd name="T18" fmla="*/ 76 w 180"/>
                  <a:gd name="T19" fmla="*/ 170 h 180"/>
                  <a:gd name="T20" fmla="*/ 76 w 180"/>
                  <a:gd name="T21" fmla="*/ 167 h 180"/>
                  <a:gd name="T22" fmla="*/ 75 w 180"/>
                  <a:gd name="T23" fmla="*/ 157 h 180"/>
                  <a:gd name="T24" fmla="*/ 90 w 180"/>
                  <a:gd name="T25" fmla="*/ 159 h 180"/>
                  <a:gd name="T26" fmla="*/ 105 w 180"/>
                  <a:gd name="T27" fmla="*/ 157 h 180"/>
                  <a:gd name="T28" fmla="*/ 104 w 180"/>
                  <a:gd name="T29" fmla="*/ 167 h 180"/>
                  <a:gd name="T30" fmla="*/ 104 w 180"/>
                  <a:gd name="T31" fmla="*/ 170 h 180"/>
                  <a:gd name="T32" fmla="*/ 90 w 180"/>
                  <a:gd name="T33" fmla="*/ 172 h 180"/>
                  <a:gd name="T34" fmla="*/ 76 w 180"/>
                  <a:gd name="T35" fmla="*/ 170 h 180"/>
                  <a:gd name="T36" fmla="*/ 10 w 180"/>
                  <a:gd name="T37" fmla="*/ 105 h 180"/>
                  <a:gd name="T38" fmla="*/ 67 w 180"/>
                  <a:gd name="T39" fmla="*/ 167 h 180"/>
                  <a:gd name="T40" fmla="*/ 67 w 180"/>
                  <a:gd name="T41" fmla="*/ 168 h 180"/>
                  <a:gd name="T42" fmla="*/ 10 w 180"/>
                  <a:gd name="T43" fmla="*/ 105 h 180"/>
                  <a:gd name="T44" fmla="*/ 22 w 180"/>
                  <a:gd name="T45" fmla="*/ 98 h 180"/>
                  <a:gd name="T46" fmla="*/ 9 w 180"/>
                  <a:gd name="T47" fmla="*/ 96 h 180"/>
                  <a:gd name="T48" fmla="*/ 8 w 180"/>
                  <a:gd name="T49" fmla="*/ 90 h 180"/>
                  <a:gd name="T50" fmla="*/ 12 w 180"/>
                  <a:gd name="T51" fmla="*/ 66 h 180"/>
                  <a:gd name="T52" fmla="*/ 27 w 180"/>
                  <a:gd name="T53" fmla="*/ 63 h 180"/>
                  <a:gd name="T54" fmla="*/ 22 w 180"/>
                  <a:gd name="T55" fmla="*/ 98 h 180"/>
                  <a:gd name="T56" fmla="*/ 142 w 180"/>
                  <a:gd name="T57" fmla="*/ 61 h 180"/>
                  <a:gd name="T58" fmla="*/ 149 w 180"/>
                  <a:gd name="T59" fmla="*/ 101 h 180"/>
                  <a:gd name="T60" fmla="*/ 107 w 180"/>
                  <a:gd name="T61" fmla="*/ 147 h 180"/>
                  <a:gd name="T62" fmla="*/ 73 w 180"/>
                  <a:gd name="T63" fmla="*/ 147 h 180"/>
                  <a:gd name="T64" fmla="*/ 31 w 180"/>
                  <a:gd name="T65" fmla="*/ 101 h 180"/>
                  <a:gd name="T66" fmla="*/ 38 w 180"/>
                  <a:gd name="T67" fmla="*/ 61 h 180"/>
                  <a:gd name="T68" fmla="*/ 90 w 180"/>
                  <a:gd name="T69" fmla="*/ 58 h 180"/>
                  <a:gd name="T70" fmla="*/ 142 w 180"/>
                  <a:gd name="T71" fmla="*/ 61 h 180"/>
                  <a:gd name="T72" fmla="*/ 171 w 180"/>
                  <a:gd name="T73" fmla="*/ 90 h 180"/>
                  <a:gd name="T74" fmla="*/ 171 w 180"/>
                  <a:gd name="T75" fmla="*/ 96 h 180"/>
                  <a:gd name="T76" fmla="*/ 158 w 180"/>
                  <a:gd name="T77" fmla="*/ 98 h 180"/>
                  <a:gd name="T78" fmla="*/ 153 w 180"/>
                  <a:gd name="T79" fmla="*/ 63 h 180"/>
                  <a:gd name="T80" fmla="*/ 168 w 180"/>
                  <a:gd name="T81" fmla="*/ 66 h 180"/>
                  <a:gd name="T82" fmla="*/ 171 w 180"/>
                  <a:gd name="T83" fmla="*/ 90 h 180"/>
                  <a:gd name="T84" fmla="*/ 90 w 180"/>
                  <a:gd name="T85" fmla="*/ 180 h 180"/>
                  <a:gd name="T86" fmla="*/ 180 w 180"/>
                  <a:gd name="T87" fmla="*/ 90 h 180"/>
                  <a:gd name="T88" fmla="*/ 175 w 180"/>
                  <a:gd name="T89" fmla="*/ 61 h 180"/>
                  <a:gd name="T90" fmla="*/ 175 w 180"/>
                  <a:gd name="T91" fmla="*/ 61 h 180"/>
                  <a:gd name="T92" fmla="*/ 90 w 180"/>
                  <a:gd name="T93" fmla="*/ 0 h 180"/>
                  <a:gd name="T94" fmla="*/ 0 w 180"/>
                  <a:gd name="T95" fmla="*/ 90 h 180"/>
                  <a:gd name="T96" fmla="*/ 90 w 180"/>
                  <a:gd name="T97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0" h="180">
                    <a:moveTo>
                      <a:pt x="90" y="9"/>
                    </a:moveTo>
                    <a:cubicBezTo>
                      <a:pt x="123" y="9"/>
                      <a:pt x="151" y="28"/>
                      <a:pt x="164" y="56"/>
                    </a:cubicBezTo>
                    <a:cubicBezTo>
                      <a:pt x="140" y="51"/>
                      <a:pt x="115" y="49"/>
                      <a:pt x="90" y="49"/>
                    </a:cubicBezTo>
                    <a:cubicBezTo>
                      <a:pt x="65" y="49"/>
                      <a:pt x="40" y="51"/>
                      <a:pt x="16" y="56"/>
                    </a:cubicBezTo>
                    <a:cubicBezTo>
                      <a:pt x="29" y="28"/>
                      <a:pt x="57" y="9"/>
                      <a:pt x="90" y="9"/>
                    </a:cubicBezTo>
                    <a:moveTo>
                      <a:pt x="113" y="168"/>
                    </a:moveTo>
                    <a:cubicBezTo>
                      <a:pt x="113" y="168"/>
                      <a:pt x="113" y="168"/>
                      <a:pt x="113" y="167"/>
                    </a:cubicBezTo>
                    <a:cubicBezTo>
                      <a:pt x="113" y="135"/>
                      <a:pt x="138" y="108"/>
                      <a:pt x="170" y="105"/>
                    </a:cubicBezTo>
                    <a:cubicBezTo>
                      <a:pt x="164" y="136"/>
                      <a:pt x="142" y="160"/>
                      <a:pt x="113" y="168"/>
                    </a:cubicBezTo>
                    <a:moveTo>
                      <a:pt x="76" y="170"/>
                    </a:moveTo>
                    <a:cubicBezTo>
                      <a:pt x="76" y="169"/>
                      <a:pt x="76" y="168"/>
                      <a:pt x="76" y="167"/>
                    </a:cubicBezTo>
                    <a:cubicBezTo>
                      <a:pt x="76" y="164"/>
                      <a:pt x="76" y="160"/>
                      <a:pt x="75" y="157"/>
                    </a:cubicBezTo>
                    <a:cubicBezTo>
                      <a:pt x="80" y="158"/>
                      <a:pt x="85" y="159"/>
                      <a:pt x="90" y="159"/>
                    </a:cubicBezTo>
                    <a:cubicBezTo>
                      <a:pt x="95" y="159"/>
                      <a:pt x="100" y="158"/>
                      <a:pt x="105" y="157"/>
                    </a:cubicBezTo>
                    <a:cubicBezTo>
                      <a:pt x="104" y="160"/>
                      <a:pt x="104" y="164"/>
                      <a:pt x="104" y="167"/>
                    </a:cubicBezTo>
                    <a:cubicBezTo>
                      <a:pt x="104" y="168"/>
                      <a:pt x="104" y="169"/>
                      <a:pt x="104" y="170"/>
                    </a:cubicBezTo>
                    <a:cubicBezTo>
                      <a:pt x="100" y="171"/>
                      <a:pt x="95" y="172"/>
                      <a:pt x="90" y="172"/>
                    </a:cubicBezTo>
                    <a:cubicBezTo>
                      <a:pt x="85" y="172"/>
                      <a:pt x="80" y="171"/>
                      <a:pt x="76" y="170"/>
                    </a:cubicBezTo>
                    <a:moveTo>
                      <a:pt x="10" y="105"/>
                    </a:moveTo>
                    <a:cubicBezTo>
                      <a:pt x="42" y="108"/>
                      <a:pt x="67" y="135"/>
                      <a:pt x="67" y="167"/>
                    </a:cubicBezTo>
                    <a:cubicBezTo>
                      <a:pt x="67" y="168"/>
                      <a:pt x="67" y="168"/>
                      <a:pt x="67" y="168"/>
                    </a:cubicBezTo>
                    <a:cubicBezTo>
                      <a:pt x="38" y="160"/>
                      <a:pt x="16" y="136"/>
                      <a:pt x="10" y="105"/>
                    </a:cubicBezTo>
                    <a:moveTo>
                      <a:pt x="22" y="98"/>
                    </a:moveTo>
                    <a:cubicBezTo>
                      <a:pt x="18" y="97"/>
                      <a:pt x="13" y="97"/>
                      <a:pt x="9" y="96"/>
                    </a:cubicBezTo>
                    <a:cubicBezTo>
                      <a:pt x="9" y="94"/>
                      <a:pt x="8" y="92"/>
                      <a:pt x="8" y="90"/>
                    </a:cubicBezTo>
                    <a:cubicBezTo>
                      <a:pt x="8" y="82"/>
                      <a:pt x="10" y="74"/>
                      <a:pt x="12" y="66"/>
                    </a:cubicBezTo>
                    <a:cubicBezTo>
                      <a:pt x="17" y="65"/>
                      <a:pt x="22" y="64"/>
                      <a:pt x="27" y="63"/>
                    </a:cubicBezTo>
                    <a:cubicBezTo>
                      <a:pt x="22" y="74"/>
                      <a:pt x="21" y="86"/>
                      <a:pt x="22" y="98"/>
                    </a:cubicBezTo>
                    <a:moveTo>
                      <a:pt x="142" y="61"/>
                    </a:moveTo>
                    <a:cubicBezTo>
                      <a:pt x="149" y="73"/>
                      <a:pt x="151" y="88"/>
                      <a:pt x="149" y="101"/>
                    </a:cubicBezTo>
                    <a:cubicBezTo>
                      <a:pt x="129" y="110"/>
                      <a:pt x="113" y="126"/>
                      <a:pt x="107" y="147"/>
                    </a:cubicBezTo>
                    <a:cubicBezTo>
                      <a:pt x="96" y="151"/>
                      <a:pt x="84" y="151"/>
                      <a:pt x="73" y="147"/>
                    </a:cubicBezTo>
                    <a:cubicBezTo>
                      <a:pt x="67" y="126"/>
                      <a:pt x="51" y="110"/>
                      <a:pt x="31" y="101"/>
                    </a:cubicBezTo>
                    <a:cubicBezTo>
                      <a:pt x="29" y="88"/>
                      <a:pt x="31" y="73"/>
                      <a:pt x="38" y="61"/>
                    </a:cubicBezTo>
                    <a:cubicBezTo>
                      <a:pt x="55" y="59"/>
                      <a:pt x="73" y="58"/>
                      <a:pt x="90" y="58"/>
                    </a:cubicBezTo>
                    <a:cubicBezTo>
                      <a:pt x="107" y="58"/>
                      <a:pt x="125" y="59"/>
                      <a:pt x="142" y="61"/>
                    </a:cubicBezTo>
                    <a:moveTo>
                      <a:pt x="171" y="90"/>
                    </a:moveTo>
                    <a:cubicBezTo>
                      <a:pt x="171" y="92"/>
                      <a:pt x="171" y="94"/>
                      <a:pt x="171" y="96"/>
                    </a:cubicBezTo>
                    <a:cubicBezTo>
                      <a:pt x="167" y="97"/>
                      <a:pt x="162" y="97"/>
                      <a:pt x="158" y="98"/>
                    </a:cubicBezTo>
                    <a:cubicBezTo>
                      <a:pt x="159" y="86"/>
                      <a:pt x="157" y="74"/>
                      <a:pt x="153" y="63"/>
                    </a:cubicBezTo>
                    <a:cubicBezTo>
                      <a:pt x="158" y="64"/>
                      <a:pt x="163" y="65"/>
                      <a:pt x="168" y="66"/>
                    </a:cubicBezTo>
                    <a:cubicBezTo>
                      <a:pt x="170" y="74"/>
                      <a:pt x="171" y="82"/>
                      <a:pt x="171" y="90"/>
                    </a:cubicBezTo>
                    <a:moveTo>
                      <a:pt x="90" y="180"/>
                    </a:moveTo>
                    <a:cubicBezTo>
                      <a:pt x="140" y="180"/>
                      <a:pt x="180" y="140"/>
                      <a:pt x="180" y="90"/>
                    </a:cubicBezTo>
                    <a:cubicBezTo>
                      <a:pt x="180" y="80"/>
                      <a:pt x="179" y="70"/>
                      <a:pt x="175" y="61"/>
                    </a:cubicBezTo>
                    <a:cubicBezTo>
                      <a:pt x="175" y="61"/>
                      <a:pt x="175" y="61"/>
                      <a:pt x="175" y="61"/>
                    </a:cubicBezTo>
                    <a:cubicBezTo>
                      <a:pt x="163" y="25"/>
                      <a:pt x="129" y="0"/>
                      <a:pt x="90" y="0"/>
                    </a:cubicBezTo>
                    <a:cubicBezTo>
                      <a:pt x="40" y="0"/>
                      <a:pt x="0" y="40"/>
                      <a:pt x="0" y="90"/>
                    </a:cubicBezTo>
                    <a:cubicBezTo>
                      <a:pt x="0" y="140"/>
                      <a:pt x="40" y="180"/>
                      <a:pt x="90" y="18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4" name="Freeform 1506">
                <a:extLst>
                  <a:ext uri="{FF2B5EF4-FFF2-40B4-BE49-F238E27FC236}">
                    <a16:creationId xmlns:a16="http://schemas.microsoft.com/office/drawing/2014/main" id="{68059A99-2F0D-461E-89D4-CA17CBEB59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67264" y="5901896"/>
                <a:ext cx="79669" cy="79669"/>
              </a:xfrm>
              <a:custGeom>
                <a:avLst/>
                <a:gdLst>
                  <a:gd name="T0" fmla="*/ 22 w 44"/>
                  <a:gd name="T1" fmla="*/ 9 h 44"/>
                  <a:gd name="T2" fmla="*/ 35 w 44"/>
                  <a:gd name="T3" fmla="*/ 22 h 44"/>
                  <a:gd name="T4" fmla="*/ 22 w 44"/>
                  <a:gd name="T5" fmla="*/ 35 h 44"/>
                  <a:gd name="T6" fmla="*/ 9 w 44"/>
                  <a:gd name="T7" fmla="*/ 22 h 44"/>
                  <a:gd name="T8" fmla="*/ 22 w 44"/>
                  <a:gd name="T9" fmla="*/ 9 h 44"/>
                  <a:gd name="T10" fmla="*/ 0 w 44"/>
                  <a:gd name="T11" fmla="*/ 22 h 44"/>
                  <a:gd name="T12" fmla="*/ 22 w 44"/>
                  <a:gd name="T13" fmla="*/ 44 h 44"/>
                  <a:gd name="T14" fmla="*/ 44 w 44"/>
                  <a:gd name="T15" fmla="*/ 22 h 44"/>
                  <a:gd name="T16" fmla="*/ 22 w 44"/>
                  <a:gd name="T17" fmla="*/ 0 h 44"/>
                  <a:gd name="T18" fmla="*/ 0 w 44"/>
                  <a:gd name="T19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22" y="9"/>
                    </a:moveTo>
                    <a:cubicBezTo>
                      <a:pt x="29" y="9"/>
                      <a:pt x="35" y="15"/>
                      <a:pt x="35" y="22"/>
                    </a:cubicBezTo>
                    <a:cubicBezTo>
                      <a:pt x="35" y="29"/>
                      <a:pt x="29" y="35"/>
                      <a:pt x="22" y="35"/>
                    </a:cubicBezTo>
                    <a:cubicBezTo>
                      <a:pt x="15" y="35"/>
                      <a:pt x="9" y="29"/>
                      <a:pt x="9" y="22"/>
                    </a:cubicBezTo>
                    <a:cubicBezTo>
                      <a:pt x="9" y="15"/>
                      <a:pt x="15" y="9"/>
                      <a:pt x="22" y="9"/>
                    </a:cubicBezTo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4" y="44"/>
                      <a:pt x="44" y="34"/>
                      <a:pt x="44" y="22"/>
                    </a:cubicBezTo>
                    <a:cubicBezTo>
                      <a:pt x="44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6" name="Freeform 1507">
                <a:extLst>
                  <a:ext uri="{FF2B5EF4-FFF2-40B4-BE49-F238E27FC236}">
                    <a16:creationId xmlns:a16="http://schemas.microsoft.com/office/drawing/2014/main" id="{9F67267D-5DB1-49F7-A5BB-AABE2042A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1039" y="5794407"/>
                <a:ext cx="17704" cy="16440"/>
              </a:xfrm>
              <a:custGeom>
                <a:avLst/>
                <a:gdLst>
                  <a:gd name="T0" fmla="*/ 5 w 10"/>
                  <a:gd name="T1" fmla="*/ 9 h 9"/>
                  <a:gd name="T2" fmla="*/ 8 w 10"/>
                  <a:gd name="T3" fmla="*/ 8 h 9"/>
                  <a:gd name="T4" fmla="*/ 8 w 10"/>
                  <a:gd name="T5" fmla="*/ 2 h 9"/>
                  <a:gd name="T6" fmla="*/ 2 w 10"/>
                  <a:gd name="T7" fmla="*/ 2 h 9"/>
                  <a:gd name="T8" fmla="*/ 2 w 10"/>
                  <a:gd name="T9" fmla="*/ 2 h 9"/>
                  <a:gd name="T10" fmla="*/ 2 w 10"/>
                  <a:gd name="T11" fmla="*/ 8 h 9"/>
                  <a:gd name="T12" fmla="*/ 5 w 10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6" y="9"/>
                      <a:pt x="7" y="9"/>
                      <a:pt x="8" y="8"/>
                    </a:cubicBezTo>
                    <a:cubicBezTo>
                      <a:pt x="10" y="6"/>
                      <a:pt x="10" y="4"/>
                      <a:pt x="8" y="2"/>
                    </a:cubicBezTo>
                    <a:cubicBezTo>
                      <a:pt x="6" y="0"/>
                      <a:pt x="3" y="0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4"/>
                      <a:pt x="0" y="6"/>
                      <a:pt x="2" y="8"/>
                    </a:cubicBezTo>
                    <a:cubicBezTo>
                      <a:pt x="3" y="9"/>
                      <a:pt x="4" y="9"/>
                      <a:pt x="5" y="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</p:grp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56513523-F069-43FB-9649-35C150720E9D}"/>
              </a:ext>
            </a:extLst>
          </p:cNvPr>
          <p:cNvGrpSpPr/>
          <p:nvPr/>
        </p:nvGrpSpPr>
        <p:grpSpPr>
          <a:xfrm>
            <a:off x="2154002" y="2728151"/>
            <a:ext cx="868338" cy="533145"/>
            <a:chOff x="7923122" y="4776252"/>
            <a:chExt cx="643478" cy="395085"/>
          </a:xfrm>
        </p:grpSpPr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7F0E0346-9507-4497-B855-3104BF5A2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122" y="5011804"/>
              <a:ext cx="643478" cy="159533"/>
            </a:xfrm>
            <a:custGeom>
              <a:avLst/>
              <a:gdLst>
                <a:gd name="T0" fmla="*/ 233 w 1469"/>
                <a:gd name="T1" fmla="*/ 157 h 362"/>
                <a:gd name="T2" fmla="*/ 607 w 1469"/>
                <a:gd name="T3" fmla="*/ 266 h 362"/>
                <a:gd name="T4" fmla="*/ 1233 w 1469"/>
                <a:gd name="T5" fmla="*/ 159 h 362"/>
                <a:gd name="T6" fmla="*/ 1388 w 1469"/>
                <a:gd name="T7" fmla="*/ 63 h 362"/>
                <a:gd name="T8" fmla="*/ 1457 w 1469"/>
                <a:gd name="T9" fmla="*/ 4 h 362"/>
                <a:gd name="T10" fmla="*/ 1459 w 1469"/>
                <a:gd name="T11" fmla="*/ 3 h 362"/>
                <a:gd name="T12" fmla="*/ 1466 w 1469"/>
                <a:gd name="T13" fmla="*/ 4 h 362"/>
                <a:gd name="T14" fmla="*/ 1466 w 1469"/>
                <a:gd name="T15" fmla="*/ 7 h 362"/>
                <a:gd name="T16" fmla="*/ 1442 w 1469"/>
                <a:gd name="T17" fmla="*/ 80 h 362"/>
                <a:gd name="T18" fmla="*/ 1276 w 1469"/>
                <a:gd name="T19" fmla="*/ 207 h 362"/>
                <a:gd name="T20" fmla="*/ 980 w 1469"/>
                <a:gd name="T21" fmla="*/ 331 h 362"/>
                <a:gd name="T22" fmla="*/ 860 w 1469"/>
                <a:gd name="T23" fmla="*/ 353 h 362"/>
                <a:gd name="T24" fmla="*/ 786 w 1469"/>
                <a:gd name="T25" fmla="*/ 359 h 362"/>
                <a:gd name="T26" fmla="*/ 694 w 1469"/>
                <a:gd name="T27" fmla="*/ 360 h 362"/>
                <a:gd name="T28" fmla="*/ 593 w 1469"/>
                <a:gd name="T29" fmla="*/ 351 h 362"/>
                <a:gd name="T30" fmla="*/ 402 w 1469"/>
                <a:gd name="T31" fmla="*/ 305 h 362"/>
                <a:gd name="T32" fmla="*/ 87 w 1469"/>
                <a:gd name="T33" fmla="*/ 132 h 362"/>
                <a:gd name="T34" fmla="*/ 28 w 1469"/>
                <a:gd name="T35" fmla="*/ 81 h 362"/>
                <a:gd name="T36" fmla="*/ 5 w 1469"/>
                <a:gd name="T37" fmla="*/ 4 h 362"/>
                <a:gd name="T38" fmla="*/ 7 w 1469"/>
                <a:gd name="T39" fmla="*/ 0 h 362"/>
                <a:gd name="T40" fmla="*/ 12 w 1469"/>
                <a:gd name="T41" fmla="*/ 3 h 362"/>
                <a:gd name="T42" fmla="*/ 54 w 1469"/>
                <a:gd name="T43" fmla="*/ 40 h 362"/>
                <a:gd name="T44" fmla="*/ 137 w 1469"/>
                <a:gd name="T45" fmla="*/ 102 h 362"/>
                <a:gd name="T46" fmla="*/ 233 w 1469"/>
                <a:gd name="T47" fmla="*/ 157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69" h="362">
                  <a:moveTo>
                    <a:pt x="233" y="157"/>
                  </a:moveTo>
                  <a:cubicBezTo>
                    <a:pt x="351" y="216"/>
                    <a:pt x="476" y="252"/>
                    <a:pt x="607" y="266"/>
                  </a:cubicBezTo>
                  <a:cubicBezTo>
                    <a:pt x="825" y="289"/>
                    <a:pt x="1035" y="256"/>
                    <a:pt x="1233" y="159"/>
                  </a:cubicBezTo>
                  <a:cubicBezTo>
                    <a:pt x="1233" y="159"/>
                    <a:pt x="1323" y="113"/>
                    <a:pt x="1388" y="63"/>
                  </a:cubicBezTo>
                  <a:cubicBezTo>
                    <a:pt x="1411" y="43"/>
                    <a:pt x="1434" y="23"/>
                    <a:pt x="1457" y="4"/>
                  </a:cubicBezTo>
                  <a:cubicBezTo>
                    <a:pt x="1458" y="3"/>
                    <a:pt x="1458" y="3"/>
                    <a:pt x="1459" y="3"/>
                  </a:cubicBezTo>
                  <a:cubicBezTo>
                    <a:pt x="1461" y="1"/>
                    <a:pt x="1464" y="2"/>
                    <a:pt x="1466" y="4"/>
                  </a:cubicBezTo>
                  <a:cubicBezTo>
                    <a:pt x="1466" y="5"/>
                    <a:pt x="1466" y="6"/>
                    <a:pt x="1466" y="7"/>
                  </a:cubicBezTo>
                  <a:cubicBezTo>
                    <a:pt x="1469" y="35"/>
                    <a:pt x="1464" y="60"/>
                    <a:pt x="1442" y="80"/>
                  </a:cubicBezTo>
                  <a:cubicBezTo>
                    <a:pt x="1392" y="129"/>
                    <a:pt x="1336" y="170"/>
                    <a:pt x="1276" y="207"/>
                  </a:cubicBezTo>
                  <a:cubicBezTo>
                    <a:pt x="1184" y="263"/>
                    <a:pt x="1085" y="305"/>
                    <a:pt x="980" y="331"/>
                  </a:cubicBezTo>
                  <a:cubicBezTo>
                    <a:pt x="941" y="341"/>
                    <a:pt x="901" y="349"/>
                    <a:pt x="860" y="353"/>
                  </a:cubicBezTo>
                  <a:cubicBezTo>
                    <a:pt x="835" y="356"/>
                    <a:pt x="811" y="358"/>
                    <a:pt x="786" y="359"/>
                  </a:cubicBezTo>
                  <a:cubicBezTo>
                    <a:pt x="755" y="361"/>
                    <a:pt x="725" y="362"/>
                    <a:pt x="694" y="360"/>
                  </a:cubicBezTo>
                  <a:cubicBezTo>
                    <a:pt x="660" y="359"/>
                    <a:pt x="626" y="355"/>
                    <a:pt x="593" y="351"/>
                  </a:cubicBezTo>
                  <a:cubicBezTo>
                    <a:pt x="527" y="342"/>
                    <a:pt x="464" y="326"/>
                    <a:pt x="402" y="305"/>
                  </a:cubicBezTo>
                  <a:cubicBezTo>
                    <a:pt x="287" y="265"/>
                    <a:pt x="182" y="208"/>
                    <a:pt x="87" y="132"/>
                  </a:cubicBezTo>
                  <a:cubicBezTo>
                    <a:pt x="67" y="116"/>
                    <a:pt x="48" y="98"/>
                    <a:pt x="28" y="81"/>
                  </a:cubicBezTo>
                  <a:cubicBezTo>
                    <a:pt x="5" y="60"/>
                    <a:pt x="0" y="33"/>
                    <a:pt x="5" y="4"/>
                  </a:cubicBezTo>
                  <a:cubicBezTo>
                    <a:pt x="5" y="3"/>
                    <a:pt x="6" y="1"/>
                    <a:pt x="7" y="0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26" y="15"/>
                    <a:pt x="39" y="29"/>
                    <a:pt x="54" y="40"/>
                  </a:cubicBezTo>
                  <a:cubicBezTo>
                    <a:pt x="81" y="62"/>
                    <a:pt x="109" y="82"/>
                    <a:pt x="137" y="102"/>
                  </a:cubicBezTo>
                  <a:cubicBezTo>
                    <a:pt x="164" y="120"/>
                    <a:pt x="213" y="149"/>
                    <a:pt x="233" y="157"/>
                  </a:cubicBezTo>
                </a:path>
              </a:pathLst>
            </a:custGeom>
            <a:solidFill>
              <a:srgbClr val="7C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grpSp>
          <p:nvGrpSpPr>
            <p:cNvPr id="77" name="Agrupar 76">
              <a:extLst>
                <a:ext uri="{FF2B5EF4-FFF2-40B4-BE49-F238E27FC236}">
                  <a16:creationId xmlns:a16="http://schemas.microsoft.com/office/drawing/2014/main" id="{7581EA48-343C-47DD-8172-BBF238357B0E}"/>
                </a:ext>
              </a:extLst>
            </p:cNvPr>
            <p:cNvGrpSpPr/>
            <p:nvPr/>
          </p:nvGrpSpPr>
          <p:grpSpPr>
            <a:xfrm>
              <a:off x="7997442" y="4776252"/>
              <a:ext cx="494838" cy="343710"/>
              <a:chOff x="8377589" y="3734397"/>
              <a:chExt cx="467897" cy="324998"/>
            </a:xfrm>
            <a:solidFill>
              <a:srgbClr val="7C7C7C"/>
            </a:solidFill>
          </p:grpSpPr>
          <p:sp>
            <p:nvSpPr>
              <p:cNvPr id="78" name="Freeform 990">
                <a:extLst>
                  <a:ext uri="{FF2B5EF4-FFF2-40B4-BE49-F238E27FC236}">
                    <a16:creationId xmlns:a16="http://schemas.microsoft.com/office/drawing/2014/main" id="{D730D376-5B30-408D-8FDE-068328C51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7589" y="3864649"/>
                <a:ext cx="196011" cy="194746"/>
              </a:xfrm>
              <a:custGeom>
                <a:avLst/>
                <a:gdLst>
                  <a:gd name="T0" fmla="*/ 54 w 108"/>
                  <a:gd name="T1" fmla="*/ 107 h 107"/>
                  <a:gd name="T2" fmla="*/ 0 w 108"/>
                  <a:gd name="T3" fmla="*/ 53 h 107"/>
                  <a:gd name="T4" fmla="*/ 54 w 108"/>
                  <a:gd name="T5" fmla="*/ 0 h 107"/>
                  <a:gd name="T6" fmla="*/ 108 w 108"/>
                  <a:gd name="T7" fmla="*/ 53 h 107"/>
                  <a:gd name="T8" fmla="*/ 54 w 108"/>
                  <a:gd name="T9" fmla="*/ 107 h 107"/>
                  <a:gd name="T10" fmla="*/ 54 w 108"/>
                  <a:gd name="T11" fmla="*/ 6 h 107"/>
                  <a:gd name="T12" fmla="*/ 7 w 108"/>
                  <a:gd name="T13" fmla="*/ 53 h 107"/>
                  <a:gd name="T14" fmla="*/ 54 w 108"/>
                  <a:gd name="T15" fmla="*/ 100 h 107"/>
                  <a:gd name="T16" fmla="*/ 101 w 108"/>
                  <a:gd name="T17" fmla="*/ 53 h 107"/>
                  <a:gd name="T18" fmla="*/ 54 w 108"/>
                  <a:gd name="T19" fmla="*/ 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107">
                    <a:moveTo>
                      <a:pt x="54" y="107"/>
                    </a:moveTo>
                    <a:cubicBezTo>
                      <a:pt x="24" y="107"/>
                      <a:pt x="0" y="83"/>
                      <a:pt x="0" y="53"/>
                    </a:cubicBezTo>
                    <a:cubicBezTo>
                      <a:pt x="0" y="24"/>
                      <a:pt x="24" y="0"/>
                      <a:pt x="54" y="0"/>
                    </a:cubicBezTo>
                    <a:cubicBezTo>
                      <a:pt x="83" y="0"/>
                      <a:pt x="108" y="24"/>
                      <a:pt x="108" y="53"/>
                    </a:cubicBezTo>
                    <a:cubicBezTo>
                      <a:pt x="108" y="83"/>
                      <a:pt x="83" y="107"/>
                      <a:pt x="54" y="107"/>
                    </a:cubicBezTo>
                    <a:close/>
                    <a:moveTo>
                      <a:pt x="54" y="6"/>
                    </a:moveTo>
                    <a:cubicBezTo>
                      <a:pt x="28" y="6"/>
                      <a:pt x="7" y="27"/>
                      <a:pt x="7" y="53"/>
                    </a:cubicBezTo>
                    <a:cubicBezTo>
                      <a:pt x="7" y="79"/>
                      <a:pt x="28" y="100"/>
                      <a:pt x="54" y="100"/>
                    </a:cubicBezTo>
                    <a:cubicBezTo>
                      <a:pt x="80" y="100"/>
                      <a:pt x="101" y="79"/>
                      <a:pt x="101" y="53"/>
                    </a:cubicBezTo>
                    <a:cubicBezTo>
                      <a:pt x="101" y="27"/>
                      <a:pt x="80" y="6"/>
                      <a:pt x="5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9" name="Freeform 991">
                <a:extLst>
                  <a:ext uri="{FF2B5EF4-FFF2-40B4-BE49-F238E27FC236}">
                    <a16:creationId xmlns:a16="http://schemas.microsoft.com/office/drawing/2014/main" id="{92BA2402-2599-4449-A8FD-2E45CCF81A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09204" y="3893734"/>
                <a:ext cx="134046" cy="134046"/>
              </a:xfrm>
              <a:custGeom>
                <a:avLst/>
                <a:gdLst>
                  <a:gd name="T0" fmla="*/ 37 w 74"/>
                  <a:gd name="T1" fmla="*/ 74 h 74"/>
                  <a:gd name="T2" fmla="*/ 0 w 74"/>
                  <a:gd name="T3" fmla="*/ 37 h 74"/>
                  <a:gd name="T4" fmla="*/ 37 w 74"/>
                  <a:gd name="T5" fmla="*/ 0 h 74"/>
                  <a:gd name="T6" fmla="*/ 74 w 74"/>
                  <a:gd name="T7" fmla="*/ 37 h 74"/>
                  <a:gd name="T8" fmla="*/ 37 w 74"/>
                  <a:gd name="T9" fmla="*/ 74 h 74"/>
                  <a:gd name="T10" fmla="*/ 37 w 74"/>
                  <a:gd name="T11" fmla="*/ 7 h 74"/>
                  <a:gd name="T12" fmla="*/ 7 w 74"/>
                  <a:gd name="T13" fmla="*/ 37 h 74"/>
                  <a:gd name="T14" fmla="*/ 37 w 74"/>
                  <a:gd name="T15" fmla="*/ 67 h 74"/>
                  <a:gd name="T16" fmla="*/ 67 w 74"/>
                  <a:gd name="T17" fmla="*/ 37 h 74"/>
                  <a:gd name="T18" fmla="*/ 37 w 74"/>
                  <a:gd name="T19" fmla="*/ 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74">
                    <a:moveTo>
                      <a:pt x="37" y="74"/>
                    </a:moveTo>
                    <a:cubicBezTo>
                      <a:pt x="16" y="74"/>
                      <a:pt x="0" y="58"/>
                      <a:pt x="0" y="37"/>
                    </a:cubicBezTo>
                    <a:cubicBezTo>
                      <a:pt x="0" y="17"/>
                      <a:pt x="16" y="0"/>
                      <a:pt x="37" y="0"/>
                    </a:cubicBezTo>
                    <a:cubicBezTo>
                      <a:pt x="57" y="0"/>
                      <a:pt x="74" y="17"/>
                      <a:pt x="74" y="37"/>
                    </a:cubicBezTo>
                    <a:cubicBezTo>
                      <a:pt x="74" y="58"/>
                      <a:pt x="57" y="74"/>
                      <a:pt x="37" y="74"/>
                    </a:cubicBezTo>
                    <a:close/>
                    <a:moveTo>
                      <a:pt x="37" y="7"/>
                    </a:moveTo>
                    <a:cubicBezTo>
                      <a:pt x="20" y="7"/>
                      <a:pt x="7" y="21"/>
                      <a:pt x="7" y="37"/>
                    </a:cubicBezTo>
                    <a:cubicBezTo>
                      <a:pt x="7" y="54"/>
                      <a:pt x="20" y="67"/>
                      <a:pt x="37" y="67"/>
                    </a:cubicBezTo>
                    <a:cubicBezTo>
                      <a:pt x="53" y="67"/>
                      <a:pt x="67" y="54"/>
                      <a:pt x="67" y="37"/>
                    </a:cubicBezTo>
                    <a:cubicBezTo>
                      <a:pt x="67" y="21"/>
                      <a:pt x="53" y="7"/>
                      <a:pt x="3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0" name="Freeform 992">
                <a:extLst>
                  <a:ext uri="{FF2B5EF4-FFF2-40B4-BE49-F238E27FC236}">
                    <a16:creationId xmlns:a16="http://schemas.microsoft.com/office/drawing/2014/main" id="{D4792E37-5F33-4B2E-88DD-16AD622FA3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52004" y="3864649"/>
                <a:ext cx="193482" cy="194746"/>
              </a:xfrm>
              <a:custGeom>
                <a:avLst/>
                <a:gdLst>
                  <a:gd name="T0" fmla="*/ 54 w 107"/>
                  <a:gd name="T1" fmla="*/ 107 h 107"/>
                  <a:gd name="T2" fmla="*/ 0 w 107"/>
                  <a:gd name="T3" fmla="*/ 53 h 107"/>
                  <a:gd name="T4" fmla="*/ 54 w 107"/>
                  <a:gd name="T5" fmla="*/ 0 h 107"/>
                  <a:gd name="T6" fmla="*/ 107 w 107"/>
                  <a:gd name="T7" fmla="*/ 53 h 107"/>
                  <a:gd name="T8" fmla="*/ 54 w 107"/>
                  <a:gd name="T9" fmla="*/ 107 h 107"/>
                  <a:gd name="T10" fmla="*/ 54 w 107"/>
                  <a:gd name="T11" fmla="*/ 6 h 107"/>
                  <a:gd name="T12" fmla="*/ 7 w 107"/>
                  <a:gd name="T13" fmla="*/ 53 h 107"/>
                  <a:gd name="T14" fmla="*/ 54 w 107"/>
                  <a:gd name="T15" fmla="*/ 100 h 107"/>
                  <a:gd name="T16" fmla="*/ 101 w 107"/>
                  <a:gd name="T17" fmla="*/ 53 h 107"/>
                  <a:gd name="T18" fmla="*/ 54 w 107"/>
                  <a:gd name="T19" fmla="*/ 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107">
                    <a:moveTo>
                      <a:pt x="54" y="107"/>
                    </a:moveTo>
                    <a:cubicBezTo>
                      <a:pt x="24" y="107"/>
                      <a:pt x="0" y="83"/>
                      <a:pt x="0" y="53"/>
                    </a:cubicBezTo>
                    <a:cubicBezTo>
                      <a:pt x="0" y="24"/>
                      <a:pt x="24" y="0"/>
                      <a:pt x="54" y="0"/>
                    </a:cubicBezTo>
                    <a:cubicBezTo>
                      <a:pt x="83" y="0"/>
                      <a:pt x="107" y="24"/>
                      <a:pt x="107" y="53"/>
                    </a:cubicBezTo>
                    <a:cubicBezTo>
                      <a:pt x="107" y="83"/>
                      <a:pt x="83" y="107"/>
                      <a:pt x="54" y="107"/>
                    </a:cubicBezTo>
                    <a:close/>
                    <a:moveTo>
                      <a:pt x="54" y="6"/>
                    </a:moveTo>
                    <a:cubicBezTo>
                      <a:pt x="28" y="6"/>
                      <a:pt x="7" y="27"/>
                      <a:pt x="7" y="53"/>
                    </a:cubicBezTo>
                    <a:cubicBezTo>
                      <a:pt x="7" y="79"/>
                      <a:pt x="28" y="100"/>
                      <a:pt x="54" y="100"/>
                    </a:cubicBezTo>
                    <a:cubicBezTo>
                      <a:pt x="80" y="100"/>
                      <a:pt x="101" y="79"/>
                      <a:pt x="101" y="53"/>
                    </a:cubicBezTo>
                    <a:cubicBezTo>
                      <a:pt x="101" y="27"/>
                      <a:pt x="80" y="6"/>
                      <a:pt x="5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1" name="Freeform 993">
                <a:extLst>
                  <a:ext uri="{FF2B5EF4-FFF2-40B4-BE49-F238E27FC236}">
                    <a16:creationId xmlns:a16="http://schemas.microsoft.com/office/drawing/2014/main" id="{92CDEDF7-A8BE-460D-A052-490E7B5FD1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82354" y="3893734"/>
                <a:ext cx="135311" cy="134046"/>
              </a:xfrm>
              <a:custGeom>
                <a:avLst/>
                <a:gdLst>
                  <a:gd name="T0" fmla="*/ 37 w 74"/>
                  <a:gd name="T1" fmla="*/ 74 h 74"/>
                  <a:gd name="T2" fmla="*/ 0 w 74"/>
                  <a:gd name="T3" fmla="*/ 37 h 74"/>
                  <a:gd name="T4" fmla="*/ 37 w 74"/>
                  <a:gd name="T5" fmla="*/ 0 h 74"/>
                  <a:gd name="T6" fmla="*/ 74 w 74"/>
                  <a:gd name="T7" fmla="*/ 37 h 74"/>
                  <a:gd name="T8" fmla="*/ 37 w 74"/>
                  <a:gd name="T9" fmla="*/ 74 h 74"/>
                  <a:gd name="T10" fmla="*/ 37 w 74"/>
                  <a:gd name="T11" fmla="*/ 7 h 74"/>
                  <a:gd name="T12" fmla="*/ 7 w 74"/>
                  <a:gd name="T13" fmla="*/ 37 h 74"/>
                  <a:gd name="T14" fmla="*/ 37 w 74"/>
                  <a:gd name="T15" fmla="*/ 67 h 74"/>
                  <a:gd name="T16" fmla="*/ 67 w 74"/>
                  <a:gd name="T17" fmla="*/ 37 h 74"/>
                  <a:gd name="T18" fmla="*/ 37 w 74"/>
                  <a:gd name="T19" fmla="*/ 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74">
                    <a:moveTo>
                      <a:pt x="37" y="74"/>
                    </a:moveTo>
                    <a:cubicBezTo>
                      <a:pt x="16" y="74"/>
                      <a:pt x="0" y="58"/>
                      <a:pt x="0" y="37"/>
                    </a:cubicBezTo>
                    <a:cubicBezTo>
                      <a:pt x="0" y="17"/>
                      <a:pt x="16" y="0"/>
                      <a:pt x="37" y="0"/>
                    </a:cubicBezTo>
                    <a:cubicBezTo>
                      <a:pt x="57" y="0"/>
                      <a:pt x="74" y="17"/>
                      <a:pt x="74" y="37"/>
                    </a:cubicBezTo>
                    <a:cubicBezTo>
                      <a:pt x="74" y="58"/>
                      <a:pt x="57" y="74"/>
                      <a:pt x="37" y="74"/>
                    </a:cubicBezTo>
                    <a:close/>
                    <a:moveTo>
                      <a:pt x="37" y="7"/>
                    </a:moveTo>
                    <a:cubicBezTo>
                      <a:pt x="20" y="7"/>
                      <a:pt x="7" y="21"/>
                      <a:pt x="7" y="37"/>
                    </a:cubicBezTo>
                    <a:cubicBezTo>
                      <a:pt x="7" y="54"/>
                      <a:pt x="20" y="67"/>
                      <a:pt x="37" y="67"/>
                    </a:cubicBezTo>
                    <a:cubicBezTo>
                      <a:pt x="53" y="67"/>
                      <a:pt x="67" y="54"/>
                      <a:pt x="67" y="37"/>
                    </a:cubicBezTo>
                    <a:cubicBezTo>
                      <a:pt x="67" y="21"/>
                      <a:pt x="53" y="7"/>
                      <a:pt x="3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2" name="Freeform 994">
                <a:extLst>
                  <a:ext uri="{FF2B5EF4-FFF2-40B4-BE49-F238E27FC236}">
                    <a16:creationId xmlns:a16="http://schemas.microsoft.com/office/drawing/2014/main" id="{A12A531F-7608-4E46-8126-79A919B2DC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68639" y="3817859"/>
                <a:ext cx="140369" cy="150486"/>
              </a:xfrm>
              <a:custGeom>
                <a:avLst/>
                <a:gdLst>
                  <a:gd name="T0" fmla="*/ 67 w 77"/>
                  <a:gd name="T1" fmla="*/ 83 h 83"/>
                  <a:gd name="T2" fmla="*/ 4 w 77"/>
                  <a:gd name="T3" fmla="*/ 83 h 83"/>
                  <a:gd name="T4" fmla="*/ 1 w 77"/>
                  <a:gd name="T5" fmla="*/ 81 h 83"/>
                  <a:gd name="T6" fmla="*/ 1 w 77"/>
                  <a:gd name="T7" fmla="*/ 78 h 83"/>
                  <a:gd name="T8" fmla="*/ 38 w 77"/>
                  <a:gd name="T9" fmla="*/ 2 h 83"/>
                  <a:gd name="T10" fmla="*/ 42 w 77"/>
                  <a:gd name="T11" fmla="*/ 0 h 83"/>
                  <a:gd name="T12" fmla="*/ 42 w 77"/>
                  <a:gd name="T13" fmla="*/ 0 h 83"/>
                  <a:gd name="T14" fmla="*/ 45 w 77"/>
                  <a:gd name="T15" fmla="*/ 2 h 83"/>
                  <a:gd name="T16" fmla="*/ 77 w 77"/>
                  <a:gd name="T17" fmla="*/ 67 h 83"/>
                  <a:gd name="T18" fmla="*/ 77 w 77"/>
                  <a:gd name="T19" fmla="*/ 69 h 83"/>
                  <a:gd name="T20" fmla="*/ 75 w 77"/>
                  <a:gd name="T21" fmla="*/ 71 h 83"/>
                  <a:gd name="T22" fmla="*/ 70 w 77"/>
                  <a:gd name="T23" fmla="*/ 79 h 83"/>
                  <a:gd name="T24" fmla="*/ 67 w 77"/>
                  <a:gd name="T25" fmla="*/ 83 h 83"/>
                  <a:gd name="T26" fmla="*/ 9 w 77"/>
                  <a:gd name="T27" fmla="*/ 76 h 83"/>
                  <a:gd name="T28" fmla="*/ 64 w 77"/>
                  <a:gd name="T29" fmla="*/ 76 h 83"/>
                  <a:gd name="T30" fmla="*/ 69 w 77"/>
                  <a:gd name="T31" fmla="*/ 67 h 83"/>
                  <a:gd name="T32" fmla="*/ 42 w 77"/>
                  <a:gd name="T33" fmla="*/ 11 h 83"/>
                  <a:gd name="T34" fmla="*/ 9 w 77"/>
                  <a:gd name="T35" fmla="*/ 7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7" h="83">
                    <a:moveTo>
                      <a:pt x="67" y="83"/>
                    </a:moveTo>
                    <a:cubicBezTo>
                      <a:pt x="4" y="83"/>
                      <a:pt x="4" y="83"/>
                      <a:pt x="4" y="83"/>
                    </a:cubicBezTo>
                    <a:cubicBezTo>
                      <a:pt x="3" y="83"/>
                      <a:pt x="2" y="82"/>
                      <a:pt x="1" y="81"/>
                    </a:cubicBezTo>
                    <a:cubicBezTo>
                      <a:pt x="0" y="80"/>
                      <a:pt x="0" y="79"/>
                      <a:pt x="1" y="78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9" y="1"/>
                      <a:pt x="40" y="0"/>
                      <a:pt x="42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1"/>
                      <a:pt x="45" y="2"/>
                    </a:cubicBezTo>
                    <a:cubicBezTo>
                      <a:pt x="77" y="67"/>
                      <a:pt x="77" y="67"/>
                      <a:pt x="77" y="67"/>
                    </a:cubicBezTo>
                    <a:cubicBezTo>
                      <a:pt x="77" y="67"/>
                      <a:pt x="77" y="68"/>
                      <a:pt x="77" y="69"/>
                    </a:cubicBezTo>
                    <a:cubicBezTo>
                      <a:pt x="77" y="70"/>
                      <a:pt x="76" y="71"/>
                      <a:pt x="75" y="71"/>
                    </a:cubicBezTo>
                    <a:cubicBezTo>
                      <a:pt x="72" y="73"/>
                      <a:pt x="70" y="76"/>
                      <a:pt x="70" y="79"/>
                    </a:cubicBezTo>
                    <a:cubicBezTo>
                      <a:pt x="70" y="81"/>
                      <a:pt x="69" y="83"/>
                      <a:pt x="67" y="83"/>
                    </a:cubicBezTo>
                    <a:close/>
                    <a:moveTo>
                      <a:pt x="9" y="76"/>
                    </a:moveTo>
                    <a:cubicBezTo>
                      <a:pt x="64" y="76"/>
                      <a:pt x="64" y="76"/>
                      <a:pt x="64" y="76"/>
                    </a:cubicBezTo>
                    <a:cubicBezTo>
                      <a:pt x="64" y="72"/>
                      <a:pt x="66" y="69"/>
                      <a:pt x="69" y="67"/>
                    </a:cubicBezTo>
                    <a:cubicBezTo>
                      <a:pt x="42" y="11"/>
                      <a:pt x="42" y="11"/>
                      <a:pt x="42" y="11"/>
                    </a:cubicBezTo>
                    <a:lnTo>
                      <a:pt x="9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3" name="Freeform 995">
                <a:extLst>
                  <a:ext uri="{FF2B5EF4-FFF2-40B4-BE49-F238E27FC236}">
                    <a16:creationId xmlns:a16="http://schemas.microsoft.com/office/drawing/2014/main" id="{518DA6B3-FBCF-435B-9DC0-1EBA51932A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38192" y="3817859"/>
                <a:ext cx="188423" cy="132781"/>
              </a:xfrm>
              <a:custGeom>
                <a:avLst/>
                <a:gdLst>
                  <a:gd name="T0" fmla="*/ 49 w 104"/>
                  <a:gd name="T1" fmla="*/ 73 h 73"/>
                  <a:gd name="T2" fmla="*/ 47 w 104"/>
                  <a:gd name="T3" fmla="*/ 72 h 73"/>
                  <a:gd name="T4" fmla="*/ 37 w 104"/>
                  <a:gd name="T5" fmla="*/ 71 h 73"/>
                  <a:gd name="T6" fmla="*/ 33 w 104"/>
                  <a:gd name="T7" fmla="*/ 70 h 73"/>
                  <a:gd name="T8" fmla="*/ 0 w 104"/>
                  <a:gd name="T9" fmla="*/ 5 h 73"/>
                  <a:gd name="T10" fmla="*/ 1 w 104"/>
                  <a:gd name="T11" fmla="*/ 2 h 73"/>
                  <a:gd name="T12" fmla="*/ 4 w 104"/>
                  <a:gd name="T13" fmla="*/ 0 h 73"/>
                  <a:gd name="T14" fmla="*/ 100 w 104"/>
                  <a:gd name="T15" fmla="*/ 0 h 73"/>
                  <a:gd name="T16" fmla="*/ 103 w 104"/>
                  <a:gd name="T17" fmla="*/ 2 h 73"/>
                  <a:gd name="T18" fmla="*/ 103 w 104"/>
                  <a:gd name="T19" fmla="*/ 6 h 73"/>
                  <a:gd name="T20" fmla="*/ 52 w 104"/>
                  <a:gd name="T21" fmla="*/ 71 h 73"/>
                  <a:gd name="T22" fmla="*/ 49 w 104"/>
                  <a:gd name="T23" fmla="*/ 73 h 73"/>
                  <a:gd name="T24" fmla="*/ 41 w 104"/>
                  <a:gd name="T25" fmla="*/ 63 h 73"/>
                  <a:gd name="T26" fmla="*/ 48 w 104"/>
                  <a:gd name="T27" fmla="*/ 65 h 73"/>
                  <a:gd name="T28" fmla="*/ 93 w 104"/>
                  <a:gd name="T29" fmla="*/ 7 h 73"/>
                  <a:gd name="T30" fmla="*/ 9 w 104"/>
                  <a:gd name="T31" fmla="*/ 7 h 73"/>
                  <a:gd name="T32" fmla="*/ 37 w 104"/>
                  <a:gd name="T33" fmla="*/ 64 h 73"/>
                  <a:gd name="T34" fmla="*/ 41 w 104"/>
                  <a:gd name="T35" fmla="*/ 6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4" h="73">
                    <a:moveTo>
                      <a:pt x="49" y="73"/>
                    </a:moveTo>
                    <a:cubicBezTo>
                      <a:pt x="48" y="73"/>
                      <a:pt x="47" y="73"/>
                      <a:pt x="47" y="72"/>
                    </a:cubicBezTo>
                    <a:cubicBezTo>
                      <a:pt x="44" y="70"/>
                      <a:pt x="40" y="70"/>
                      <a:pt x="37" y="71"/>
                    </a:cubicBezTo>
                    <a:cubicBezTo>
                      <a:pt x="35" y="72"/>
                      <a:pt x="33" y="71"/>
                      <a:pt x="33" y="7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2" y="1"/>
                      <a:pt x="103" y="2"/>
                    </a:cubicBezTo>
                    <a:cubicBezTo>
                      <a:pt x="104" y="4"/>
                      <a:pt x="103" y="5"/>
                      <a:pt x="103" y="6"/>
                    </a:cubicBezTo>
                    <a:cubicBezTo>
                      <a:pt x="52" y="71"/>
                      <a:pt x="52" y="71"/>
                      <a:pt x="52" y="71"/>
                    </a:cubicBezTo>
                    <a:cubicBezTo>
                      <a:pt x="51" y="72"/>
                      <a:pt x="50" y="73"/>
                      <a:pt x="49" y="73"/>
                    </a:cubicBezTo>
                    <a:close/>
                    <a:moveTo>
                      <a:pt x="41" y="63"/>
                    </a:moveTo>
                    <a:cubicBezTo>
                      <a:pt x="44" y="63"/>
                      <a:pt x="46" y="64"/>
                      <a:pt x="48" y="65"/>
                    </a:cubicBezTo>
                    <a:cubicBezTo>
                      <a:pt x="93" y="7"/>
                      <a:pt x="93" y="7"/>
                      <a:pt x="93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37" y="64"/>
                      <a:pt x="37" y="64"/>
                      <a:pt x="37" y="64"/>
                    </a:cubicBezTo>
                    <a:cubicBezTo>
                      <a:pt x="39" y="63"/>
                      <a:pt x="40" y="63"/>
                      <a:pt x="41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4" name="Freeform 996">
                <a:extLst>
                  <a:ext uri="{FF2B5EF4-FFF2-40B4-BE49-F238E27FC236}">
                    <a16:creationId xmlns:a16="http://schemas.microsoft.com/office/drawing/2014/main" id="{18C81C32-EA17-4D14-832B-662E68541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3969" y="3758424"/>
                <a:ext cx="72081" cy="209921"/>
              </a:xfrm>
              <a:custGeom>
                <a:avLst/>
                <a:gdLst>
                  <a:gd name="T0" fmla="*/ 20 w 40"/>
                  <a:gd name="T1" fmla="*/ 116 h 116"/>
                  <a:gd name="T2" fmla="*/ 17 w 40"/>
                  <a:gd name="T3" fmla="*/ 115 h 116"/>
                  <a:gd name="T4" fmla="*/ 0 w 40"/>
                  <a:gd name="T5" fmla="*/ 72 h 116"/>
                  <a:gd name="T6" fmla="*/ 0 w 40"/>
                  <a:gd name="T7" fmla="*/ 3 h 116"/>
                  <a:gd name="T8" fmla="*/ 3 w 40"/>
                  <a:gd name="T9" fmla="*/ 0 h 116"/>
                  <a:gd name="T10" fmla="*/ 26 w 40"/>
                  <a:gd name="T11" fmla="*/ 0 h 116"/>
                  <a:gd name="T12" fmla="*/ 40 w 40"/>
                  <a:gd name="T13" fmla="*/ 14 h 116"/>
                  <a:gd name="T14" fmla="*/ 26 w 40"/>
                  <a:gd name="T15" fmla="*/ 28 h 116"/>
                  <a:gd name="T16" fmla="*/ 24 w 40"/>
                  <a:gd name="T17" fmla="*/ 28 h 116"/>
                  <a:gd name="T18" fmla="*/ 20 w 40"/>
                  <a:gd name="T19" fmla="*/ 24 h 116"/>
                  <a:gd name="T20" fmla="*/ 24 w 40"/>
                  <a:gd name="T21" fmla="*/ 21 h 116"/>
                  <a:gd name="T22" fmla="*/ 26 w 40"/>
                  <a:gd name="T23" fmla="*/ 21 h 116"/>
                  <a:gd name="T24" fmla="*/ 33 w 40"/>
                  <a:gd name="T25" fmla="*/ 14 h 116"/>
                  <a:gd name="T26" fmla="*/ 26 w 40"/>
                  <a:gd name="T27" fmla="*/ 7 h 116"/>
                  <a:gd name="T28" fmla="*/ 6 w 40"/>
                  <a:gd name="T29" fmla="*/ 7 h 116"/>
                  <a:gd name="T30" fmla="*/ 6 w 40"/>
                  <a:gd name="T31" fmla="*/ 72 h 116"/>
                  <a:gd name="T32" fmla="*/ 22 w 40"/>
                  <a:gd name="T33" fmla="*/ 110 h 116"/>
                  <a:gd name="T34" fmla="*/ 22 w 40"/>
                  <a:gd name="T35" fmla="*/ 115 h 116"/>
                  <a:gd name="T36" fmla="*/ 20 w 40"/>
                  <a:gd name="T3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0" h="116">
                    <a:moveTo>
                      <a:pt x="20" y="116"/>
                    </a:moveTo>
                    <a:cubicBezTo>
                      <a:pt x="19" y="116"/>
                      <a:pt x="18" y="115"/>
                      <a:pt x="17" y="115"/>
                    </a:cubicBezTo>
                    <a:cubicBezTo>
                      <a:pt x="6" y="103"/>
                      <a:pt x="0" y="88"/>
                      <a:pt x="0" y="7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34" y="0"/>
                      <a:pt x="40" y="6"/>
                      <a:pt x="40" y="14"/>
                    </a:cubicBezTo>
                    <a:cubicBezTo>
                      <a:pt x="40" y="21"/>
                      <a:pt x="34" y="28"/>
                      <a:pt x="26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2" y="28"/>
                      <a:pt x="20" y="26"/>
                      <a:pt x="20" y="24"/>
                    </a:cubicBezTo>
                    <a:cubicBezTo>
                      <a:pt x="20" y="22"/>
                      <a:pt x="22" y="21"/>
                      <a:pt x="24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30" y="21"/>
                      <a:pt x="33" y="18"/>
                      <a:pt x="33" y="14"/>
                    </a:cubicBezTo>
                    <a:cubicBezTo>
                      <a:pt x="33" y="10"/>
                      <a:pt x="30" y="7"/>
                      <a:pt x="2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6" y="86"/>
                      <a:pt x="12" y="100"/>
                      <a:pt x="22" y="110"/>
                    </a:cubicBezTo>
                    <a:cubicBezTo>
                      <a:pt x="23" y="111"/>
                      <a:pt x="23" y="113"/>
                      <a:pt x="22" y="115"/>
                    </a:cubicBezTo>
                    <a:cubicBezTo>
                      <a:pt x="21" y="115"/>
                      <a:pt x="21" y="116"/>
                      <a:pt x="20" y="1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5" name="Freeform 997">
                <a:extLst>
                  <a:ext uri="{FF2B5EF4-FFF2-40B4-BE49-F238E27FC236}">
                    <a16:creationId xmlns:a16="http://schemas.microsoft.com/office/drawing/2014/main" id="{8B5C7556-F2FC-49BE-8D39-2D4E17C9FD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92666" y="3734397"/>
                <a:ext cx="96108" cy="58171"/>
              </a:xfrm>
              <a:custGeom>
                <a:avLst/>
                <a:gdLst>
                  <a:gd name="T0" fmla="*/ 41 w 53"/>
                  <a:gd name="T1" fmla="*/ 32 h 32"/>
                  <a:gd name="T2" fmla="*/ 20 w 53"/>
                  <a:gd name="T3" fmla="*/ 32 h 32"/>
                  <a:gd name="T4" fmla="*/ 0 w 53"/>
                  <a:gd name="T5" fmla="*/ 12 h 32"/>
                  <a:gd name="T6" fmla="*/ 12 w 53"/>
                  <a:gd name="T7" fmla="*/ 0 h 32"/>
                  <a:gd name="T8" fmla="*/ 18 w 53"/>
                  <a:gd name="T9" fmla="*/ 0 h 32"/>
                  <a:gd name="T10" fmla="*/ 31 w 53"/>
                  <a:gd name="T11" fmla="*/ 6 h 32"/>
                  <a:gd name="T12" fmla="*/ 39 w 53"/>
                  <a:gd name="T13" fmla="*/ 9 h 32"/>
                  <a:gd name="T14" fmla="*/ 41 w 53"/>
                  <a:gd name="T15" fmla="*/ 9 h 32"/>
                  <a:gd name="T16" fmla="*/ 53 w 53"/>
                  <a:gd name="T17" fmla="*/ 21 h 32"/>
                  <a:gd name="T18" fmla="*/ 41 w 53"/>
                  <a:gd name="T19" fmla="*/ 32 h 32"/>
                  <a:gd name="T20" fmla="*/ 12 w 53"/>
                  <a:gd name="T21" fmla="*/ 7 h 32"/>
                  <a:gd name="T22" fmla="*/ 7 w 53"/>
                  <a:gd name="T23" fmla="*/ 12 h 32"/>
                  <a:gd name="T24" fmla="*/ 20 w 53"/>
                  <a:gd name="T25" fmla="*/ 25 h 32"/>
                  <a:gd name="T26" fmla="*/ 41 w 53"/>
                  <a:gd name="T27" fmla="*/ 25 h 32"/>
                  <a:gd name="T28" fmla="*/ 46 w 53"/>
                  <a:gd name="T29" fmla="*/ 21 h 32"/>
                  <a:gd name="T30" fmla="*/ 41 w 53"/>
                  <a:gd name="T31" fmla="*/ 16 h 32"/>
                  <a:gd name="T32" fmla="*/ 39 w 53"/>
                  <a:gd name="T33" fmla="*/ 16 h 32"/>
                  <a:gd name="T34" fmla="*/ 26 w 53"/>
                  <a:gd name="T35" fmla="*/ 10 h 32"/>
                  <a:gd name="T36" fmla="*/ 18 w 53"/>
                  <a:gd name="T37" fmla="*/ 7 h 32"/>
                  <a:gd name="T38" fmla="*/ 12 w 53"/>
                  <a:gd name="T39" fmla="*/ 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3" h="32">
                    <a:moveTo>
                      <a:pt x="41" y="32"/>
                    </a:moveTo>
                    <a:cubicBezTo>
                      <a:pt x="20" y="32"/>
                      <a:pt x="20" y="32"/>
                      <a:pt x="20" y="32"/>
                    </a:cubicBezTo>
                    <a:cubicBezTo>
                      <a:pt x="9" y="32"/>
                      <a:pt x="0" y="23"/>
                      <a:pt x="0" y="12"/>
                    </a:cubicBezTo>
                    <a:cubicBezTo>
                      <a:pt x="0" y="6"/>
                      <a:pt x="5" y="0"/>
                      <a:pt x="12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3" y="0"/>
                      <a:pt x="28" y="2"/>
                      <a:pt x="31" y="6"/>
                    </a:cubicBezTo>
                    <a:cubicBezTo>
                      <a:pt x="33" y="8"/>
                      <a:pt x="36" y="9"/>
                      <a:pt x="39" y="9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8" y="9"/>
                      <a:pt x="53" y="14"/>
                      <a:pt x="53" y="21"/>
                    </a:cubicBezTo>
                    <a:cubicBezTo>
                      <a:pt x="53" y="27"/>
                      <a:pt x="48" y="32"/>
                      <a:pt x="41" y="32"/>
                    </a:cubicBezTo>
                    <a:close/>
                    <a:moveTo>
                      <a:pt x="12" y="7"/>
                    </a:moveTo>
                    <a:cubicBezTo>
                      <a:pt x="9" y="7"/>
                      <a:pt x="7" y="9"/>
                      <a:pt x="7" y="12"/>
                    </a:cubicBezTo>
                    <a:cubicBezTo>
                      <a:pt x="7" y="19"/>
                      <a:pt x="13" y="25"/>
                      <a:pt x="20" y="25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4" y="25"/>
                      <a:pt x="46" y="23"/>
                      <a:pt x="46" y="21"/>
                    </a:cubicBezTo>
                    <a:cubicBezTo>
                      <a:pt x="46" y="18"/>
                      <a:pt x="44" y="16"/>
                      <a:pt x="41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4" y="16"/>
                      <a:pt x="29" y="14"/>
                      <a:pt x="26" y="10"/>
                    </a:cubicBezTo>
                    <a:cubicBezTo>
                      <a:pt x="24" y="8"/>
                      <a:pt x="21" y="7"/>
                      <a:pt x="18" y="7"/>
                    </a:cubicBezTo>
                    <a:lnTo>
                      <a:pt x="1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6" name="Freeform 998">
                <a:extLst>
                  <a:ext uri="{FF2B5EF4-FFF2-40B4-BE49-F238E27FC236}">
                    <a16:creationId xmlns:a16="http://schemas.microsoft.com/office/drawing/2014/main" id="{4B3C5E42-9957-4212-AB29-D7DDE9B84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8192" y="3779922"/>
                <a:ext cx="12646" cy="50583"/>
              </a:xfrm>
              <a:custGeom>
                <a:avLst/>
                <a:gdLst>
                  <a:gd name="T0" fmla="*/ 4 w 7"/>
                  <a:gd name="T1" fmla="*/ 28 h 28"/>
                  <a:gd name="T2" fmla="*/ 0 w 7"/>
                  <a:gd name="T3" fmla="*/ 25 h 28"/>
                  <a:gd name="T4" fmla="*/ 0 w 7"/>
                  <a:gd name="T5" fmla="*/ 4 h 28"/>
                  <a:gd name="T6" fmla="*/ 4 w 7"/>
                  <a:gd name="T7" fmla="*/ 0 h 28"/>
                  <a:gd name="T8" fmla="*/ 7 w 7"/>
                  <a:gd name="T9" fmla="*/ 4 h 28"/>
                  <a:gd name="T10" fmla="*/ 7 w 7"/>
                  <a:gd name="T11" fmla="*/ 25 h 28"/>
                  <a:gd name="T12" fmla="*/ 4 w 7"/>
                  <a:gd name="T13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8">
                    <a:moveTo>
                      <a:pt x="4" y="28"/>
                    </a:moveTo>
                    <a:cubicBezTo>
                      <a:pt x="2" y="28"/>
                      <a:pt x="0" y="27"/>
                      <a:pt x="0" y="2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2"/>
                      <a:pt x="7" y="4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7"/>
                      <a:pt x="5" y="28"/>
                      <a:pt x="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7" name="Freeform 999">
                <a:extLst>
                  <a:ext uri="{FF2B5EF4-FFF2-40B4-BE49-F238E27FC236}">
                    <a16:creationId xmlns:a16="http://schemas.microsoft.com/office/drawing/2014/main" id="{7538CE7F-9F48-4EE8-ABC1-852337DAB2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83717" y="3930407"/>
                <a:ext cx="56906" cy="59436"/>
              </a:xfrm>
              <a:custGeom>
                <a:avLst/>
                <a:gdLst>
                  <a:gd name="T0" fmla="*/ 16 w 32"/>
                  <a:gd name="T1" fmla="*/ 33 h 33"/>
                  <a:gd name="T2" fmla="*/ 0 w 32"/>
                  <a:gd name="T3" fmla="*/ 17 h 33"/>
                  <a:gd name="T4" fmla="*/ 9 w 32"/>
                  <a:gd name="T5" fmla="*/ 3 h 33"/>
                  <a:gd name="T6" fmla="*/ 26 w 32"/>
                  <a:gd name="T7" fmla="*/ 5 h 33"/>
                  <a:gd name="T8" fmla="*/ 32 w 32"/>
                  <a:gd name="T9" fmla="*/ 17 h 33"/>
                  <a:gd name="T10" fmla="*/ 16 w 32"/>
                  <a:gd name="T11" fmla="*/ 33 h 33"/>
                  <a:gd name="T12" fmla="*/ 16 w 32"/>
                  <a:gd name="T13" fmla="*/ 8 h 33"/>
                  <a:gd name="T14" fmla="*/ 12 w 32"/>
                  <a:gd name="T15" fmla="*/ 9 h 33"/>
                  <a:gd name="T16" fmla="*/ 7 w 32"/>
                  <a:gd name="T17" fmla="*/ 17 h 33"/>
                  <a:gd name="T18" fmla="*/ 16 w 32"/>
                  <a:gd name="T19" fmla="*/ 26 h 33"/>
                  <a:gd name="T20" fmla="*/ 25 w 32"/>
                  <a:gd name="T21" fmla="*/ 17 h 33"/>
                  <a:gd name="T22" fmla="*/ 22 w 32"/>
                  <a:gd name="T23" fmla="*/ 10 h 33"/>
                  <a:gd name="T24" fmla="*/ 16 w 32"/>
                  <a:gd name="T25" fmla="*/ 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3">
                    <a:moveTo>
                      <a:pt x="16" y="33"/>
                    </a:moveTo>
                    <a:cubicBezTo>
                      <a:pt x="7" y="33"/>
                      <a:pt x="0" y="26"/>
                      <a:pt x="0" y="17"/>
                    </a:cubicBezTo>
                    <a:cubicBezTo>
                      <a:pt x="0" y="11"/>
                      <a:pt x="4" y="6"/>
                      <a:pt x="9" y="3"/>
                    </a:cubicBezTo>
                    <a:cubicBezTo>
                      <a:pt x="15" y="0"/>
                      <a:pt x="21" y="1"/>
                      <a:pt x="26" y="5"/>
                    </a:cubicBezTo>
                    <a:cubicBezTo>
                      <a:pt x="30" y="8"/>
                      <a:pt x="32" y="12"/>
                      <a:pt x="32" y="17"/>
                    </a:cubicBezTo>
                    <a:cubicBezTo>
                      <a:pt x="32" y="26"/>
                      <a:pt x="25" y="33"/>
                      <a:pt x="16" y="33"/>
                    </a:cubicBezTo>
                    <a:close/>
                    <a:moveTo>
                      <a:pt x="16" y="8"/>
                    </a:moveTo>
                    <a:cubicBezTo>
                      <a:pt x="15" y="8"/>
                      <a:pt x="13" y="8"/>
                      <a:pt x="12" y="9"/>
                    </a:cubicBezTo>
                    <a:cubicBezTo>
                      <a:pt x="9" y="11"/>
                      <a:pt x="7" y="14"/>
                      <a:pt x="7" y="17"/>
                    </a:cubicBezTo>
                    <a:cubicBezTo>
                      <a:pt x="7" y="22"/>
                      <a:pt x="11" y="26"/>
                      <a:pt x="16" y="26"/>
                    </a:cubicBezTo>
                    <a:cubicBezTo>
                      <a:pt x="21" y="26"/>
                      <a:pt x="25" y="22"/>
                      <a:pt x="25" y="17"/>
                    </a:cubicBezTo>
                    <a:cubicBezTo>
                      <a:pt x="25" y="14"/>
                      <a:pt x="24" y="12"/>
                      <a:pt x="22" y="10"/>
                    </a:cubicBezTo>
                    <a:cubicBezTo>
                      <a:pt x="20" y="9"/>
                      <a:pt x="18" y="8"/>
                      <a:pt x="1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</p:grpSp>
      </p:grpSp>
      <p:pic>
        <p:nvPicPr>
          <p:cNvPr id="6" name="Imagem 5" descr="Fundo preto com letras brancas&#10;&#10;Descrição gerada automaticamente">
            <a:extLst>
              <a:ext uri="{FF2B5EF4-FFF2-40B4-BE49-F238E27FC236}">
                <a16:creationId xmlns:a16="http://schemas.microsoft.com/office/drawing/2014/main" id="{D8366064-C2AD-4704-A33B-91600909D2C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016" t="89478"/>
          <a:stretch/>
        </p:blipFill>
        <p:spPr>
          <a:xfrm>
            <a:off x="10851614" y="6136394"/>
            <a:ext cx="1338862" cy="721605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68A73D8A-7F39-4750-B2B5-3BD804872EC5}"/>
              </a:ext>
            </a:extLst>
          </p:cNvPr>
          <p:cNvSpPr txBox="1"/>
          <p:nvPr/>
        </p:nvSpPr>
        <p:spPr>
          <a:xfrm>
            <a:off x="869835" y="942244"/>
            <a:ext cx="3128807" cy="8102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54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Título e</a:t>
            </a:r>
            <a:endParaRPr lang="pt-BR" sz="54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127098C7-7EB1-4CBF-B0C0-37DF25403E74}"/>
              </a:ext>
            </a:extLst>
          </p:cNvPr>
          <p:cNvSpPr txBox="1"/>
          <p:nvPr/>
        </p:nvSpPr>
        <p:spPr>
          <a:xfrm>
            <a:off x="821710" y="1573508"/>
            <a:ext cx="4068588" cy="105604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72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estaque</a:t>
            </a:r>
          </a:p>
        </p:txBody>
      </p:sp>
      <p:sp>
        <p:nvSpPr>
          <p:cNvPr id="36" name="Freeform 5">
            <a:extLst>
              <a:ext uri="{FF2B5EF4-FFF2-40B4-BE49-F238E27FC236}">
                <a16:creationId xmlns:a16="http://schemas.microsoft.com/office/drawing/2014/main" id="{EA5DECF5-86FA-43BE-81EE-23AFBB35AE09}"/>
              </a:ext>
            </a:extLst>
          </p:cNvPr>
          <p:cNvSpPr>
            <a:spLocks/>
          </p:cNvSpPr>
          <p:nvPr/>
        </p:nvSpPr>
        <p:spPr bwMode="auto">
          <a:xfrm>
            <a:off x="3376923" y="2728151"/>
            <a:ext cx="3173581" cy="786804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rgbClr val="FF7020">
              <a:alpha val="7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33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71FA579F-9F66-4A9B-A30D-7DCAF6DB4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88976" cy="6858014"/>
          </a:xfrm>
          <a:prstGeom prst="rect">
            <a:avLst/>
          </a:prstGeom>
        </p:spPr>
      </p:pic>
      <p:sp>
        <p:nvSpPr>
          <p:cNvPr id="3" name="Freeform 5">
            <a:extLst>
              <a:ext uri="{FF2B5EF4-FFF2-40B4-BE49-F238E27FC236}">
                <a16:creationId xmlns:a16="http://schemas.microsoft.com/office/drawing/2014/main" id="{E7F38FEA-78D4-44AC-B842-63B978E020A6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93869BDF-FE87-41D8-878D-97261791962D}"/>
              </a:ext>
            </a:extLst>
          </p:cNvPr>
          <p:cNvSpPr txBox="1"/>
          <p:nvPr/>
        </p:nvSpPr>
        <p:spPr>
          <a:xfrm>
            <a:off x="759980" y="3168185"/>
            <a:ext cx="3651356" cy="6025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Titulo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AA0BB070-4EA4-4EC9-B268-8F4E750BF1F6}"/>
              </a:ext>
            </a:extLst>
          </p:cNvPr>
          <p:cNvSpPr/>
          <p:nvPr/>
        </p:nvSpPr>
        <p:spPr>
          <a:xfrm>
            <a:off x="5688591" y="3049135"/>
            <a:ext cx="6207460" cy="1007940"/>
          </a:xfrm>
          <a:prstGeom prst="roundRect">
            <a:avLst>
              <a:gd name="adj" fmla="val 50000"/>
            </a:avLst>
          </a:prstGeom>
          <a:solidFill>
            <a:srgbClr val="FF7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72744CD0-6926-4267-ABBA-D97A8287CF8E}"/>
              </a:ext>
            </a:extLst>
          </p:cNvPr>
          <p:cNvSpPr txBox="1"/>
          <p:nvPr/>
        </p:nvSpPr>
        <p:spPr>
          <a:xfrm>
            <a:off x="6143399" y="3237435"/>
            <a:ext cx="5515201" cy="6025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destaque</a:t>
            </a:r>
          </a:p>
        </p:txBody>
      </p:sp>
      <p:pic>
        <p:nvPicPr>
          <p:cNvPr id="9" name="Imagem 8" descr="Uma imagem contendo computer&#10;&#10;Descrição gerada automaticamente">
            <a:extLst>
              <a:ext uri="{FF2B5EF4-FFF2-40B4-BE49-F238E27FC236}">
                <a16:creationId xmlns:a16="http://schemas.microsoft.com/office/drawing/2014/main" id="{0564F3C8-648F-4BF1-B04A-40AD3F175F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03" t="42963" r="49611" b="37566"/>
          <a:stretch/>
        </p:blipFill>
        <p:spPr>
          <a:xfrm>
            <a:off x="5109028" y="2946400"/>
            <a:ext cx="1034371" cy="1335314"/>
          </a:xfrm>
          <a:prstGeom prst="rect">
            <a:avLst/>
          </a:prstGeom>
        </p:spPr>
      </p:pic>
      <p:sp>
        <p:nvSpPr>
          <p:cNvPr id="10" name="Freeform 5">
            <a:extLst>
              <a:ext uri="{FF2B5EF4-FFF2-40B4-BE49-F238E27FC236}">
                <a16:creationId xmlns:a16="http://schemas.microsoft.com/office/drawing/2014/main" id="{E01D0046-EA48-4D6B-9935-25E3DB553902}"/>
              </a:ext>
            </a:extLst>
          </p:cNvPr>
          <p:cNvSpPr>
            <a:spLocks/>
          </p:cNvSpPr>
          <p:nvPr/>
        </p:nvSpPr>
        <p:spPr bwMode="auto">
          <a:xfrm>
            <a:off x="3812019" y="3888312"/>
            <a:ext cx="3173581" cy="786804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515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2.96296E-6 L 0.0457 2.96296E-6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11" grpId="0" animBg="1"/>
      <p:bldP spid="12" grpId="0"/>
      <p:bldP spid="1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C64492A2-B849-476F-8DCD-8DF552F464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88976" cy="6858014"/>
          </a:xfrm>
          <a:prstGeom prst="rect">
            <a:avLst/>
          </a:prstGeom>
        </p:spPr>
      </p:pic>
      <p:sp>
        <p:nvSpPr>
          <p:cNvPr id="10" name="Freeform 5">
            <a:extLst>
              <a:ext uri="{FF2B5EF4-FFF2-40B4-BE49-F238E27FC236}">
                <a16:creationId xmlns:a16="http://schemas.microsoft.com/office/drawing/2014/main" id="{172CDFBE-361C-4C74-A5A0-097CFA47A458}"/>
              </a:ext>
            </a:extLst>
          </p:cNvPr>
          <p:cNvSpPr>
            <a:spLocks noEditPoints="1"/>
          </p:cNvSpPr>
          <p:nvPr/>
        </p:nvSpPr>
        <p:spPr bwMode="auto">
          <a:xfrm>
            <a:off x="3727381" y="2489018"/>
            <a:ext cx="4737238" cy="1879964"/>
          </a:xfrm>
          <a:custGeom>
            <a:avLst/>
            <a:gdLst>
              <a:gd name="T0" fmla="*/ 5104 w 5144"/>
              <a:gd name="T1" fmla="*/ 769 h 2039"/>
              <a:gd name="T2" fmla="*/ 4809 w 5144"/>
              <a:gd name="T3" fmla="*/ 971 h 2039"/>
              <a:gd name="T4" fmla="*/ 4403 w 5144"/>
              <a:gd name="T5" fmla="*/ 584 h 2039"/>
              <a:gd name="T6" fmla="*/ 4698 w 5144"/>
              <a:gd name="T7" fmla="*/ 476 h 2039"/>
              <a:gd name="T8" fmla="*/ 4573 w 5144"/>
              <a:gd name="T9" fmla="*/ 297 h 2039"/>
              <a:gd name="T10" fmla="*/ 4413 w 5144"/>
              <a:gd name="T11" fmla="*/ 880 h 2039"/>
              <a:gd name="T12" fmla="*/ 4571 w 5144"/>
              <a:gd name="T13" fmla="*/ 1135 h 2039"/>
              <a:gd name="T14" fmla="*/ 4254 w 5144"/>
              <a:gd name="T15" fmla="*/ 1128 h 2039"/>
              <a:gd name="T16" fmla="*/ 4321 w 5144"/>
              <a:gd name="T17" fmla="*/ 1316 h 2039"/>
              <a:gd name="T18" fmla="*/ 810 w 5144"/>
              <a:gd name="T19" fmla="*/ 1310 h 2039"/>
              <a:gd name="T20" fmla="*/ 1023 w 5144"/>
              <a:gd name="T21" fmla="*/ 709 h 2039"/>
              <a:gd name="T22" fmla="*/ 594 w 5144"/>
              <a:gd name="T23" fmla="*/ 347 h 2039"/>
              <a:gd name="T24" fmla="*/ 1006 w 5144"/>
              <a:gd name="T25" fmla="*/ 204 h 2039"/>
              <a:gd name="T26" fmla="*/ 987 w 5144"/>
              <a:gd name="T27" fmla="*/ 18 h 2039"/>
              <a:gd name="T28" fmla="*/ 336 w 5144"/>
              <a:gd name="T29" fmla="*/ 363 h 2039"/>
              <a:gd name="T30" fmla="*/ 873 w 5144"/>
              <a:gd name="T31" fmla="*/ 983 h 2039"/>
              <a:gd name="T32" fmla="*/ 476 w 5144"/>
              <a:gd name="T33" fmla="*/ 1117 h 2039"/>
              <a:gd name="T34" fmla="*/ 30 w 5144"/>
              <a:gd name="T35" fmla="*/ 758 h 2039"/>
              <a:gd name="T36" fmla="*/ 0 w 5144"/>
              <a:gd name="T37" fmla="*/ 849 h 2039"/>
              <a:gd name="T38" fmla="*/ 2572 w 5144"/>
              <a:gd name="T39" fmla="*/ 2039 h 2039"/>
              <a:gd name="T40" fmla="*/ 5144 w 5144"/>
              <a:gd name="T41" fmla="*/ 849 h 2039"/>
              <a:gd name="T42" fmla="*/ 2676 w 5144"/>
              <a:gd name="T43" fmla="*/ 325 h 2039"/>
              <a:gd name="T44" fmla="*/ 2597 w 5144"/>
              <a:gd name="T45" fmla="*/ 1298 h 2039"/>
              <a:gd name="T46" fmla="*/ 2789 w 5144"/>
              <a:gd name="T47" fmla="*/ 417 h 2039"/>
              <a:gd name="T48" fmla="*/ 1400 w 5144"/>
              <a:gd name="T49" fmla="*/ 1298 h 2039"/>
              <a:gd name="T50" fmla="*/ 1592 w 5144"/>
              <a:gd name="T51" fmla="*/ 475 h 2039"/>
              <a:gd name="T52" fmla="*/ 1698 w 5144"/>
              <a:gd name="T53" fmla="*/ 1228 h 2039"/>
              <a:gd name="T54" fmla="*/ 1942 w 5144"/>
              <a:gd name="T55" fmla="*/ 1230 h 2039"/>
              <a:gd name="T56" fmla="*/ 2153 w 5144"/>
              <a:gd name="T57" fmla="*/ 496 h 2039"/>
              <a:gd name="T58" fmla="*/ 2241 w 5144"/>
              <a:gd name="T59" fmla="*/ 1299 h 2039"/>
              <a:gd name="T60" fmla="*/ 2445 w 5144"/>
              <a:gd name="T61" fmla="*/ 700 h 2039"/>
              <a:gd name="T62" fmla="*/ 1908 w 5144"/>
              <a:gd name="T63" fmla="*/ 476 h 2039"/>
              <a:gd name="T64" fmla="*/ 1439 w 5144"/>
              <a:gd name="T65" fmla="*/ 417 h 2039"/>
              <a:gd name="T66" fmla="*/ 1209 w 5144"/>
              <a:gd name="T67" fmla="*/ 416 h 2039"/>
              <a:gd name="T68" fmla="*/ 3788 w 5144"/>
              <a:gd name="T69" fmla="*/ 1334 h 2039"/>
              <a:gd name="T70" fmla="*/ 4057 w 5144"/>
              <a:gd name="T71" fmla="*/ 1212 h 2039"/>
              <a:gd name="T72" fmla="*/ 3849 w 5144"/>
              <a:gd name="T73" fmla="*/ 1170 h 2039"/>
              <a:gd name="T74" fmla="*/ 3583 w 5144"/>
              <a:gd name="T75" fmla="*/ 937 h 2039"/>
              <a:gd name="T76" fmla="*/ 4119 w 5144"/>
              <a:gd name="T77" fmla="*/ 524 h 2039"/>
              <a:gd name="T78" fmla="*/ 3335 w 5144"/>
              <a:gd name="T79" fmla="*/ 933 h 2039"/>
              <a:gd name="T80" fmla="*/ 3779 w 5144"/>
              <a:gd name="T81" fmla="*/ 434 h 2039"/>
              <a:gd name="T82" fmla="*/ 3842 w 5144"/>
              <a:gd name="T83" fmla="*/ 700 h 2039"/>
              <a:gd name="T84" fmla="*/ 3162 w 5144"/>
              <a:gd name="T85" fmla="*/ 1335 h 2039"/>
              <a:gd name="T86" fmla="*/ 3362 w 5144"/>
              <a:gd name="T87" fmla="*/ 1221 h 2039"/>
              <a:gd name="T88" fmla="*/ 3254 w 5144"/>
              <a:gd name="T89" fmla="*/ 1166 h 2039"/>
              <a:gd name="T90" fmla="*/ 3135 w 5144"/>
              <a:gd name="T91" fmla="*/ 963 h 2039"/>
              <a:gd name="T92" fmla="*/ 2944 w 5144"/>
              <a:gd name="T93" fmla="*/ 26 h 2039"/>
              <a:gd name="T94" fmla="*/ 3162 w 5144"/>
              <a:gd name="T95" fmla="*/ 1335 h 2039"/>
              <a:gd name="T96" fmla="*/ 2552 w 5144"/>
              <a:gd name="T97" fmla="*/ 127 h 2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44" h="2039">
                <a:moveTo>
                  <a:pt x="5139" y="766"/>
                </a:moveTo>
                <a:cubicBezTo>
                  <a:pt x="5138" y="760"/>
                  <a:pt x="5134" y="756"/>
                  <a:pt x="5129" y="754"/>
                </a:cubicBezTo>
                <a:cubicBezTo>
                  <a:pt x="5124" y="753"/>
                  <a:pt x="5118" y="754"/>
                  <a:pt x="5114" y="758"/>
                </a:cubicBezTo>
                <a:cubicBezTo>
                  <a:pt x="5114" y="758"/>
                  <a:pt x="5111" y="762"/>
                  <a:pt x="5104" y="769"/>
                </a:cubicBezTo>
                <a:cubicBezTo>
                  <a:pt x="5098" y="776"/>
                  <a:pt x="5087" y="786"/>
                  <a:pt x="5074" y="799"/>
                </a:cubicBezTo>
                <a:cubicBezTo>
                  <a:pt x="5046" y="825"/>
                  <a:pt x="5006" y="863"/>
                  <a:pt x="4951" y="908"/>
                </a:cubicBezTo>
                <a:cubicBezTo>
                  <a:pt x="4913" y="940"/>
                  <a:pt x="4867" y="976"/>
                  <a:pt x="4815" y="1014"/>
                </a:cubicBezTo>
                <a:cubicBezTo>
                  <a:pt x="4814" y="999"/>
                  <a:pt x="4812" y="985"/>
                  <a:pt x="4809" y="971"/>
                </a:cubicBezTo>
                <a:cubicBezTo>
                  <a:pt x="4795" y="915"/>
                  <a:pt x="4762" y="872"/>
                  <a:pt x="4722" y="838"/>
                </a:cubicBezTo>
                <a:cubicBezTo>
                  <a:pt x="4662" y="787"/>
                  <a:pt x="4585" y="753"/>
                  <a:pt x="4522" y="716"/>
                </a:cubicBezTo>
                <a:cubicBezTo>
                  <a:pt x="4490" y="698"/>
                  <a:pt x="4462" y="679"/>
                  <a:pt x="4441" y="658"/>
                </a:cubicBezTo>
                <a:cubicBezTo>
                  <a:pt x="4420" y="636"/>
                  <a:pt x="4407" y="613"/>
                  <a:pt x="4403" y="584"/>
                </a:cubicBezTo>
                <a:cubicBezTo>
                  <a:pt x="4402" y="579"/>
                  <a:pt x="4401" y="574"/>
                  <a:pt x="4401" y="568"/>
                </a:cubicBezTo>
                <a:cubicBezTo>
                  <a:pt x="4402" y="539"/>
                  <a:pt x="4413" y="508"/>
                  <a:pt x="4437" y="484"/>
                </a:cubicBezTo>
                <a:cubicBezTo>
                  <a:pt x="4449" y="472"/>
                  <a:pt x="4488" y="447"/>
                  <a:pt x="4542" y="447"/>
                </a:cubicBezTo>
                <a:cubicBezTo>
                  <a:pt x="4609" y="447"/>
                  <a:pt x="4666" y="476"/>
                  <a:pt x="4698" y="476"/>
                </a:cubicBezTo>
                <a:cubicBezTo>
                  <a:pt x="4734" y="477"/>
                  <a:pt x="4765" y="456"/>
                  <a:pt x="4774" y="421"/>
                </a:cubicBezTo>
                <a:cubicBezTo>
                  <a:pt x="4776" y="414"/>
                  <a:pt x="4777" y="407"/>
                  <a:pt x="4777" y="400"/>
                </a:cubicBezTo>
                <a:cubicBezTo>
                  <a:pt x="4777" y="359"/>
                  <a:pt x="4744" y="323"/>
                  <a:pt x="4699" y="311"/>
                </a:cubicBezTo>
                <a:cubicBezTo>
                  <a:pt x="4699" y="311"/>
                  <a:pt x="4658" y="297"/>
                  <a:pt x="4573" y="297"/>
                </a:cubicBezTo>
                <a:cubicBezTo>
                  <a:pt x="4453" y="297"/>
                  <a:pt x="4356" y="327"/>
                  <a:pt x="4287" y="379"/>
                </a:cubicBezTo>
                <a:cubicBezTo>
                  <a:pt x="4218" y="431"/>
                  <a:pt x="4179" y="506"/>
                  <a:pt x="4179" y="592"/>
                </a:cubicBezTo>
                <a:cubicBezTo>
                  <a:pt x="4179" y="615"/>
                  <a:pt x="4182" y="640"/>
                  <a:pt x="4188" y="665"/>
                </a:cubicBezTo>
                <a:cubicBezTo>
                  <a:pt x="4214" y="771"/>
                  <a:pt x="4317" y="828"/>
                  <a:pt x="4413" y="880"/>
                </a:cubicBezTo>
                <a:cubicBezTo>
                  <a:pt x="4461" y="905"/>
                  <a:pt x="4508" y="929"/>
                  <a:pt x="4543" y="956"/>
                </a:cubicBezTo>
                <a:cubicBezTo>
                  <a:pt x="4579" y="982"/>
                  <a:pt x="4601" y="1009"/>
                  <a:pt x="4606" y="1041"/>
                </a:cubicBezTo>
                <a:cubicBezTo>
                  <a:pt x="4607" y="1046"/>
                  <a:pt x="4607" y="1052"/>
                  <a:pt x="4607" y="1057"/>
                </a:cubicBezTo>
                <a:cubicBezTo>
                  <a:pt x="4607" y="1086"/>
                  <a:pt x="4595" y="1113"/>
                  <a:pt x="4571" y="1135"/>
                </a:cubicBezTo>
                <a:cubicBezTo>
                  <a:pt x="4545" y="1155"/>
                  <a:pt x="4506" y="1170"/>
                  <a:pt x="4451" y="1171"/>
                </a:cubicBezTo>
                <a:cubicBezTo>
                  <a:pt x="4445" y="1171"/>
                  <a:pt x="4445" y="1171"/>
                  <a:pt x="4445" y="1171"/>
                </a:cubicBezTo>
                <a:cubicBezTo>
                  <a:pt x="4385" y="1171"/>
                  <a:pt x="4333" y="1154"/>
                  <a:pt x="4299" y="1139"/>
                </a:cubicBezTo>
                <a:cubicBezTo>
                  <a:pt x="4284" y="1131"/>
                  <a:pt x="4268" y="1128"/>
                  <a:pt x="4254" y="1128"/>
                </a:cubicBezTo>
                <a:cubicBezTo>
                  <a:pt x="4217" y="1127"/>
                  <a:pt x="4187" y="1152"/>
                  <a:pt x="4183" y="1189"/>
                </a:cubicBezTo>
                <a:cubicBezTo>
                  <a:pt x="4182" y="1192"/>
                  <a:pt x="4182" y="1196"/>
                  <a:pt x="4182" y="1199"/>
                </a:cubicBezTo>
                <a:cubicBezTo>
                  <a:pt x="4182" y="1225"/>
                  <a:pt x="4196" y="1247"/>
                  <a:pt x="4214" y="1263"/>
                </a:cubicBezTo>
                <a:cubicBezTo>
                  <a:pt x="4243" y="1288"/>
                  <a:pt x="4283" y="1305"/>
                  <a:pt x="4321" y="1316"/>
                </a:cubicBezTo>
                <a:cubicBezTo>
                  <a:pt x="3899" y="1529"/>
                  <a:pt x="3313" y="1721"/>
                  <a:pt x="2572" y="1721"/>
                </a:cubicBezTo>
                <a:cubicBezTo>
                  <a:pt x="2572" y="1721"/>
                  <a:pt x="2572" y="1721"/>
                  <a:pt x="2572" y="1721"/>
                </a:cubicBezTo>
                <a:cubicBezTo>
                  <a:pt x="2572" y="1721"/>
                  <a:pt x="2572" y="1721"/>
                  <a:pt x="2572" y="1721"/>
                </a:cubicBezTo>
                <a:cubicBezTo>
                  <a:pt x="1824" y="1721"/>
                  <a:pt x="1233" y="1525"/>
                  <a:pt x="810" y="1310"/>
                </a:cubicBezTo>
                <a:cubicBezTo>
                  <a:pt x="898" y="1293"/>
                  <a:pt x="968" y="1258"/>
                  <a:pt x="1020" y="1210"/>
                </a:cubicBezTo>
                <a:cubicBezTo>
                  <a:pt x="1095" y="1142"/>
                  <a:pt x="1132" y="1050"/>
                  <a:pt x="1132" y="955"/>
                </a:cubicBezTo>
                <a:cubicBezTo>
                  <a:pt x="1132" y="933"/>
                  <a:pt x="1130" y="911"/>
                  <a:pt x="1126" y="889"/>
                </a:cubicBezTo>
                <a:cubicBezTo>
                  <a:pt x="1113" y="815"/>
                  <a:pt x="1073" y="757"/>
                  <a:pt x="1023" y="709"/>
                </a:cubicBezTo>
                <a:cubicBezTo>
                  <a:pt x="946" y="638"/>
                  <a:pt x="843" y="588"/>
                  <a:pt x="758" y="537"/>
                </a:cubicBezTo>
                <a:cubicBezTo>
                  <a:pt x="715" y="512"/>
                  <a:pt x="677" y="487"/>
                  <a:pt x="648" y="460"/>
                </a:cubicBezTo>
                <a:cubicBezTo>
                  <a:pt x="620" y="434"/>
                  <a:pt x="601" y="405"/>
                  <a:pt x="596" y="374"/>
                </a:cubicBezTo>
                <a:cubicBezTo>
                  <a:pt x="594" y="365"/>
                  <a:pt x="594" y="356"/>
                  <a:pt x="594" y="347"/>
                </a:cubicBezTo>
                <a:cubicBezTo>
                  <a:pt x="594" y="306"/>
                  <a:pt x="609" y="263"/>
                  <a:pt x="643" y="230"/>
                </a:cubicBezTo>
                <a:cubicBezTo>
                  <a:pt x="678" y="197"/>
                  <a:pt x="731" y="173"/>
                  <a:pt x="810" y="172"/>
                </a:cubicBezTo>
                <a:cubicBezTo>
                  <a:pt x="852" y="172"/>
                  <a:pt x="902" y="179"/>
                  <a:pt x="960" y="196"/>
                </a:cubicBezTo>
                <a:cubicBezTo>
                  <a:pt x="977" y="201"/>
                  <a:pt x="992" y="204"/>
                  <a:pt x="1006" y="204"/>
                </a:cubicBezTo>
                <a:cubicBezTo>
                  <a:pt x="1046" y="204"/>
                  <a:pt x="1075" y="182"/>
                  <a:pt x="1087" y="151"/>
                </a:cubicBezTo>
                <a:cubicBezTo>
                  <a:pt x="1092" y="139"/>
                  <a:pt x="1094" y="128"/>
                  <a:pt x="1094" y="117"/>
                </a:cubicBezTo>
                <a:cubicBezTo>
                  <a:pt x="1094" y="90"/>
                  <a:pt x="1080" y="67"/>
                  <a:pt x="1060" y="51"/>
                </a:cubicBezTo>
                <a:cubicBezTo>
                  <a:pt x="1040" y="35"/>
                  <a:pt x="1014" y="24"/>
                  <a:pt x="987" y="18"/>
                </a:cubicBezTo>
                <a:cubicBezTo>
                  <a:pt x="933" y="7"/>
                  <a:pt x="875" y="0"/>
                  <a:pt x="813" y="0"/>
                </a:cubicBezTo>
                <a:cubicBezTo>
                  <a:pt x="812" y="0"/>
                  <a:pt x="812" y="0"/>
                  <a:pt x="812" y="0"/>
                </a:cubicBezTo>
                <a:cubicBezTo>
                  <a:pt x="648" y="0"/>
                  <a:pt x="529" y="46"/>
                  <a:pt x="451" y="115"/>
                </a:cubicBezTo>
                <a:cubicBezTo>
                  <a:pt x="373" y="184"/>
                  <a:pt x="336" y="276"/>
                  <a:pt x="336" y="363"/>
                </a:cubicBezTo>
                <a:cubicBezTo>
                  <a:pt x="336" y="382"/>
                  <a:pt x="338" y="402"/>
                  <a:pt x="342" y="420"/>
                </a:cubicBezTo>
                <a:cubicBezTo>
                  <a:pt x="366" y="548"/>
                  <a:pt x="471" y="629"/>
                  <a:pt x="577" y="695"/>
                </a:cubicBezTo>
                <a:cubicBezTo>
                  <a:pt x="685" y="761"/>
                  <a:pt x="796" y="815"/>
                  <a:pt x="839" y="875"/>
                </a:cubicBezTo>
                <a:cubicBezTo>
                  <a:pt x="862" y="907"/>
                  <a:pt x="873" y="946"/>
                  <a:pt x="873" y="983"/>
                </a:cubicBezTo>
                <a:cubicBezTo>
                  <a:pt x="873" y="1021"/>
                  <a:pt x="861" y="1057"/>
                  <a:pt x="840" y="1083"/>
                </a:cubicBezTo>
                <a:cubicBezTo>
                  <a:pt x="800" y="1132"/>
                  <a:pt x="724" y="1165"/>
                  <a:pt x="642" y="1165"/>
                </a:cubicBezTo>
                <a:cubicBezTo>
                  <a:pt x="590" y="1165"/>
                  <a:pt x="536" y="1152"/>
                  <a:pt x="487" y="1123"/>
                </a:cubicBezTo>
                <a:cubicBezTo>
                  <a:pt x="484" y="1121"/>
                  <a:pt x="477" y="1117"/>
                  <a:pt x="476" y="1117"/>
                </a:cubicBezTo>
                <a:cubicBezTo>
                  <a:pt x="359" y="1040"/>
                  <a:pt x="264" y="967"/>
                  <a:pt x="193" y="908"/>
                </a:cubicBezTo>
                <a:cubicBezTo>
                  <a:pt x="138" y="863"/>
                  <a:pt x="98" y="825"/>
                  <a:pt x="70" y="799"/>
                </a:cubicBezTo>
                <a:cubicBezTo>
                  <a:pt x="57" y="786"/>
                  <a:pt x="46" y="776"/>
                  <a:pt x="40" y="769"/>
                </a:cubicBezTo>
                <a:cubicBezTo>
                  <a:pt x="33" y="762"/>
                  <a:pt x="30" y="758"/>
                  <a:pt x="30" y="758"/>
                </a:cubicBezTo>
                <a:cubicBezTo>
                  <a:pt x="26" y="754"/>
                  <a:pt x="20" y="753"/>
                  <a:pt x="15" y="754"/>
                </a:cubicBezTo>
                <a:cubicBezTo>
                  <a:pt x="10" y="756"/>
                  <a:pt x="6" y="760"/>
                  <a:pt x="5" y="766"/>
                </a:cubicBezTo>
                <a:cubicBezTo>
                  <a:pt x="2" y="786"/>
                  <a:pt x="0" y="812"/>
                  <a:pt x="0" y="843"/>
                </a:cubicBezTo>
                <a:cubicBezTo>
                  <a:pt x="0" y="849"/>
                  <a:pt x="0" y="849"/>
                  <a:pt x="0" y="849"/>
                </a:cubicBezTo>
                <a:cubicBezTo>
                  <a:pt x="0" y="852"/>
                  <a:pt x="0" y="852"/>
                  <a:pt x="0" y="852"/>
                </a:cubicBezTo>
                <a:cubicBezTo>
                  <a:pt x="2" y="929"/>
                  <a:pt x="28" y="989"/>
                  <a:pt x="98" y="1055"/>
                </a:cubicBezTo>
                <a:cubicBezTo>
                  <a:pt x="115" y="1072"/>
                  <a:pt x="1058" y="2039"/>
                  <a:pt x="2572" y="2039"/>
                </a:cubicBezTo>
                <a:cubicBezTo>
                  <a:pt x="2572" y="2039"/>
                  <a:pt x="2572" y="2039"/>
                  <a:pt x="2572" y="2039"/>
                </a:cubicBezTo>
                <a:cubicBezTo>
                  <a:pt x="2572" y="2039"/>
                  <a:pt x="2572" y="2039"/>
                  <a:pt x="2572" y="2039"/>
                </a:cubicBezTo>
                <a:cubicBezTo>
                  <a:pt x="4086" y="2039"/>
                  <a:pt x="5029" y="1072"/>
                  <a:pt x="5046" y="1055"/>
                </a:cubicBezTo>
                <a:cubicBezTo>
                  <a:pt x="5116" y="989"/>
                  <a:pt x="5142" y="929"/>
                  <a:pt x="5144" y="852"/>
                </a:cubicBezTo>
                <a:cubicBezTo>
                  <a:pt x="5144" y="849"/>
                  <a:pt x="5144" y="849"/>
                  <a:pt x="5144" y="849"/>
                </a:cubicBezTo>
                <a:cubicBezTo>
                  <a:pt x="5144" y="843"/>
                  <a:pt x="5144" y="843"/>
                  <a:pt x="5144" y="843"/>
                </a:cubicBezTo>
                <a:cubicBezTo>
                  <a:pt x="5144" y="812"/>
                  <a:pt x="5142" y="786"/>
                  <a:pt x="5139" y="766"/>
                </a:cubicBezTo>
                <a:moveTo>
                  <a:pt x="2752" y="347"/>
                </a:moveTo>
                <a:cubicBezTo>
                  <a:pt x="2730" y="332"/>
                  <a:pt x="2703" y="325"/>
                  <a:pt x="2676" y="325"/>
                </a:cubicBezTo>
                <a:cubicBezTo>
                  <a:pt x="2648" y="325"/>
                  <a:pt x="2620" y="332"/>
                  <a:pt x="2598" y="347"/>
                </a:cubicBezTo>
                <a:cubicBezTo>
                  <a:pt x="2576" y="361"/>
                  <a:pt x="2559" y="385"/>
                  <a:pt x="2559" y="416"/>
                </a:cubicBezTo>
                <a:cubicBezTo>
                  <a:pt x="2559" y="1228"/>
                  <a:pt x="2559" y="1228"/>
                  <a:pt x="2559" y="1228"/>
                </a:cubicBezTo>
                <a:cubicBezTo>
                  <a:pt x="2559" y="1259"/>
                  <a:pt x="2575" y="1284"/>
                  <a:pt x="2597" y="1298"/>
                </a:cubicBezTo>
                <a:cubicBezTo>
                  <a:pt x="2619" y="1313"/>
                  <a:pt x="2646" y="1320"/>
                  <a:pt x="2673" y="1320"/>
                </a:cubicBezTo>
                <a:cubicBezTo>
                  <a:pt x="2701" y="1320"/>
                  <a:pt x="2729" y="1313"/>
                  <a:pt x="2751" y="1298"/>
                </a:cubicBezTo>
                <a:cubicBezTo>
                  <a:pt x="2773" y="1284"/>
                  <a:pt x="2790" y="1260"/>
                  <a:pt x="2789" y="1230"/>
                </a:cubicBezTo>
                <a:cubicBezTo>
                  <a:pt x="2789" y="1230"/>
                  <a:pt x="2789" y="439"/>
                  <a:pt x="2789" y="417"/>
                </a:cubicBezTo>
                <a:cubicBezTo>
                  <a:pt x="2790" y="386"/>
                  <a:pt x="2774" y="362"/>
                  <a:pt x="2752" y="347"/>
                </a:cubicBezTo>
                <a:moveTo>
                  <a:pt x="1246" y="1298"/>
                </a:moveTo>
                <a:cubicBezTo>
                  <a:pt x="1268" y="1313"/>
                  <a:pt x="1295" y="1320"/>
                  <a:pt x="1323" y="1320"/>
                </a:cubicBezTo>
                <a:cubicBezTo>
                  <a:pt x="1350" y="1320"/>
                  <a:pt x="1378" y="1313"/>
                  <a:pt x="1400" y="1298"/>
                </a:cubicBezTo>
                <a:cubicBezTo>
                  <a:pt x="1423" y="1284"/>
                  <a:pt x="1439" y="1260"/>
                  <a:pt x="1439" y="1230"/>
                </a:cubicBezTo>
                <a:cubicBezTo>
                  <a:pt x="1439" y="1230"/>
                  <a:pt x="1439" y="693"/>
                  <a:pt x="1439" y="690"/>
                </a:cubicBezTo>
                <a:cubicBezTo>
                  <a:pt x="1441" y="649"/>
                  <a:pt x="1452" y="593"/>
                  <a:pt x="1476" y="549"/>
                </a:cubicBezTo>
                <a:cubicBezTo>
                  <a:pt x="1501" y="506"/>
                  <a:pt x="1537" y="475"/>
                  <a:pt x="1592" y="475"/>
                </a:cubicBezTo>
                <a:cubicBezTo>
                  <a:pt x="1618" y="475"/>
                  <a:pt x="1636" y="483"/>
                  <a:pt x="1650" y="496"/>
                </a:cubicBezTo>
                <a:cubicBezTo>
                  <a:pt x="1671" y="515"/>
                  <a:pt x="1684" y="548"/>
                  <a:pt x="1691" y="581"/>
                </a:cubicBezTo>
                <a:cubicBezTo>
                  <a:pt x="1697" y="615"/>
                  <a:pt x="1698" y="648"/>
                  <a:pt x="1698" y="666"/>
                </a:cubicBezTo>
                <a:cubicBezTo>
                  <a:pt x="1698" y="671"/>
                  <a:pt x="1698" y="1214"/>
                  <a:pt x="1698" y="1228"/>
                </a:cubicBezTo>
                <a:cubicBezTo>
                  <a:pt x="1698" y="1260"/>
                  <a:pt x="1715" y="1284"/>
                  <a:pt x="1738" y="1299"/>
                </a:cubicBezTo>
                <a:cubicBezTo>
                  <a:pt x="1761" y="1313"/>
                  <a:pt x="1790" y="1320"/>
                  <a:pt x="1819" y="1320"/>
                </a:cubicBezTo>
                <a:cubicBezTo>
                  <a:pt x="1848" y="1320"/>
                  <a:pt x="1877" y="1313"/>
                  <a:pt x="1901" y="1299"/>
                </a:cubicBezTo>
                <a:cubicBezTo>
                  <a:pt x="1924" y="1284"/>
                  <a:pt x="1942" y="1260"/>
                  <a:pt x="1942" y="1230"/>
                </a:cubicBezTo>
                <a:cubicBezTo>
                  <a:pt x="1942" y="690"/>
                  <a:pt x="1942" y="690"/>
                  <a:pt x="1942" y="690"/>
                </a:cubicBezTo>
                <a:cubicBezTo>
                  <a:pt x="1944" y="648"/>
                  <a:pt x="1954" y="593"/>
                  <a:pt x="1979" y="549"/>
                </a:cubicBezTo>
                <a:cubicBezTo>
                  <a:pt x="2004" y="506"/>
                  <a:pt x="2039" y="475"/>
                  <a:pt x="2095" y="475"/>
                </a:cubicBezTo>
                <a:cubicBezTo>
                  <a:pt x="2121" y="475"/>
                  <a:pt x="2138" y="483"/>
                  <a:pt x="2153" y="496"/>
                </a:cubicBezTo>
                <a:cubicBezTo>
                  <a:pt x="2174" y="515"/>
                  <a:pt x="2187" y="548"/>
                  <a:pt x="2194" y="581"/>
                </a:cubicBezTo>
                <a:cubicBezTo>
                  <a:pt x="2200" y="615"/>
                  <a:pt x="2201" y="648"/>
                  <a:pt x="2201" y="666"/>
                </a:cubicBezTo>
                <a:cubicBezTo>
                  <a:pt x="2201" y="671"/>
                  <a:pt x="2201" y="1194"/>
                  <a:pt x="2201" y="1228"/>
                </a:cubicBezTo>
                <a:cubicBezTo>
                  <a:pt x="2201" y="1260"/>
                  <a:pt x="2218" y="1284"/>
                  <a:pt x="2241" y="1299"/>
                </a:cubicBezTo>
                <a:cubicBezTo>
                  <a:pt x="2264" y="1313"/>
                  <a:pt x="2292" y="1320"/>
                  <a:pt x="2321" y="1320"/>
                </a:cubicBezTo>
                <a:cubicBezTo>
                  <a:pt x="2351" y="1320"/>
                  <a:pt x="2380" y="1313"/>
                  <a:pt x="2404" y="1299"/>
                </a:cubicBezTo>
                <a:cubicBezTo>
                  <a:pt x="2427" y="1284"/>
                  <a:pt x="2445" y="1260"/>
                  <a:pt x="2445" y="1230"/>
                </a:cubicBezTo>
                <a:cubicBezTo>
                  <a:pt x="2445" y="700"/>
                  <a:pt x="2445" y="700"/>
                  <a:pt x="2445" y="700"/>
                </a:cubicBezTo>
                <a:cubicBezTo>
                  <a:pt x="2445" y="566"/>
                  <a:pt x="2419" y="466"/>
                  <a:pt x="2370" y="398"/>
                </a:cubicBezTo>
                <a:cubicBezTo>
                  <a:pt x="2321" y="331"/>
                  <a:pt x="2249" y="297"/>
                  <a:pt x="2163" y="298"/>
                </a:cubicBezTo>
                <a:cubicBezTo>
                  <a:pt x="2081" y="298"/>
                  <a:pt x="2018" y="338"/>
                  <a:pt x="1974" y="384"/>
                </a:cubicBezTo>
                <a:cubicBezTo>
                  <a:pt x="1944" y="415"/>
                  <a:pt x="1922" y="449"/>
                  <a:pt x="1908" y="476"/>
                </a:cubicBezTo>
                <a:cubicBezTo>
                  <a:pt x="1888" y="422"/>
                  <a:pt x="1858" y="380"/>
                  <a:pt x="1822" y="350"/>
                </a:cubicBezTo>
                <a:cubicBezTo>
                  <a:pt x="1777" y="315"/>
                  <a:pt x="1722" y="298"/>
                  <a:pt x="1660" y="298"/>
                </a:cubicBezTo>
                <a:cubicBezTo>
                  <a:pt x="1555" y="298"/>
                  <a:pt x="1483" y="363"/>
                  <a:pt x="1439" y="422"/>
                </a:cubicBezTo>
                <a:cubicBezTo>
                  <a:pt x="1439" y="417"/>
                  <a:pt x="1439" y="417"/>
                  <a:pt x="1439" y="417"/>
                </a:cubicBezTo>
                <a:cubicBezTo>
                  <a:pt x="1439" y="386"/>
                  <a:pt x="1423" y="362"/>
                  <a:pt x="1401" y="347"/>
                </a:cubicBezTo>
                <a:cubicBezTo>
                  <a:pt x="1380" y="332"/>
                  <a:pt x="1352" y="325"/>
                  <a:pt x="1325" y="325"/>
                </a:cubicBezTo>
                <a:cubicBezTo>
                  <a:pt x="1297" y="325"/>
                  <a:pt x="1269" y="332"/>
                  <a:pt x="1247" y="347"/>
                </a:cubicBezTo>
                <a:cubicBezTo>
                  <a:pt x="1225" y="361"/>
                  <a:pt x="1209" y="385"/>
                  <a:pt x="1209" y="416"/>
                </a:cubicBezTo>
                <a:cubicBezTo>
                  <a:pt x="1209" y="416"/>
                  <a:pt x="1209" y="1206"/>
                  <a:pt x="1209" y="1228"/>
                </a:cubicBezTo>
                <a:cubicBezTo>
                  <a:pt x="1209" y="1259"/>
                  <a:pt x="1224" y="1284"/>
                  <a:pt x="1246" y="1298"/>
                </a:cubicBezTo>
                <a:moveTo>
                  <a:pt x="3480" y="1218"/>
                </a:moveTo>
                <a:cubicBezTo>
                  <a:pt x="3555" y="1290"/>
                  <a:pt x="3659" y="1334"/>
                  <a:pt x="3788" y="1334"/>
                </a:cubicBezTo>
                <a:cubicBezTo>
                  <a:pt x="3788" y="1334"/>
                  <a:pt x="3788" y="1334"/>
                  <a:pt x="3788" y="1334"/>
                </a:cubicBezTo>
                <a:cubicBezTo>
                  <a:pt x="3858" y="1334"/>
                  <a:pt x="3923" y="1322"/>
                  <a:pt x="3972" y="1301"/>
                </a:cubicBezTo>
                <a:cubicBezTo>
                  <a:pt x="3996" y="1291"/>
                  <a:pt x="4017" y="1279"/>
                  <a:pt x="4032" y="1264"/>
                </a:cubicBezTo>
                <a:cubicBezTo>
                  <a:pt x="4047" y="1250"/>
                  <a:pt x="4057" y="1232"/>
                  <a:pt x="4057" y="1212"/>
                </a:cubicBezTo>
                <a:cubicBezTo>
                  <a:pt x="4057" y="1209"/>
                  <a:pt x="4057" y="1206"/>
                  <a:pt x="4056" y="1203"/>
                </a:cubicBezTo>
                <a:cubicBezTo>
                  <a:pt x="4051" y="1169"/>
                  <a:pt x="4024" y="1146"/>
                  <a:pt x="3992" y="1147"/>
                </a:cubicBezTo>
                <a:cubicBezTo>
                  <a:pt x="3985" y="1147"/>
                  <a:pt x="3977" y="1148"/>
                  <a:pt x="3969" y="1150"/>
                </a:cubicBezTo>
                <a:cubicBezTo>
                  <a:pt x="3931" y="1163"/>
                  <a:pt x="3894" y="1170"/>
                  <a:pt x="3849" y="1170"/>
                </a:cubicBezTo>
                <a:cubicBezTo>
                  <a:pt x="3836" y="1170"/>
                  <a:pt x="3823" y="1169"/>
                  <a:pt x="3809" y="1168"/>
                </a:cubicBezTo>
                <a:cubicBezTo>
                  <a:pt x="3713" y="1160"/>
                  <a:pt x="3657" y="1102"/>
                  <a:pt x="3623" y="1044"/>
                </a:cubicBezTo>
                <a:cubicBezTo>
                  <a:pt x="3607" y="1014"/>
                  <a:pt x="3596" y="985"/>
                  <a:pt x="3589" y="962"/>
                </a:cubicBezTo>
                <a:cubicBezTo>
                  <a:pt x="3586" y="952"/>
                  <a:pt x="3584" y="943"/>
                  <a:pt x="3583" y="937"/>
                </a:cubicBezTo>
                <a:cubicBezTo>
                  <a:pt x="3713" y="931"/>
                  <a:pt x="3826" y="915"/>
                  <a:pt x="3932" y="859"/>
                </a:cubicBezTo>
                <a:cubicBezTo>
                  <a:pt x="3987" y="828"/>
                  <a:pt x="4054" y="779"/>
                  <a:pt x="4089" y="710"/>
                </a:cubicBezTo>
                <a:cubicBezTo>
                  <a:pt x="4111" y="665"/>
                  <a:pt x="4122" y="613"/>
                  <a:pt x="4123" y="566"/>
                </a:cubicBezTo>
                <a:cubicBezTo>
                  <a:pt x="4123" y="552"/>
                  <a:pt x="4121" y="538"/>
                  <a:pt x="4119" y="524"/>
                </a:cubicBezTo>
                <a:cubicBezTo>
                  <a:pt x="4097" y="397"/>
                  <a:pt x="3980" y="301"/>
                  <a:pt x="3800" y="302"/>
                </a:cubicBezTo>
                <a:cubicBezTo>
                  <a:pt x="3674" y="302"/>
                  <a:pt x="3513" y="352"/>
                  <a:pt x="3414" y="505"/>
                </a:cubicBezTo>
                <a:cubicBezTo>
                  <a:pt x="3376" y="565"/>
                  <a:pt x="3325" y="680"/>
                  <a:pt x="3325" y="825"/>
                </a:cubicBezTo>
                <a:cubicBezTo>
                  <a:pt x="3325" y="859"/>
                  <a:pt x="3328" y="896"/>
                  <a:pt x="3335" y="933"/>
                </a:cubicBezTo>
                <a:cubicBezTo>
                  <a:pt x="3357" y="1045"/>
                  <a:pt x="3405" y="1145"/>
                  <a:pt x="3480" y="1218"/>
                </a:cubicBezTo>
                <a:moveTo>
                  <a:pt x="3632" y="527"/>
                </a:moveTo>
                <a:cubicBezTo>
                  <a:pt x="3633" y="527"/>
                  <a:pt x="3633" y="527"/>
                  <a:pt x="3633" y="527"/>
                </a:cubicBezTo>
                <a:cubicBezTo>
                  <a:pt x="3690" y="444"/>
                  <a:pt x="3751" y="434"/>
                  <a:pt x="3779" y="434"/>
                </a:cubicBezTo>
                <a:cubicBezTo>
                  <a:pt x="3779" y="434"/>
                  <a:pt x="3779" y="434"/>
                  <a:pt x="3779" y="434"/>
                </a:cubicBezTo>
                <a:cubicBezTo>
                  <a:pt x="3826" y="434"/>
                  <a:pt x="3873" y="465"/>
                  <a:pt x="3887" y="538"/>
                </a:cubicBezTo>
                <a:cubicBezTo>
                  <a:pt x="3889" y="550"/>
                  <a:pt x="3890" y="562"/>
                  <a:pt x="3890" y="573"/>
                </a:cubicBezTo>
                <a:cubicBezTo>
                  <a:pt x="3890" y="624"/>
                  <a:pt x="3871" y="667"/>
                  <a:pt x="3842" y="700"/>
                </a:cubicBezTo>
                <a:cubicBezTo>
                  <a:pt x="3773" y="778"/>
                  <a:pt x="3677" y="800"/>
                  <a:pt x="3575" y="810"/>
                </a:cubicBezTo>
                <a:cubicBezTo>
                  <a:pt x="3575" y="801"/>
                  <a:pt x="3575" y="792"/>
                  <a:pt x="3575" y="783"/>
                </a:cubicBezTo>
                <a:cubicBezTo>
                  <a:pt x="3575" y="693"/>
                  <a:pt x="3587" y="591"/>
                  <a:pt x="3632" y="527"/>
                </a:cubicBezTo>
                <a:moveTo>
                  <a:pt x="3162" y="1335"/>
                </a:moveTo>
                <a:cubicBezTo>
                  <a:pt x="3162" y="1335"/>
                  <a:pt x="3162" y="1335"/>
                  <a:pt x="3162" y="1335"/>
                </a:cubicBezTo>
                <a:cubicBezTo>
                  <a:pt x="3209" y="1335"/>
                  <a:pt x="3251" y="1323"/>
                  <a:pt x="3284" y="1308"/>
                </a:cubicBezTo>
                <a:cubicBezTo>
                  <a:pt x="3316" y="1292"/>
                  <a:pt x="3339" y="1274"/>
                  <a:pt x="3350" y="1258"/>
                </a:cubicBezTo>
                <a:cubicBezTo>
                  <a:pt x="3358" y="1247"/>
                  <a:pt x="3362" y="1235"/>
                  <a:pt x="3362" y="1221"/>
                </a:cubicBezTo>
                <a:cubicBezTo>
                  <a:pt x="3362" y="1211"/>
                  <a:pt x="3360" y="1200"/>
                  <a:pt x="3355" y="1190"/>
                </a:cubicBezTo>
                <a:cubicBezTo>
                  <a:pt x="3343" y="1166"/>
                  <a:pt x="3318" y="1155"/>
                  <a:pt x="3296" y="1154"/>
                </a:cubicBezTo>
                <a:cubicBezTo>
                  <a:pt x="3292" y="1154"/>
                  <a:pt x="3288" y="1155"/>
                  <a:pt x="3284" y="1156"/>
                </a:cubicBezTo>
                <a:cubicBezTo>
                  <a:pt x="3271" y="1159"/>
                  <a:pt x="3263" y="1163"/>
                  <a:pt x="3254" y="1166"/>
                </a:cubicBezTo>
                <a:cubicBezTo>
                  <a:pt x="3246" y="1169"/>
                  <a:pt x="3237" y="1171"/>
                  <a:pt x="3221" y="1171"/>
                </a:cubicBezTo>
                <a:cubicBezTo>
                  <a:pt x="3195" y="1171"/>
                  <a:pt x="3179" y="1161"/>
                  <a:pt x="3169" y="1150"/>
                </a:cubicBezTo>
                <a:cubicBezTo>
                  <a:pt x="3167" y="1148"/>
                  <a:pt x="3151" y="1128"/>
                  <a:pt x="3146" y="1104"/>
                </a:cubicBezTo>
                <a:cubicBezTo>
                  <a:pt x="3136" y="1063"/>
                  <a:pt x="3135" y="1004"/>
                  <a:pt x="3135" y="963"/>
                </a:cubicBezTo>
                <a:cubicBezTo>
                  <a:pt x="3135" y="948"/>
                  <a:pt x="3135" y="118"/>
                  <a:pt x="3135" y="96"/>
                </a:cubicBezTo>
                <a:cubicBezTo>
                  <a:pt x="3136" y="65"/>
                  <a:pt x="3120" y="41"/>
                  <a:pt x="3098" y="26"/>
                </a:cubicBezTo>
                <a:cubicBezTo>
                  <a:pt x="3076" y="11"/>
                  <a:pt x="3049" y="5"/>
                  <a:pt x="3022" y="4"/>
                </a:cubicBezTo>
                <a:cubicBezTo>
                  <a:pt x="2994" y="5"/>
                  <a:pt x="2966" y="11"/>
                  <a:pt x="2944" y="26"/>
                </a:cubicBezTo>
                <a:cubicBezTo>
                  <a:pt x="2922" y="41"/>
                  <a:pt x="2905" y="65"/>
                  <a:pt x="2905" y="95"/>
                </a:cubicBezTo>
                <a:cubicBezTo>
                  <a:pt x="2905" y="1076"/>
                  <a:pt x="2905" y="1076"/>
                  <a:pt x="2905" y="1076"/>
                </a:cubicBezTo>
                <a:cubicBezTo>
                  <a:pt x="2905" y="1131"/>
                  <a:pt x="2921" y="1195"/>
                  <a:pt x="2961" y="1247"/>
                </a:cubicBezTo>
                <a:cubicBezTo>
                  <a:pt x="3001" y="1298"/>
                  <a:pt x="3067" y="1335"/>
                  <a:pt x="3162" y="1335"/>
                </a:cubicBezTo>
                <a:moveTo>
                  <a:pt x="2674" y="250"/>
                </a:moveTo>
                <a:cubicBezTo>
                  <a:pt x="2742" y="250"/>
                  <a:pt x="2797" y="195"/>
                  <a:pt x="2797" y="127"/>
                </a:cubicBezTo>
                <a:cubicBezTo>
                  <a:pt x="2797" y="59"/>
                  <a:pt x="2742" y="4"/>
                  <a:pt x="2674" y="4"/>
                </a:cubicBezTo>
                <a:cubicBezTo>
                  <a:pt x="2607" y="4"/>
                  <a:pt x="2552" y="59"/>
                  <a:pt x="2552" y="127"/>
                </a:cubicBezTo>
                <a:cubicBezTo>
                  <a:pt x="2552" y="195"/>
                  <a:pt x="2607" y="250"/>
                  <a:pt x="2674" y="25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CE09AADC-7E8C-4BBA-8D57-669DE9ACAB1F}"/>
              </a:ext>
            </a:extLst>
          </p:cNvPr>
          <p:cNvGrpSpPr/>
          <p:nvPr/>
        </p:nvGrpSpPr>
        <p:grpSpPr>
          <a:xfrm rot="10800000" flipV="1">
            <a:off x="8646488" y="0"/>
            <a:ext cx="3157162" cy="3297812"/>
            <a:chOff x="434917" y="-1821"/>
            <a:chExt cx="3157162" cy="3297812"/>
          </a:xfrm>
        </p:grpSpPr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69DCBC1F-BBE9-4F89-855E-63F8EB5A4B7A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34917" y="-1821"/>
              <a:ext cx="0" cy="291737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Arco 12">
              <a:extLst>
                <a:ext uri="{FF2B5EF4-FFF2-40B4-BE49-F238E27FC236}">
                  <a16:creationId xmlns:a16="http://schemas.microsoft.com/office/drawing/2014/main" id="{0F2AAABF-2D4D-4A6B-8390-466A549556E5}"/>
                </a:ext>
              </a:extLst>
            </p:cNvPr>
            <p:cNvSpPr/>
            <p:nvPr/>
          </p:nvSpPr>
          <p:spPr>
            <a:xfrm rot="10800000">
              <a:off x="434917" y="2381591"/>
              <a:ext cx="914400" cy="914400"/>
            </a:xfrm>
            <a:prstGeom prst="arc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AFAADD17-980F-435B-9933-329586BF5F91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897232" y="3295991"/>
              <a:ext cx="2694847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534D8F6A-F225-409E-AB90-AF7CD04EB311}"/>
              </a:ext>
            </a:extLst>
          </p:cNvPr>
          <p:cNvGrpSpPr/>
          <p:nvPr/>
        </p:nvGrpSpPr>
        <p:grpSpPr>
          <a:xfrm flipV="1">
            <a:off x="426472" y="3297812"/>
            <a:ext cx="3157162" cy="3560188"/>
            <a:chOff x="434917" y="-264197"/>
            <a:chExt cx="3157162" cy="3560188"/>
          </a:xfrm>
        </p:grpSpPr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BEF846DF-0810-46B4-BCC9-22E6BD092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4917" y="-264197"/>
              <a:ext cx="0" cy="317974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Arco 16">
              <a:extLst>
                <a:ext uri="{FF2B5EF4-FFF2-40B4-BE49-F238E27FC236}">
                  <a16:creationId xmlns:a16="http://schemas.microsoft.com/office/drawing/2014/main" id="{E96B33C6-01E9-4C31-9E3F-27F7F8CB19F7}"/>
                </a:ext>
              </a:extLst>
            </p:cNvPr>
            <p:cNvSpPr/>
            <p:nvPr/>
          </p:nvSpPr>
          <p:spPr>
            <a:xfrm rot="10800000">
              <a:off x="434917" y="2381591"/>
              <a:ext cx="914400" cy="914400"/>
            </a:xfrm>
            <a:prstGeom prst="arc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631B21F1-D90E-48B7-A55E-B7164D61B334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897232" y="3295991"/>
              <a:ext cx="2694847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5192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273F8C3-3DEB-4BAF-9160-7A183EF8801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5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B44B95EB-1AEB-4B71-ACF7-FA469911925E}"/>
              </a:ext>
            </a:extLst>
          </p:cNvPr>
          <p:cNvSpPr/>
          <p:nvPr/>
        </p:nvSpPr>
        <p:spPr>
          <a:xfrm>
            <a:off x="7775024" y="0"/>
            <a:ext cx="4416976" cy="6858000"/>
          </a:xfrm>
          <a:prstGeom prst="rect">
            <a:avLst/>
          </a:prstGeom>
          <a:solidFill>
            <a:srgbClr val="FF7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52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788EC3B2-2135-4245-9DEF-EE485BDF37B6}"/>
              </a:ext>
            </a:extLst>
          </p:cNvPr>
          <p:cNvSpPr txBox="1"/>
          <p:nvPr/>
        </p:nvSpPr>
        <p:spPr>
          <a:xfrm>
            <a:off x="1532826" y="1662485"/>
            <a:ext cx="3189366" cy="82137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1088261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unito" panose="00000500000000000000" pitchFamily="2" charset="0"/>
                <a:ea typeface="+mn-ea"/>
                <a:cs typeface="Arial" panose="020B0604020202020204" pitchFamily="34" charset="0"/>
              </a:rPr>
              <a:t>Não viajamos para escapar da vida, </a:t>
            </a:r>
            <a:endParaRPr kumimoji="0" lang="pt-BR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unito" panose="00000500000000000000" pitchFamily="2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A9FA5A54-95CE-443B-8797-ABB7D766EAC5}"/>
              </a:ext>
            </a:extLst>
          </p:cNvPr>
          <p:cNvCxnSpPr>
            <a:cxnSpLocks/>
          </p:cNvCxnSpPr>
          <p:nvPr/>
        </p:nvCxnSpPr>
        <p:spPr>
          <a:xfrm flipV="1">
            <a:off x="870245" y="1"/>
            <a:ext cx="0" cy="4571999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m 9" descr="Mala de viagem&#10;&#10;Descrição gerada automaticamente">
            <a:extLst>
              <a:ext uri="{FF2B5EF4-FFF2-40B4-BE49-F238E27FC236}">
                <a16:creationId xmlns:a16="http://schemas.microsoft.com/office/drawing/2014/main" id="{31B877BD-FFAF-485B-974C-2E14EF257B7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40" t="16399" r="1194" b="8601"/>
          <a:stretch/>
        </p:blipFill>
        <p:spPr>
          <a:xfrm>
            <a:off x="4626007" y="1124607"/>
            <a:ext cx="7418848" cy="5143500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1E203A67-D2FC-4CB9-834A-F9372C96CCAB}"/>
              </a:ext>
            </a:extLst>
          </p:cNvPr>
          <p:cNvSpPr txBox="1"/>
          <p:nvPr/>
        </p:nvSpPr>
        <p:spPr>
          <a:xfrm>
            <a:off x="1090038" y="1999752"/>
            <a:ext cx="4564526" cy="7790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1088261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5400" b="1" i="0" u="none" strike="noStrike" kern="1200" cap="none" spc="0" normalizeH="0" baseline="0" noProof="0" dirty="0">
                <a:ln>
                  <a:noFill/>
                </a:ln>
                <a:solidFill>
                  <a:srgbClr val="FF7020"/>
                </a:solidFill>
                <a:effectLst/>
                <a:uLnTx/>
                <a:uFillTx/>
                <a:latin typeface="Nunito bold" panose="00000800000000000000" pitchFamily="2" charset="0"/>
                <a:ea typeface="+mn-ea"/>
                <a:cs typeface="Arial" panose="020B0604020202020204" pitchFamily="34" charset="0"/>
              </a:rPr>
              <a:t>Obrigado!</a:t>
            </a:r>
          </a:p>
        </p:txBody>
      </p:sp>
      <p:pic>
        <p:nvPicPr>
          <p:cNvPr id="14" name="Imagem 13" descr="Uma imagem contendo comida&#10;&#10;Descrição gerada automaticamente">
            <a:extLst>
              <a:ext uri="{FF2B5EF4-FFF2-40B4-BE49-F238E27FC236}">
                <a16:creationId xmlns:a16="http://schemas.microsoft.com/office/drawing/2014/main" id="{CE988DE1-47EF-47AD-85B4-4C72E92240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48" t="13065" r="25598" b="66130"/>
          <a:stretch/>
        </p:blipFill>
        <p:spPr>
          <a:xfrm>
            <a:off x="7150147" y="896009"/>
            <a:ext cx="1920265" cy="1426778"/>
          </a:xfrm>
          <a:prstGeom prst="rect">
            <a:avLst/>
          </a:prstGeom>
        </p:spPr>
      </p:pic>
      <p:pic>
        <p:nvPicPr>
          <p:cNvPr id="15" name="Imagem 14" descr="Uma imagem contendo comida&#10;&#10;Descrição gerada automaticamente">
            <a:extLst>
              <a:ext uri="{FF2B5EF4-FFF2-40B4-BE49-F238E27FC236}">
                <a16:creationId xmlns:a16="http://schemas.microsoft.com/office/drawing/2014/main" id="{F771E2C1-6D3B-4988-A7CF-BE3540602B4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698" t="32184" r="1239" b="37249"/>
          <a:stretch/>
        </p:blipFill>
        <p:spPr>
          <a:xfrm>
            <a:off x="10447283" y="2207173"/>
            <a:ext cx="1592238" cy="2096330"/>
          </a:xfrm>
          <a:prstGeom prst="rect">
            <a:avLst/>
          </a:prstGeom>
        </p:spPr>
      </p:pic>
      <p:pic>
        <p:nvPicPr>
          <p:cNvPr id="16" name="Imagem 15" descr="Uma imagem contendo comida&#10;&#10;Descrição gerada automaticamente">
            <a:extLst>
              <a:ext uri="{FF2B5EF4-FFF2-40B4-BE49-F238E27FC236}">
                <a16:creationId xmlns:a16="http://schemas.microsoft.com/office/drawing/2014/main" id="{862DE0B6-FF0A-4385-BECC-8E97DB199F1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390" t="38314" r="49141" b="42471"/>
          <a:stretch/>
        </p:blipFill>
        <p:spPr>
          <a:xfrm>
            <a:off x="4924608" y="2627586"/>
            <a:ext cx="1276109" cy="1317715"/>
          </a:xfrm>
          <a:prstGeom prst="rect">
            <a:avLst/>
          </a:prstGeom>
        </p:spPr>
      </p:pic>
      <p:pic>
        <p:nvPicPr>
          <p:cNvPr id="17" name="Imagem 16" descr="Uma imagem contendo comida&#10;&#10;Descrição gerada automaticamente">
            <a:extLst>
              <a:ext uri="{FF2B5EF4-FFF2-40B4-BE49-F238E27FC236}">
                <a16:creationId xmlns:a16="http://schemas.microsoft.com/office/drawing/2014/main" id="{E34F85AD-86FD-4D18-B99F-908362BE816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14" t="60421" r="50000" b="18774"/>
          <a:stretch/>
        </p:blipFill>
        <p:spPr>
          <a:xfrm>
            <a:off x="5134747" y="4143705"/>
            <a:ext cx="961253" cy="1426778"/>
          </a:xfrm>
          <a:prstGeom prst="rect">
            <a:avLst/>
          </a:prstGeom>
        </p:spPr>
      </p:pic>
      <p:pic>
        <p:nvPicPr>
          <p:cNvPr id="18" name="Imagem 17" descr="Uma imagem contendo comida&#10;&#10;Descrição gerada automaticamente">
            <a:extLst>
              <a:ext uri="{FF2B5EF4-FFF2-40B4-BE49-F238E27FC236}">
                <a16:creationId xmlns:a16="http://schemas.microsoft.com/office/drawing/2014/main" id="{C020A87F-6FEF-479D-A6C7-AD5057924B8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34" t="60421" r="37432" b="18774"/>
          <a:stretch/>
        </p:blipFill>
        <p:spPr>
          <a:xfrm>
            <a:off x="6331729" y="4143705"/>
            <a:ext cx="1296150" cy="1426778"/>
          </a:xfrm>
          <a:prstGeom prst="rect">
            <a:avLst/>
          </a:prstGeom>
        </p:spPr>
      </p:pic>
      <p:pic>
        <p:nvPicPr>
          <p:cNvPr id="19" name="Imagem 18" descr="Uma imagem contendo comida&#10;&#10;Descrição gerada automaticamente">
            <a:extLst>
              <a:ext uri="{FF2B5EF4-FFF2-40B4-BE49-F238E27FC236}">
                <a16:creationId xmlns:a16="http://schemas.microsoft.com/office/drawing/2014/main" id="{5463E377-DEE8-4E7C-9A38-389689B9D67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26" t="60421" r="23658" b="18774"/>
          <a:stretch/>
        </p:blipFill>
        <p:spPr>
          <a:xfrm>
            <a:off x="7720368" y="4143705"/>
            <a:ext cx="1586535" cy="1426778"/>
          </a:xfrm>
          <a:prstGeom prst="rect">
            <a:avLst/>
          </a:prstGeom>
        </p:spPr>
      </p:pic>
      <p:pic>
        <p:nvPicPr>
          <p:cNvPr id="20" name="Imagem 19" descr="Uma imagem contendo comida&#10;&#10;Descrição gerada automaticamente">
            <a:extLst>
              <a:ext uri="{FF2B5EF4-FFF2-40B4-BE49-F238E27FC236}">
                <a16:creationId xmlns:a16="http://schemas.microsoft.com/office/drawing/2014/main" id="{38B6F598-E3DE-45CD-BAAE-F0748370B64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86" t="36203" r="30458" b="40996"/>
          <a:stretch/>
        </p:blipFill>
        <p:spPr>
          <a:xfrm>
            <a:off x="7057255" y="2482800"/>
            <a:ext cx="1420698" cy="1563683"/>
          </a:xfrm>
          <a:prstGeom prst="rect">
            <a:avLst/>
          </a:prstGeom>
        </p:spPr>
      </p:pic>
      <p:grpSp>
        <p:nvGrpSpPr>
          <p:cNvPr id="23" name="Agrupar 22">
            <a:extLst>
              <a:ext uri="{FF2B5EF4-FFF2-40B4-BE49-F238E27FC236}">
                <a16:creationId xmlns:a16="http://schemas.microsoft.com/office/drawing/2014/main" id="{30FF86FF-65BA-49D3-A820-579B750CF49D}"/>
              </a:ext>
            </a:extLst>
          </p:cNvPr>
          <p:cNvGrpSpPr/>
          <p:nvPr/>
        </p:nvGrpSpPr>
        <p:grpSpPr>
          <a:xfrm>
            <a:off x="1724795" y="3492183"/>
            <a:ext cx="1987278" cy="1079817"/>
            <a:chOff x="3773190" y="2272350"/>
            <a:chExt cx="4678692" cy="2542238"/>
          </a:xfrm>
        </p:grpSpPr>
        <p:pic>
          <p:nvPicPr>
            <p:cNvPr id="24" name="Imagem 23" descr="Logotipo&#10;&#10;Descrição gerada automaticamente">
              <a:extLst>
                <a:ext uri="{FF2B5EF4-FFF2-40B4-BE49-F238E27FC236}">
                  <a16:creationId xmlns:a16="http://schemas.microsoft.com/office/drawing/2014/main" id="{EC821F96-AE37-4A45-8DEE-5FF75B8263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4" t="18482" r="2514" b="12074"/>
            <a:stretch/>
          </p:blipFill>
          <p:spPr>
            <a:xfrm>
              <a:off x="3798542" y="2272350"/>
              <a:ext cx="4622762" cy="1912488"/>
            </a:xfrm>
            <a:prstGeom prst="rect">
              <a:avLst/>
            </a:prstGeom>
          </p:spPr>
        </p:pic>
        <p:sp>
          <p:nvSpPr>
            <p:cNvPr id="25" name="object 4">
              <a:extLst>
                <a:ext uri="{FF2B5EF4-FFF2-40B4-BE49-F238E27FC236}">
                  <a16:creationId xmlns:a16="http://schemas.microsoft.com/office/drawing/2014/main" id="{9C72B4B9-9A0D-433E-9EDF-78762648949A}"/>
                </a:ext>
              </a:extLst>
            </p:cNvPr>
            <p:cNvSpPr/>
            <p:nvPr/>
          </p:nvSpPr>
          <p:spPr>
            <a:xfrm>
              <a:off x="3773190" y="4496583"/>
              <a:ext cx="4678692" cy="318005"/>
            </a:xfrm>
            <a:prstGeom prst="rect">
              <a:avLst/>
            </a:prstGeom>
            <a:blipFill>
              <a:blip r:embed="rId5"/>
              <a:stretch>
                <a:fillRect/>
              </a:stretch>
            </a:blipFill>
            <a:ln w="12700">
              <a:miter lim="400000"/>
            </a:ln>
          </p:spPr>
          <p:txBody>
            <a:bodyPr lIns="22024" tIns="22024" rIns="22024" bIns="22024"/>
            <a:lstStyle/>
            <a:p>
              <a:pPr marL="0" marR="0" lvl="0" indent="0" algn="r" defTabSz="44047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>
                  <a:latin typeface="Calibri"/>
                  <a:ea typeface="Calibri"/>
                  <a:cs typeface="Calibri"/>
                  <a:sym typeface="Calibri"/>
                </a:defRPr>
              </a:pP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1790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3.7037E-7 L -2.5E-6 0.05324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62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25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13" grpId="0"/>
      <p:bldP spid="13" grpId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8" name="Agrupar 1687">
            <a:extLst>
              <a:ext uri="{FF2B5EF4-FFF2-40B4-BE49-F238E27FC236}">
                <a16:creationId xmlns:a16="http://schemas.microsoft.com/office/drawing/2014/main" id="{8105A21F-2494-4727-BF34-17473CEC97B4}"/>
              </a:ext>
            </a:extLst>
          </p:cNvPr>
          <p:cNvGrpSpPr/>
          <p:nvPr/>
        </p:nvGrpSpPr>
        <p:grpSpPr>
          <a:xfrm>
            <a:off x="4845602" y="4832057"/>
            <a:ext cx="156809" cy="218773"/>
            <a:chOff x="4845602" y="4832057"/>
            <a:chExt cx="156809" cy="218773"/>
          </a:xfrm>
        </p:grpSpPr>
        <p:sp>
          <p:nvSpPr>
            <p:cNvPr id="1418" name="Freeform 812">
              <a:extLst>
                <a:ext uri="{FF2B5EF4-FFF2-40B4-BE49-F238E27FC236}">
                  <a16:creationId xmlns:a16="http://schemas.microsoft.com/office/drawing/2014/main" id="{4587A987-8B35-42FE-9C0B-50D1C85D81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45602" y="4832057"/>
              <a:ext cx="156809" cy="218773"/>
            </a:xfrm>
            <a:custGeom>
              <a:avLst/>
              <a:gdLst>
                <a:gd name="T0" fmla="*/ 61 w 87"/>
                <a:gd name="T1" fmla="*/ 121 h 121"/>
                <a:gd name="T2" fmla="*/ 27 w 87"/>
                <a:gd name="T3" fmla="*/ 121 h 121"/>
                <a:gd name="T4" fmla="*/ 11 w 87"/>
                <a:gd name="T5" fmla="*/ 105 h 121"/>
                <a:gd name="T6" fmla="*/ 11 w 87"/>
                <a:gd name="T7" fmla="*/ 101 h 121"/>
                <a:gd name="T8" fmla="*/ 6 w 87"/>
                <a:gd name="T9" fmla="*/ 56 h 121"/>
                <a:gd name="T10" fmla="*/ 0 w 87"/>
                <a:gd name="T11" fmla="*/ 9 h 121"/>
                <a:gd name="T12" fmla="*/ 0 w 87"/>
                <a:gd name="T13" fmla="*/ 4 h 121"/>
                <a:gd name="T14" fmla="*/ 4 w 87"/>
                <a:gd name="T15" fmla="*/ 0 h 121"/>
                <a:gd name="T16" fmla="*/ 83 w 87"/>
                <a:gd name="T17" fmla="*/ 0 h 121"/>
                <a:gd name="T18" fmla="*/ 87 w 87"/>
                <a:gd name="T19" fmla="*/ 4 h 121"/>
                <a:gd name="T20" fmla="*/ 87 w 87"/>
                <a:gd name="T21" fmla="*/ 9 h 121"/>
                <a:gd name="T22" fmla="*/ 82 w 87"/>
                <a:gd name="T23" fmla="*/ 56 h 121"/>
                <a:gd name="T24" fmla="*/ 76 w 87"/>
                <a:gd name="T25" fmla="*/ 101 h 121"/>
                <a:gd name="T26" fmla="*/ 76 w 87"/>
                <a:gd name="T27" fmla="*/ 105 h 121"/>
                <a:gd name="T28" fmla="*/ 61 w 87"/>
                <a:gd name="T29" fmla="*/ 121 h 121"/>
                <a:gd name="T30" fmla="*/ 8 w 87"/>
                <a:gd name="T31" fmla="*/ 8 h 121"/>
                <a:gd name="T32" fmla="*/ 8 w 87"/>
                <a:gd name="T33" fmla="*/ 9 h 121"/>
                <a:gd name="T34" fmla="*/ 14 w 87"/>
                <a:gd name="T35" fmla="*/ 54 h 121"/>
                <a:gd name="T36" fmla="*/ 20 w 87"/>
                <a:gd name="T37" fmla="*/ 101 h 121"/>
                <a:gd name="T38" fmla="*/ 20 w 87"/>
                <a:gd name="T39" fmla="*/ 105 h 121"/>
                <a:gd name="T40" fmla="*/ 27 w 87"/>
                <a:gd name="T41" fmla="*/ 112 h 121"/>
                <a:gd name="T42" fmla="*/ 61 w 87"/>
                <a:gd name="T43" fmla="*/ 112 h 121"/>
                <a:gd name="T44" fmla="*/ 68 w 87"/>
                <a:gd name="T45" fmla="*/ 105 h 121"/>
                <a:gd name="T46" fmla="*/ 68 w 87"/>
                <a:gd name="T47" fmla="*/ 101 h 121"/>
                <a:gd name="T48" fmla="*/ 73 w 87"/>
                <a:gd name="T49" fmla="*/ 54 h 121"/>
                <a:gd name="T50" fmla="*/ 79 w 87"/>
                <a:gd name="T51" fmla="*/ 9 h 121"/>
                <a:gd name="T52" fmla="*/ 79 w 87"/>
                <a:gd name="T53" fmla="*/ 8 h 121"/>
                <a:gd name="T54" fmla="*/ 8 w 87"/>
                <a:gd name="T55" fmla="*/ 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121">
                  <a:moveTo>
                    <a:pt x="61" y="121"/>
                  </a:moveTo>
                  <a:cubicBezTo>
                    <a:pt x="27" y="121"/>
                    <a:pt x="27" y="121"/>
                    <a:pt x="27" y="121"/>
                  </a:cubicBezTo>
                  <a:cubicBezTo>
                    <a:pt x="18" y="121"/>
                    <a:pt x="11" y="114"/>
                    <a:pt x="11" y="105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85"/>
                    <a:pt x="9" y="70"/>
                    <a:pt x="6" y="56"/>
                  </a:cubicBezTo>
                  <a:cubicBezTo>
                    <a:pt x="2" y="40"/>
                    <a:pt x="0" y="25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0"/>
                    <a:pt x="87" y="1"/>
                    <a:pt x="87" y="4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25"/>
                    <a:pt x="86" y="40"/>
                    <a:pt x="82" y="56"/>
                  </a:cubicBezTo>
                  <a:cubicBezTo>
                    <a:pt x="78" y="70"/>
                    <a:pt x="76" y="85"/>
                    <a:pt x="76" y="101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76" y="114"/>
                    <a:pt x="69" y="121"/>
                    <a:pt x="61" y="121"/>
                  </a:cubicBezTo>
                  <a:close/>
                  <a:moveTo>
                    <a:pt x="8" y="8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8" y="24"/>
                    <a:pt x="10" y="39"/>
                    <a:pt x="14" y="54"/>
                  </a:cubicBezTo>
                  <a:cubicBezTo>
                    <a:pt x="18" y="69"/>
                    <a:pt x="20" y="85"/>
                    <a:pt x="20" y="101"/>
                  </a:cubicBezTo>
                  <a:cubicBezTo>
                    <a:pt x="20" y="105"/>
                    <a:pt x="20" y="105"/>
                    <a:pt x="20" y="105"/>
                  </a:cubicBezTo>
                  <a:cubicBezTo>
                    <a:pt x="20" y="109"/>
                    <a:pt x="23" y="112"/>
                    <a:pt x="27" y="112"/>
                  </a:cubicBezTo>
                  <a:cubicBezTo>
                    <a:pt x="61" y="112"/>
                    <a:pt x="61" y="112"/>
                    <a:pt x="61" y="112"/>
                  </a:cubicBezTo>
                  <a:cubicBezTo>
                    <a:pt x="64" y="112"/>
                    <a:pt x="68" y="109"/>
                    <a:pt x="68" y="105"/>
                  </a:cubicBezTo>
                  <a:cubicBezTo>
                    <a:pt x="68" y="101"/>
                    <a:pt x="68" y="101"/>
                    <a:pt x="68" y="101"/>
                  </a:cubicBezTo>
                  <a:cubicBezTo>
                    <a:pt x="68" y="85"/>
                    <a:pt x="70" y="69"/>
                    <a:pt x="73" y="54"/>
                  </a:cubicBezTo>
                  <a:cubicBezTo>
                    <a:pt x="77" y="39"/>
                    <a:pt x="79" y="24"/>
                    <a:pt x="79" y="9"/>
                  </a:cubicBezTo>
                  <a:cubicBezTo>
                    <a:pt x="79" y="8"/>
                    <a:pt x="79" y="8"/>
                    <a:pt x="79" y="8"/>
                  </a:cubicBezTo>
                  <a:lnTo>
                    <a:pt x="8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9" name="Freeform 813">
              <a:extLst>
                <a:ext uri="{FF2B5EF4-FFF2-40B4-BE49-F238E27FC236}">
                  <a16:creationId xmlns:a16="http://schemas.microsoft.com/office/drawing/2014/main" id="{3006B451-2259-417E-87A2-DE3DAEFC1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6867" y="4871259"/>
              <a:ext cx="155544" cy="16440"/>
            </a:xfrm>
            <a:custGeom>
              <a:avLst/>
              <a:gdLst>
                <a:gd name="T0" fmla="*/ 81 w 86"/>
                <a:gd name="T1" fmla="*/ 9 h 9"/>
                <a:gd name="T2" fmla="*/ 4 w 86"/>
                <a:gd name="T3" fmla="*/ 9 h 9"/>
                <a:gd name="T4" fmla="*/ 0 w 86"/>
                <a:gd name="T5" fmla="*/ 4 h 9"/>
                <a:gd name="T6" fmla="*/ 4 w 86"/>
                <a:gd name="T7" fmla="*/ 0 h 9"/>
                <a:gd name="T8" fmla="*/ 81 w 86"/>
                <a:gd name="T9" fmla="*/ 0 h 9"/>
                <a:gd name="T10" fmla="*/ 86 w 86"/>
                <a:gd name="T11" fmla="*/ 4 h 9"/>
                <a:gd name="T12" fmla="*/ 81 w 86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9">
                  <a:moveTo>
                    <a:pt x="81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6" y="2"/>
                    <a:pt x="86" y="4"/>
                  </a:cubicBezTo>
                  <a:cubicBezTo>
                    <a:pt x="86" y="7"/>
                    <a:pt x="84" y="9"/>
                    <a:pt x="81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20" name="Freeform 814">
              <a:extLst>
                <a:ext uri="{FF2B5EF4-FFF2-40B4-BE49-F238E27FC236}">
                  <a16:creationId xmlns:a16="http://schemas.microsoft.com/office/drawing/2014/main" id="{0BC597EA-7114-407C-851E-E21C561BA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6186" y="4871259"/>
              <a:ext cx="16440" cy="48054"/>
            </a:xfrm>
            <a:custGeom>
              <a:avLst/>
              <a:gdLst>
                <a:gd name="T0" fmla="*/ 4 w 9"/>
                <a:gd name="T1" fmla="*/ 26 h 26"/>
                <a:gd name="T2" fmla="*/ 0 w 9"/>
                <a:gd name="T3" fmla="*/ 21 h 26"/>
                <a:gd name="T4" fmla="*/ 0 w 9"/>
                <a:gd name="T5" fmla="*/ 4 h 26"/>
                <a:gd name="T6" fmla="*/ 4 w 9"/>
                <a:gd name="T7" fmla="*/ 0 h 26"/>
                <a:gd name="T8" fmla="*/ 9 w 9"/>
                <a:gd name="T9" fmla="*/ 4 h 26"/>
                <a:gd name="T10" fmla="*/ 9 w 9"/>
                <a:gd name="T11" fmla="*/ 21 h 26"/>
                <a:gd name="T12" fmla="*/ 4 w 9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6">
                  <a:moveTo>
                    <a:pt x="4" y="26"/>
                  </a:moveTo>
                  <a:cubicBezTo>
                    <a:pt x="2" y="26"/>
                    <a:pt x="0" y="24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4"/>
                    <a:pt x="7" y="26"/>
                    <a:pt x="4" y="2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9" name="Agrupar 1688">
            <a:extLst>
              <a:ext uri="{FF2B5EF4-FFF2-40B4-BE49-F238E27FC236}">
                <a16:creationId xmlns:a16="http://schemas.microsoft.com/office/drawing/2014/main" id="{2606B367-275D-49FF-8543-9E5C20D511EF}"/>
              </a:ext>
            </a:extLst>
          </p:cNvPr>
          <p:cNvGrpSpPr/>
          <p:nvPr/>
        </p:nvGrpSpPr>
        <p:grpSpPr>
          <a:xfrm>
            <a:off x="4463697" y="4820675"/>
            <a:ext cx="137840" cy="241536"/>
            <a:chOff x="4463697" y="4820675"/>
            <a:chExt cx="137840" cy="241536"/>
          </a:xfrm>
        </p:grpSpPr>
        <p:sp>
          <p:nvSpPr>
            <p:cNvPr id="1421" name="Freeform 815">
              <a:extLst>
                <a:ext uri="{FF2B5EF4-FFF2-40B4-BE49-F238E27FC236}">
                  <a16:creationId xmlns:a16="http://schemas.microsoft.com/office/drawing/2014/main" id="{CB2BB077-3AB5-4C3B-AD95-609B380DF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3697" y="4820675"/>
              <a:ext cx="137840" cy="241536"/>
            </a:xfrm>
            <a:custGeom>
              <a:avLst/>
              <a:gdLst>
                <a:gd name="T0" fmla="*/ 72 w 76"/>
                <a:gd name="T1" fmla="*/ 133 h 133"/>
                <a:gd name="T2" fmla="*/ 4 w 76"/>
                <a:gd name="T3" fmla="*/ 133 h 133"/>
                <a:gd name="T4" fmla="*/ 0 w 76"/>
                <a:gd name="T5" fmla="*/ 128 h 133"/>
                <a:gd name="T6" fmla="*/ 0 w 76"/>
                <a:gd name="T7" fmla="*/ 77 h 133"/>
                <a:gd name="T8" fmla="*/ 10 w 76"/>
                <a:gd name="T9" fmla="*/ 57 h 133"/>
                <a:gd name="T10" fmla="*/ 17 w 76"/>
                <a:gd name="T11" fmla="*/ 45 h 133"/>
                <a:gd name="T12" fmla="*/ 20 w 76"/>
                <a:gd name="T13" fmla="*/ 4 h 133"/>
                <a:gd name="T14" fmla="*/ 24 w 76"/>
                <a:gd name="T15" fmla="*/ 0 h 133"/>
                <a:gd name="T16" fmla="*/ 52 w 76"/>
                <a:gd name="T17" fmla="*/ 0 h 133"/>
                <a:gd name="T18" fmla="*/ 56 w 76"/>
                <a:gd name="T19" fmla="*/ 4 h 133"/>
                <a:gd name="T20" fmla="*/ 59 w 76"/>
                <a:gd name="T21" fmla="*/ 45 h 133"/>
                <a:gd name="T22" fmla="*/ 65 w 76"/>
                <a:gd name="T23" fmla="*/ 57 h 133"/>
                <a:gd name="T24" fmla="*/ 76 w 76"/>
                <a:gd name="T25" fmla="*/ 77 h 133"/>
                <a:gd name="T26" fmla="*/ 76 w 76"/>
                <a:gd name="T27" fmla="*/ 128 h 133"/>
                <a:gd name="T28" fmla="*/ 72 w 76"/>
                <a:gd name="T29" fmla="*/ 133 h 133"/>
                <a:gd name="T30" fmla="*/ 8 w 76"/>
                <a:gd name="T31" fmla="*/ 124 h 133"/>
                <a:gd name="T32" fmla="*/ 68 w 76"/>
                <a:gd name="T33" fmla="*/ 124 h 133"/>
                <a:gd name="T34" fmla="*/ 68 w 76"/>
                <a:gd name="T35" fmla="*/ 77 h 133"/>
                <a:gd name="T36" fmla="*/ 61 w 76"/>
                <a:gd name="T37" fmla="*/ 64 h 133"/>
                <a:gd name="T38" fmla="*/ 50 w 76"/>
                <a:gd name="T39" fmla="*/ 45 h 133"/>
                <a:gd name="T40" fmla="*/ 48 w 76"/>
                <a:gd name="T41" fmla="*/ 8 h 133"/>
                <a:gd name="T42" fmla="*/ 28 w 76"/>
                <a:gd name="T43" fmla="*/ 8 h 133"/>
                <a:gd name="T44" fmla="*/ 26 w 76"/>
                <a:gd name="T45" fmla="*/ 45 h 133"/>
                <a:gd name="T46" fmla="*/ 15 w 76"/>
                <a:gd name="T47" fmla="*/ 64 h 133"/>
                <a:gd name="T48" fmla="*/ 8 w 76"/>
                <a:gd name="T49" fmla="*/ 77 h 133"/>
                <a:gd name="T50" fmla="*/ 8 w 76"/>
                <a:gd name="T51" fmla="*/ 12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133">
                  <a:moveTo>
                    <a:pt x="72" y="133"/>
                  </a:moveTo>
                  <a:cubicBezTo>
                    <a:pt x="4" y="133"/>
                    <a:pt x="4" y="133"/>
                    <a:pt x="4" y="133"/>
                  </a:cubicBezTo>
                  <a:cubicBezTo>
                    <a:pt x="2" y="133"/>
                    <a:pt x="0" y="131"/>
                    <a:pt x="0" y="128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69"/>
                    <a:pt x="4" y="61"/>
                    <a:pt x="10" y="57"/>
                  </a:cubicBezTo>
                  <a:cubicBezTo>
                    <a:pt x="14" y="54"/>
                    <a:pt x="17" y="50"/>
                    <a:pt x="17" y="4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2"/>
                    <a:pt x="22" y="0"/>
                    <a:pt x="2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6" y="2"/>
                    <a:pt x="56" y="4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50"/>
                    <a:pt x="61" y="54"/>
                    <a:pt x="65" y="57"/>
                  </a:cubicBezTo>
                  <a:cubicBezTo>
                    <a:pt x="72" y="61"/>
                    <a:pt x="76" y="69"/>
                    <a:pt x="76" y="77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6" y="131"/>
                    <a:pt x="74" y="133"/>
                    <a:pt x="72" y="133"/>
                  </a:cubicBezTo>
                  <a:close/>
                  <a:moveTo>
                    <a:pt x="8" y="124"/>
                  </a:moveTo>
                  <a:cubicBezTo>
                    <a:pt x="68" y="124"/>
                    <a:pt x="68" y="124"/>
                    <a:pt x="68" y="124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2"/>
                    <a:pt x="65" y="67"/>
                    <a:pt x="61" y="64"/>
                  </a:cubicBezTo>
                  <a:cubicBezTo>
                    <a:pt x="54" y="60"/>
                    <a:pt x="50" y="53"/>
                    <a:pt x="50" y="45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5" y="53"/>
                    <a:pt x="21" y="60"/>
                    <a:pt x="15" y="64"/>
                  </a:cubicBezTo>
                  <a:cubicBezTo>
                    <a:pt x="11" y="67"/>
                    <a:pt x="8" y="72"/>
                    <a:pt x="8" y="77"/>
                  </a:cubicBezTo>
                  <a:lnTo>
                    <a:pt x="8" y="12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22" name="Freeform 816">
              <a:extLst>
                <a:ext uri="{FF2B5EF4-FFF2-40B4-BE49-F238E27FC236}">
                  <a16:creationId xmlns:a16="http://schemas.microsoft.com/office/drawing/2014/main" id="{F9B896D9-75B0-4E29-87F0-95983B56E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931" y="4820675"/>
              <a:ext cx="98638" cy="15175"/>
            </a:xfrm>
            <a:custGeom>
              <a:avLst/>
              <a:gdLst>
                <a:gd name="T0" fmla="*/ 50 w 54"/>
                <a:gd name="T1" fmla="*/ 8 h 8"/>
                <a:gd name="T2" fmla="*/ 4 w 54"/>
                <a:gd name="T3" fmla="*/ 8 h 8"/>
                <a:gd name="T4" fmla="*/ 0 w 54"/>
                <a:gd name="T5" fmla="*/ 4 h 8"/>
                <a:gd name="T6" fmla="*/ 4 w 54"/>
                <a:gd name="T7" fmla="*/ 0 h 8"/>
                <a:gd name="T8" fmla="*/ 50 w 54"/>
                <a:gd name="T9" fmla="*/ 0 h 8"/>
                <a:gd name="T10" fmla="*/ 54 w 54"/>
                <a:gd name="T11" fmla="*/ 4 h 8"/>
                <a:gd name="T12" fmla="*/ 50 w 5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8">
                  <a:moveTo>
                    <a:pt x="5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2" y="0"/>
                    <a:pt x="54" y="2"/>
                    <a:pt x="54" y="4"/>
                  </a:cubicBezTo>
                  <a:cubicBezTo>
                    <a:pt x="54" y="7"/>
                    <a:pt x="52" y="8"/>
                    <a:pt x="50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23" name="Freeform 817">
              <a:extLst>
                <a:ext uri="{FF2B5EF4-FFF2-40B4-BE49-F238E27FC236}">
                  <a16:creationId xmlns:a16="http://schemas.microsoft.com/office/drawing/2014/main" id="{569C5566-7CDB-4D76-A516-D89B07F1CD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4164" y="4963574"/>
              <a:ext cx="58171" cy="56906"/>
            </a:xfrm>
            <a:custGeom>
              <a:avLst/>
              <a:gdLst>
                <a:gd name="T0" fmla="*/ 16 w 32"/>
                <a:gd name="T1" fmla="*/ 31 h 31"/>
                <a:gd name="T2" fmla="*/ 0 w 32"/>
                <a:gd name="T3" fmla="*/ 16 h 31"/>
                <a:gd name="T4" fmla="*/ 16 w 32"/>
                <a:gd name="T5" fmla="*/ 0 h 31"/>
                <a:gd name="T6" fmla="*/ 32 w 32"/>
                <a:gd name="T7" fmla="*/ 16 h 31"/>
                <a:gd name="T8" fmla="*/ 16 w 32"/>
                <a:gd name="T9" fmla="*/ 31 h 31"/>
                <a:gd name="T10" fmla="*/ 16 w 32"/>
                <a:gd name="T11" fmla="*/ 9 h 31"/>
                <a:gd name="T12" fmla="*/ 9 w 32"/>
                <a:gd name="T13" fmla="*/ 16 h 31"/>
                <a:gd name="T14" fmla="*/ 16 w 32"/>
                <a:gd name="T15" fmla="*/ 23 h 31"/>
                <a:gd name="T16" fmla="*/ 23 w 32"/>
                <a:gd name="T17" fmla="*/ 16 h 31"/>
                <a:gd name="T18" fmla="*/ 16 w 32"/>
                <a:gd name="T19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16" y="31"/>
                  </a:moveTo>
                  <a:cubicBezTo>
                    <a:pt x="7" y="31"/>
                    <a:pt x="0" y="24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4"/>
                    <a:pt x="25" y="31"/>
                    <a:pt x="16" y="31"/>
                  </a:cubicBezTo>
                  <a:close/>
                  <a:moveTo>
                    <a:pt x="16" y="9"/>
                  </a:moveTo>
                  <a:cubicBezTo>
                    <a:pt x="12" y="9"/>
                    <a:pt x="9" y="12"/>
                    <a:pt x="9" y="16"/>
                  </a:cubicBezTo>
                  <a:cubicBezTo>
                    <a:pt x="9" y="19"/>
                    <a:pt x="12" y="23"/>
                    <a:pt x="16" y="23"/>
                  </a:cubicBezTo>
                  <a:cubicBezTo>
                    <a:pt x="20" y="23"/>
                    <a:pt x="23" y="19"/>
                    <a:pt x="23" y="16"/>
                  </a:cubicBezTo>
                  <a:cubicBezTo>
                    <a:pt x="23" y="12"/>
                    <a:pt x="20" y="9"/>
                    <a:pt x="1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1" name="Agrupar 1680">
            <a:extLst>
              <a:ext uri="{FF2B5EF4-FFF2-40B4-BE49-F238E27FC236}">
                <a16:creationId xmlns:a16="http://schemas.microsoft.com/office/drawing/2014/main" id="{EA9AD7A6-9061-4F6F-B9CF-FBA45FA2933E}"/>
              </a:ext>
            </a:extLst>
          </p:cNvPr>
          <p:cNvGrpSpPr/>
          <p:nvPr/>
        </p:nvGrpSpPr>
        <p:grpSpPr>
          <a:xfrm>
            <a:off x="7219229" y="4390716"/>
            <a:ext cx="201069" cy="220038"/>
            <a:chOff x="7219229" y="4390716"/>
            <a:chExt cx="201069" cy="220038"/>
          </a:xfrm>
        </p:grpSpPr>
        <p:sp>
          <p:nvSpPr>
            <p:cNvPr id="1424" name="Freeform 818">
              <a:extLst>
                <a:ext uri="{FF2B5EF4-FFF2-40B4-BE49-F238E27FC236}">
                  <a16:creationId xmlns:a16="http://schemas.microsoft.com/office/drawing/2014/main" id="{27C4D3B4-47F3-42EB-89C2-0DEBEE3E0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19229" y="4390716"/>
              <a:ext cx="201069" cy="220038"/>
            </a:xfrm>
            <a:custGeom>
              <a:avLst/>
              <a:gdLst>
                <a:gd name="T0" fmla="*/ 85 w 111"/>
                <a:gd name="T1" fmla="*/ 121 h 121"/>
                <a:gd name="T2" fmla="*/ 26 w 111"/>
                <a:gd name="T3" fmla="*/ 121 h 121"/>
                <a:gd name="T4" fmla="*/ 11 w 111"/>
                <a:gd name="T5" fmla="*/ 107 h 121"/>
                <a:gd name="T6" fmla="*/ 0 w 111"/>
                <a:gd name="T7" fmla="*/ 4 h 121"/>
                <a:gd name="T8" fmla="*/ 2 w 111"/>
                <a:gd name="T9" fmla="*/ 1 h 121"/>
                <a:gd name="T10" fmla="*/ 5 w 111"/>
                <a:gd name="T11" fmla="*/ 0 h 121"/>
                <a:gd name="T12" fmla="*/ 106 w 111"/>
                <a:gd name="T13" fmla="*/ 0 h 121"/>
                <a:gd name="T14" fmla="*/ 109 w 111"/>
                <a:gd name="T15" fmla="*/ 1 h 121"/>
                <a:gd name="T16" fmla="*/ 111 w 111"/>
                <a:gd name="T17" fmla="*/ 4 h 121"/>
                <a:gd name="T18" fmla="*/ 100 w 111"/>
                <a:gd name="T19" fmla="*/ 107 h 121"/>
                <a:gd name="T20" fmla="*/ 85 w 111"/>
                <a:gd name="T21" fmla="*/ 121 h 121"/>
                <a:gd name="T22" fmla="*/ 9 w 111"/>
                <a:gd name="T23" fmla="*/ 8 h 121"/>
                <a:gd name="T24" fmla="*/ 19 w 111"/>
                <a:gd name="T25" fmla="*/ 106 h 121"/>
                <a:gd name="T26" fmla="*/ 26 w 111"/>
                <a:gd name="T27" fmla="*/ 112 h 121"/>
                <a:gd name="T28" fmla="*/ 85 w 111"/>
                <a:gd name="T29" fmla="*/ 112 h 121"/>
                <a:gd name="T30" fmla="*/ 92 w 111"/>
                <a:gd name="T31" fmla="*/ 106 h 121"/>
                <a:gd name="T32" fmla="*/ 102 w 111"/>
                <a:gd name="T33" fmla="*/ 8 h 121"/>
                <a:gd name="T34" fmla="*/ 9 w 111"/>
                <a:gd name="T35" fmla="*/ 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1" h="121">
                  <a:moveTo>
                    <a:pt x="85" y="121"/>
                  </a:moveTo>
                  <a:cubicBezTo>
                    <a:pt x="26" y="121"/>
                    <a:pt x="26" y="121"/>
                    <a:pt x="26" y="121"/>
                  </a:cubicBezTo>
                  <a:cubicBezTo>
                    <a:pt x="18" y="121"/>
                    <a:pt x="12" y="115"/>
                    <a:pt x="11" y="10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8" y="0"/>
                    <a:pt x="109" y="0"/>
                    <a:pt x="109" y="1"/>
                  </a:cubicBezTo>
                  <a:cubicBezTo>
                    <a:pt x="110" y="2"/>
                    <a:pt x="111" y="3"/>
                    <a:pt x="111" y="4"/>
                  </a:cubicBezTo>
                  <a:cubicBezTo>
                    <a:pt x="100" y="107"/>
                    <a:pt x="100" y="107"/>
                    <a:pt x="100" y="107"/>
                  </a:cubicBezTo>
                  <a:cubicBezTo>
                    <a:pt x="99" y="115"/>
                    <a:pt x="93" y="121"/>
                    <a:pt x="85" y="121"/>
                  </a:cubicBezTo>
                  <a:close/>
                  <a:moveTo>
                    <a:pt x="9" y="8"/>
                  </a:moveTo>
                  <a:cubicBezTo>
                    <a:pt x="19" y="106"/>
                    <a:pt x="19" y="106"/>
                    <a:pt x="19" y="106"/>
                  </a:cubicBezTo>
                  <a:cubicBezTo>
                    <a:pt x="20" y="110"/>
                    <a:pt x="23" y="112"/>
                    <a:pt x="26" y="112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8" y="112"/>
                    <a:pt x="91" y="110"/>
                    <a:pt x="92" y="106"/>
                  </a:cubicBezTo>
                  <a:cubicBezTo>
                    <a:pt x="102" y="8"/>
                    <a:pt x="102" y="8"/>
                    <a:pt x="102" y="8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25" name="Freeform 819">
              <a:extLst>
                <a:ext uri="{FF2B5EF4-FFF2-40B4-BE49-F238E27FC236}">
                  <a16:creationId xmlns:a16="http://schemas.microsoft.com/office/drawing/2014/main" id="{A0986BBF-13E4-4F96-86D5-15F977679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4287" y="4431183"/>
              <a:ext cx="190952" cy="16440"/>
            </a:xfrm>
            <a:custGeom>
              <a:avLst/>
              <a:gdLst>
                <a:gd name="T0" fmla="*/ 101 w 105"/>
                <a:gd name="T1" fmla="*/ 9 h 9"/>
                <a:gd name="T2" fmla="*/ 4 w 105"/>
                <a:gd name="T3" fmla="*/ 9 h 9"/>
                <a:gd name="T4" fmla="*/ 0 w 105"/>
                <a:gd name="T5" fmla="*/ 4 h 9"/>
                <a:gd name="T6" fmla="*/ 4 w 105"/>
                <a:gd name="T7" fmla="*/ 0 h 9"/>
                <a:gd name="T8" fmla="*/ 101 w 105"/>
                <a:gd name="T9" fmla="*/ 0 h 9"/>
                <a:gd name="T10" fmla="*/ 105 w 105"/>
                <a:gd name="T11" fmla="*/ 4 h 9"/>
                <a:gd name="T12" fmla="*/ 101 w 10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9">
                  <a:moveTo>
                    <a:pt x="101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5" y="2"/>
                    <a:pt x="105" y="4"/>
                  </a:cubicBezTo>
                  <a:cubicBezTo>
                    <a:pt x="105" y="7"/>
                    <a:pt x="103" y="9"/>
                    <a:pt x="101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26" name="Freeform 820">
              <a:extLst>
                <a:ext uri="{FF2B5EF4-FFF2-40B4-BE49-F238E27FC236}">
                  <a16:creationId xmlns:a16="http://schemas.microsoft.com/office/drawing/2014/main" id="{E18A2206-201C-4C9A-B9F6-EBE03711C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1194" y="4431183"/>
              <a:ext cx="16440" cy="46790"/>
            </a:xfrm>
            <a:custGeom>
              <a:avLst/>
              <a:gdLst>
                <a:gd name="T0" fmla="*/ 5 w 9"/>
                <a:gd name="T1" fmla="*/ 26 h 26"/>
                <a:gd name="T2" fmla="*/ 0 w 9"/>
                <a:gd name="T3" fmla="*/ 21 h 26"/>
                <a:gd name="T4" fmla="*/ 0 w 9"/>
                <a:gd name="T5" fmla="*/ 4 h 26"/>
                <a:gd name="T6" fmla="*/ 5 w 9"/>
                <a:gd name="T7" fmla="*/ 0 h 26"/>
                <a:gd name="T8" fmla="*/ 9 w 9"/>
                <a:gd name="T9" fmla="*/ 4 h 26"/>
                <a:gd name="T10" fmla="*/ 9 w 9"/>
                <a:gd name="T11" fmla="*/ 21 h 26"/>
                <a:gd name="T12" fmla="*/ 5 w 9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6">
                  <a:moveTo>
                    <a:pt x="5" y="26"/>
                  </a:moveTo>
                  <a:cubicBezTo>
                    <a:pt x="2" y="26"/>
                    <a:pt x="0" y="24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4"/>
                    <a:pt x="7" y="26"/>
                    <a:pt x="5" y="2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4" name="Agrupar 1693">
            <a:extLst>
              <a:ext uri="{FF2B5EF4-FFF2-40B4-BE49-F238E27FC236}">
                <a16:creationId xmlns:a16="http://schemas.microsoft.com/office/drawing/2014/main" id="{F0B76B16-258A-45A4-BE2B-B32EB5C3D3BF}"/>
              </a:ext>
            </a:extLst>
          </p:cNvPr>
          <p:cNvGrpSpPr/>
          <p:nvPr/>
        </p:nvGrpSpPr>
        <p:grpSpPr>
          <a:xfrm>
            <a:off x="6020402" y="5239253"/>
            <a:ext cx="137840" cy="241536"/>
            <a:chOff x="6020402" y="5239253"/>
            <a:chExt cx="137840" cy="241536"/>
          </a:xfrm>
        </p:grpSpPr>
        <p:sp>
          <p:nvSpPr>
            <p:cNvPr id="1427" name="Freeform 821">
              <a:extLst>
                <a:ext uri="{FF2B5EF4-FFF2-40B4-BE49-F238E27FC236}">
                  <a16:creationId xmlns:a16="http://schemas.microsoft.com/office/drawing/2014/main" id="{1EFDC9F7-D217-4EF7-A92A-14EEEE8003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0402" y="5403649"/>
              <a:ext cx="137840" cy="77140"/>
            </a:xfrm>
            <a:custGeom>
              <a:avLst/>
              <a:gdLst>
                <a:gd name="T0" fmla="*/ 65 w 76"/>
                <a:gd name="T1" fmla="*/ 43 h 43"/>
                <a:gd name="T2" fmla="*/ 11 w 76"/>
                <a:gd name="T3" fmla="*/ 43 h 43"/>
                <a:gd name="T4" fmla="*/ 0 w 76"/>
                <a:gd name="T5" fmla="*/ 31 h 43"/>
                <a:gd name="T6" fmla="*/ 0 w 76"/>
                <a:gd name="T7" fmla="*/ 11 h 43"/>
                <a:gd name="T8" fmla="*/ 11 w 76"/>
                <a:gd name="T9" fmla="*/ 0 h 43"/>
                <a:gd name="T10" fmla="*/ 65 w 76"/>
                <a:gd name="T11" fmla="*/ 0 h 43"/>
                <a:gd name="T12" fmla="*/ 76 w 76"/>
                <a:gd name="T13" fmla="*/ 11 h 43"/>
                <a:gd name="T14" fmla="*/ 76 w 76"/>
                <a:gd name="T15" fmla="*/ 31 h 43"/>
                <a:gd name="T16" fmla="*/ 65 w 76"/>
                <a:gd name="T17" fmla="*/ 43 h 43"/>
                <a:gd name="T18" fmla="*/ 11 w 76"/>
                <a:gd name="T19" fmla="*/ 9 h 43"/>
                <a:gd name="T20" fmla="*/ 9 w 76"/>
                <a:gd name="T21" fmla="*/ 11 h 43"/>
                <a:gd name="T22" fmla="*/ 9 w 76"/>
                <a:gd name="T23" fmla="*/ 31 h 43"/>
                <a:gd name="T24" fmla="*/ 11 w 76"/>
                <a:gd name="T25" fmla="*/ 34 h 43"/>
                <a:gd name="T26" fmla="*/ 65 w 76"/>
                <a:gd name="T27" fmla="*/ 34 h 43"/>
                <a:gd name="T28" fmla="*/ 68 w 76"/>
                <a:gd name="T29" fmla="*/ 31 h 43"/>
                <a:gd name="T30" fmla="*/ 68 w 76"/>
                <a:gd name="T31" fmla="*/ 11 h 43"/>
                <a:gd name="T32" fmla="*/ 65 w 76"/>
                <a:gd name="T33" fmla="*/ 9 h 43"/>
                <a:gd name="T34" fmla="*/ 11 w 76"/>
                <a:gd name="T35" fmla="*/ 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43">
                  <a:moveTo>
                    <a:pt x="65" y="43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5" y="43"/>
                    <a:pt x="0" y="38"/>
                    <a:pt x="0" y="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1" y="0"/>
                    <a:pt x="76" y="5"/>
                    <a:pt x="76" y="1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8"/>
                    <a:pt x="71" y="43"/>
                    <a:pt x="65" y="43"/>
                  </a:cubicBezTo>
                  <a:close/>
                  <a:moveTo>
                    <a:pt x="11" y="9"/>
                  </a:moveTo>
                  <a:cubicBezTo>
                    <a:pt x="10" y="9"/>
                    <a:pt x="9" y="10"/>
                    <a:pt x="9" y="1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3"/>
                    <a:pt x="10" y="34"/>
                    <a:pt x="11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7" y="34"/>
                    <a:pt x="68" y="33"/>
                    <a:pt x="68" y="3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0"/>
                    <a:pt x="67" y="9"/>
                    <a:pt x="65" y="9"/>
                  </a:cubicBezTo>
                  <a:lnTo>
                    <a:pt x="11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28" name="Freeform 822">
              <a:extLst>
                <a:ext uri="{FF2B5EF4-FFF2-40B4-BE49-F238E27FC236}">
                  <a16:creationId xmlns:a16="http://schemas.microsoft.com/office/drawing/2014/main" id="{7E6A103F-4662-4231-BA0C-F80A3124F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0402" y="5341685"/>
              <a:ext cx="137840" cy="77140"/>
            </a:xfrm>
            <a:custGeom>
              <a:avLst/>
              <a:gdLst>
                <a:gd name="T0" fmla="*/ 65 w 76"/>
                <a:gd name="T1" fmla="*/ 43 h 43"/>
                <a:gd name="T2" fmla="*/ 11 w 76"/>
                <a:gd name="T3" fmla="*/ 43 h 43"/>
                <a:gd name="T4" fmla="*/ 0 w 76"/>
                <a:gd name="T5" fmla="*/ 32 h 43"/>
                <a:gd name="T6" fmla="*/ 0 w 76"/>
                <a:gd name="T7" fmla="*/ 11 h 43"/>
                <a:gd name="T8" fmla="*/ 11 w 76"/>
                <a:gd name="T9" fmla="*/ 0 h 43"/>
                <a:gd name="T10" fmla="*/ 65 w 76"/>
                <a:gd name="T11" fmla="*/ 0 h 43"/>
                <a:gd name="T12" fmla="*/ 76 w 76"/>
                <a:gd name="T13" fmla="*/ 11 h 43"/>
                <a:gd name="T14" fmla="*/ 76 w 76"/>
                <a:gd name="T15" fmla="*/ 32 h 43"/>
                <a:gd name="T16" fmla="*/ 65 w 76"/>
                <a:gd name="T17" fmla="*/ 43 h 43"/>
                <a:gd name="T18" fmla="*/ 11 w 76"/>
                <a:gd name="T19" fmla="*/ 9 h 43"/>
                <a:gd name="T20" fmla="*/ 9 w 76"/>
                <a:gd name="T21" fmla="*/ 11 h 43"/>
                <a:gd name="T22" fmla="*/ 9 w 76"/>
                <a:gd name="T23" fmla="*/ 32 h 43"/>
                <a:gd name="T24" fmla="*/ 11 w 76"/>
                <a:gd name="T25" fmla="*/ 34 h 43"/>
                <a:gd name="T26" fmla="*/ 65 w 76"/>
                <a:gd name="T27" fmla="*/ 34 h 43"/>
                <a:gd name="T28" fmla="*/ 68 w 76"/>
                <a:gd name="T29" fmla="*/ 32 h 43"/>
                <a:gd name="T30" fmla="*/ 68 w 76"/>
                <a:gd name="T31" fmla="*/ 11 h 43"/>
                <a:gd name="T32" fmla="*/ 65 w 76"/>
                <a:gd name="T33" fmla="*/ 9 h 43"/>
                <a:gd name="T34" fmla="*/ 11 w 76"/>
                <a:gd name="T35" fmla="*/ 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43">
                  <a:moveTo>
                    <a:pt x="65" y="43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5" y="43"/>
                    <a:pt x="0" y="38"/>
                    <a:pt x="0" y="3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1" y="0"/>
                    <a:pt x="76" y="5"/>
                    <a:pt x="76" y="11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6" y="38"/>
                    <a:pt x="71" y="43"/>
                    <a:pt x="65" y="43"/>
                  </a:cubicBezTo>
                  <a:close/>
                  <a:moveTo>
                    <a:pt x="11" y="9"/>
                  </a:moveTo>
                  <a:cubicBezTo>
                    <a:pt x="10" y="9"/>
                    <a:pt x="9" y="10"/>
                    <a:pt x="9" y="11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3"/>
                    <a:pt x="10" y="34"/>
                    <a:pt x="11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7" y="34"/>
                    <a:pt x="68" y="33"/>
                    <a:pt x="68" y="32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0"/>
                    <a:pt x="67" y="9"/>
                    <a:pt x="65" y="9"/>
                  </a:cubicBezTo>
                  <a:lnTo>
                    <a:pt x="11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29" name="Freeform 823">
              <a:extLst>
                <a:ext uri="{FF2B5EF4-FFF2-40B4-BE49-F238E27FC236}">
                  <a16:creationId xmlns:a16="http://schemas.microsoft.com/office/drawing/2014/main" id="{81227AD0-A226-4A11-AE6D-C1AD4C2B9B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0752" y="5239253"/>
              <a:ext cx="78404" cy="56906"/>
            </a:xfrm>
            <a:custGeom>
              <a:avLst/>
              <a:gdLst>
                <a:gd name="T0" fmla="*/ 38 w 43"/>
                <a:gd name="T1" fmla="*/ 31 h 31"/>
                <a:gd name="T2" fmla="*/ 4 w 43"/>
                <a:gd name="T3" fmla="*/ 31 h 31"/>
                <a:gd name="T4" fmla="*/ 0 w 43"/>
                <a:gd name="T5" fmla="*/ 27 h 31"/>
                <a:gd name="T6" fmla="*/ 0 w 43"/>
                <a:gd name="T7" fmla="*/ 4 h 31"/>
                <a:gd name="T8" fmla="*/ 4 w 43"/>
                <a:gd name="T9" fmla="*/ 0 h 31"/>
                <a:gd name="T10" fmla="*/ 38 w 43"/>
                <a:gd name="T11" fmla="*/ 0 h 31"/>
                <a:gd name="T12" fmla="*/ 43 w 43"/>
                <a:gd name="T13" fmla="*/ 4 h 31"/>
                <a:gd name="T14" fmla="*/ 43 w 43"/>
                <a:gd name="T15" fmla="*/ 27 h 31"/>
                <a:gd name="T16" fmla="*/ 38 w 43"/>
                <a:gd name="T17" fmla="*/ 31 h 31"/>
                <a:gd name="T18" fmla="*/ 9 w 43"/>
                <a:gd name="T19" fmla="*/ 22 h 31"/>
                <a:gd name="T20" fmla="*/ 34 w 43"/>
                <a:gd name="T21" fmla="*/ 22 h 31"/>
                <a:gd name="T22" fmla="*/ 34 w 43"/>
                <a:gd name="T23" fmla="*/ 8 h 31"/>
                <a:gd name="T24" fmla="*/ 9 w 43"/>
                <a:gd name="T25" fmla="*/ 8 h 31"/>
                <a:gd name="T26" fmla="*/ 9 w 43"/>
                <a:gd name="T27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1">
                  <a:moveTo>
                    <a:pt x="38" y="31"/>
                  </a:moveTo>
                  <a:cubicBezTo>
                    <a:pt x="4" y="31"/>
                    <a:pt x="4" y="31"/>
                    <a:pt x="4" y="31"/>
                  </a:cubicBezTo>
                  <a:cubicBezTo>
                    <a:pt x="2" y="31"/>
                    <a:pt x="0" y="29"/>
                    <a:pt x="0" y="2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3" y="2"/>
                    <a:pt x="43" y="4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9"/>
                    <a:pt x="41" y="31"/>
                    <a:pt x="38" y="31"/>
                  </a:cubicBezTo>
                  <a:close/>
                  <a:moveTo>
                    <a:pt x="9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0" name="Freeform 824">
              <a:extLst>
                <a:ext uri="{FF2B5EF4-FFF2-40B4-BE49-F238E27FC236}">
                  <a16:creationId xmlns:a16="http://schemas.microsoft.com/office/drawing/2014/main" id="{CCFFF896-EF9F-4581-9150-65D25E5134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0402" y="5279720"/>
              <a:ext cx="137840" cy="78404"/>
            </a:xfrm>
            <a:custGeom>
              <a:avLst/>
              <a:gdLst>
                <a:gd name="T0" fmla="*/ 61 w 76"/>
                <a:gd name="T1" fmla="*/ 43 h 43"/>
                <a:gd name="T2" fmla="*/ 16 w 76"/>
                <a:gd name="T3" fmla="*/ 43 h 43"/>
                <a:gd name="T4" fmla="*/ 0 w 76"/>
                <a:gd name="T5" fmla="*/ 27 h 43"/>
                <a:gd name="T6" fmla="*/ 0 w 76"/>
                <a:gd name="T7" fmla="*/ 16 h 43"/>
                <a:gd name="T8" fmla="*/ 2 w 76"/>
                <a:gd name="T9" fmla="*/ 12 h 43"/>
                <a:gd name="T10" fmla="*/ 19 w 76"/>
                <a:gd name="T11" fmla="*/ 1 h 43"/>
                <a:gd name="T12" fmla="*/ 21 w 76"/>
                <a:gd name="T13" fmla="*/ 0 h 43"/>
                <a:gd name="T14" fmla="*/ 55 w 76"/>
                <a:gd name="T15" fmla="*/ 0 h 43"/>
                <a:gd name="T16" fmla="*/ 58 w 76"/>
                <a:gd name="T17" fmla="*/ 1 h 43"/>
                <a:gd name="T18" fmla="*/ 75 w 76"/>
                <a:gd name="T19" fmla="*/ 12 h 43"/>
                <a:gd name="T20" fmla="*/ 76 w 76"/>
                <a:gd name="T21" fmla="*/ 16 h 43"/>
                <a:gd name="T22" fmla="*/ 76 w 76"/>
                <a:gd name="T23" fmla="*/ 27 h 43"/>
                <a:gd name="T24" fmla="*/ 61 w 76"/>
                <a:gd name="T25" fmla="*/ 43 h 43"/>
                <a:gd name="T26" fmla="*/ 9 w 76"/>
                <a:gd name="T27" fmla="*/ 18 h 43"/>
                <a:gd name="T28" fmla="*/ 9 w 76"/>
                <a:gd name="T29" fmla="*/ 27 h 43"/>
                <a:gd name="T30" fmla="*/ 16 w 76"/>
                <a:gd name="T31" fmla="*/ 34 h 43"/>
                <a:gd name="T32" fmla="*/ 61 w 76"/>
                <a:gd name="T33" fmla="*/ 34 h 43"/>
                <a:gd name="T34" fmla="*/ 68 w 76"/>
                <a:gd name="T35" fmla="*/ 27 h 43"/>
                <a:gd name="T36" fmla="*/ 68 w 76"/>
                <a:gd name="T37" fmla="*/ 18 h 43"/>
                <a:gd name="T38" fmla="*/ 54 w 76"/>
                <a:gd name="T39" fmla="*/ 9 h 43"/>
                <a:gd name="T40" fmla="*/ 23 w 76"/>
                <a:gd name="T41" fmla="*/ 9 h 43"/>
                <a:gd name="T42" fmla="*/ 9 w 76"/>
                <a:gd name="T43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" h="43">
                  <a:moveTo>
                    <a:pt x="61" y="43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7" y="43"/>
                    <a:pt x="0" y="36"/>
                    <a:pt x="0" y="2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5"/>
                    <a:pt x="1" y="13"/>
                    <a:pt x="2" y="1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1"/>
                    <a:pt x="21" y="0"/>
                    <a:pt x="2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6" y="0"/>
                    <a:pt x="57" y="1"/>
                    <a:pt x="58" y="1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3"/>
                    <a:pt x="76" y="15"/>
                    <a:pt x="76" y="1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36"/>
                    <a:pt x="69" y="43"/>
                    <a:pt x="61" y="43"/>
                  </a:cubicBezTo>
                  <a:close/>
                  <a:moveTo>
                    <a:pt x="9" y="18"/>
                  </a:moveTo>
                  <a:cubicBezTo>
                    <a:pt x="9" y="27"/>
                    <a:pt x="9" y="27"/>
                    <a:pt x="9" y="27"/>
                  </a:cubicBezTo>
                  <a:cubicBezTo>
                    <a:pt x="9" y="31"/>
                    <a:pt x="12" y="34"/>
                    <a:pt x="16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5" y="34"/>
                    <a:pt x="68" y="31"/>
                    <a:pt x="68" y="27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23" y="9"/>
                    <a:pt x="23" y="9"/>
                    <a:pt x="23" y="9"/>
                  </a:cubicBezTo>
                  <a:lnTo>
                    <a:pt x="9" y="1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7" name="Agrupar 1686">
            <a:extLst>
              <a:ext uri="{FF2B5EF4-FFF2-40B4-BE49-F238E27FC236}">
                <a16:creationId xmlns:a16="http://schemas.microsoft.com/office/drawing/2014/main" id="{0D0455C9-2901-4977-B9E7-7A8F537AAC7A}"/>
              </a:ext>
            </a:extLst>
          </p:cNvPr>
          <p:cNvGrpSpPr/>
          <p:nvPr/>
        </p:nvGrpSpPr>
        <p:grpSpPr>
          <a:xfrm>
            <a:off x="5185776" y="4832057"/>
            <a:ext cx="230154" cy="218773"/>
            <a:chOff x="5185776" y="4832057"/>
            <a:chExt cx="230154" cy="218773"/>
          </a:xfrm>
        </p:grpSpPr>
        <p:sp>
          <p:nvSpPr>
            <p:cNvPr id="1431" name="Freeform 825">
              <a:extLst>
                <a:ext uri="{FF2B5EF4-FFF2-40B4-BE49-F238E27FC236}">
                  <a16:creationId xmlns:a16="http://schemas.microsoft.com/office/drawing/2014/main" id="{E33FBFE7-0F3F-4E35-BB74-09523FAAB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7157" y="4890228"/>
              <a:ext cx="159338" cy="160602"/>
            </a:xfrm>
            <a:custGeom>
              <a:avLst/>
              <a:gdLst>
                <a:gd name="T0" fmla="*/ 72 w 88"/>
                <a:gd name="T1" fmla="*/ 89 h 89"/>
                <a:gd name="T2" fmla="*/ 16 w 88"/>
                <a:gd name="T3" fmla="*/ 89 h 89"/>
                <a:gd name="T4" fmla="*/ 0 w 88"/>
                <a:gd name="T5" fmla="*/ 73 h 89"/>
                <a:gd name="T6" fmla="*/ 0 w 88"/>
                <a:gd name="T7" fmla="*/ 4 h 89"/>
                <a:gd name="T8" fmla="*/ 4 w 88"/>
                <a:gd name="T9" fmla="*/ 0 h 89"/>
                <a:gd name="T10" fmla="*/ 9 w 88"/>
                <a:gd name="T11" fmla="*/ 4 h 89"/>
                <a:gd name="T12" fmla="*/ 9 w 88"/>
                <a:gd name="T13" fmla="*/ 73 h 89"/>
                <a:gd name="T14" fmla="*/ 16 w 88"/>
                <a:gd name="T15" fmla="*/ 80 h 89"/>
                <a:gd name="T16" fmla="*/ 72 w 88"/>
                <a:gd name="T17" fmla="*/ 80 h 89"/>
                <a:gd name="T18" fmla="*/ 79 w 88"/>
                <a:gd name="T19" fmla="*/ 73 h 89"/>
                <a:gd name="T20" fmla="*/ 79 w 88"/>
                <a:gd name="T21" fmla="*/ 4 h 89"/>
                <a:gd name="T22" fmla="*/ 83 w 88"/>
                <a:gd name="T23" fmla="*/ 0 h 89"/>
                <a:gd name="T24" fmla="*/ 88 w 88"/>
                <a:gd name="T25" fmla="*/ 4 h 89"/>
                <a:gd name="T26" fmla="*/ 88 w 88"/>
                <a:gd name="T27" fmla="*/ 73 h 89"/>
                <a:gd name="T28" fmla="*/ 72 w 88"/>
                <a:gd name="T2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" h="89">
                  <a:moveTo>
                    <a:pt x="72" y="89"/>
                  </a:moveTo>
                  <a:cubicBezTo>
                    <a:pt x="16" y="89"/>
                    <a:pt x="16" y="89"/>
                    <a:pt x="16" y="89"/>
                  </a:cubicBezTo>
                  <a:cubicBezTo>
                    <a:pt x="7" y="89"/>
                    <a:pt x="0" y="82"/>
                    <a:pt x="0" y="7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7"/>
                    <a:pt x="12" y="80"/>
                    <a:pt x="16" y="80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6" y="80"/>
                    <a:pt x="79" y="77"/>
                    <a:pt x="79" y="73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2"/>
                    <a:pt x="81" y="0"/>
                    <a:pt x="83" y="0"/>
                  </a:cubicBezTo>
                  <a:cubicBezTo>
                    <a:pt x="86" y="0"/>
                    <a:pt x="88" y="2"/>
                    <a:pt x="88" y="4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82"/>
                    <a:pt x="81" y="89"/>
                    <a:pt x="72" y="8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2" name="Freeform 826">
              <a:extLst>
                <a:ext uri="{FF2B5EF4-FFF2-40B4-BE49-F238E27FC236}">
                  <a16:creationId xmlns:a16="http://schemas.microsoft.com/office/drawing/2014/main" id="{42BD34CE-E0A6-4CC6-8CBD-95DF6E0793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055" y="4912990"/>
              <a:ext cx="75875" cy="107490"/>
            </a:xfrm>
            <a:custGeom>
              <a:avLst/>
              <a:gdLst>
                <a:gd name="T0" fmla="*/ 27 w 42"/>
                <a:gd name="T1" fmla="*/ 59 h 59"/>
                <a:gd name="T2" fmla="*/ 4 w 42"/>
                <a:gd name="T3" fmla="*/ 59 h 59"/>
                <a:gd name="T4" fmla="*/ 0 w 42"/>
                <a:gd name="T5" fmla="*/ 55 h 59"/>
                <a:gd name="T6" fmla="*/ 4 w 42"/>
                <a:gd name="T7" fmla="*/ 51 h 59"/>
                <a:gd name="T8" fmla="*/ 27 w 42"/>
                <a:gd name="T9" fmla="*/ 51 h 59"/>
                <a:gd name="T10" fmla="*/ 34 w 42"/>
                <a:gd name="T11" fmla="*/ 44 h 59"/>
                <a:gd name="T12" fmla="*/ 34 w 42"/>
                <a:gd name="T13" fmla="*/ 15 h 59"/>
                <a:gd name="T14" fmla="*/ 27 w 42"/>
                <a:gd name="T15" fmla="*/ 8 h 59"/>
                <a:gd name="T16" fmla="*/ 4 w 42"/>
                <a:gd name="T17" fmla="*/ 8 h 59"/>
                <a:gd name="T18" fmla="*/ 0 w 42"/>
                <a:gd name="T19" fmla="*/ 4 h 59"/>
                <a:gd name="T20" fmla="*/ 4 w 42"/>
                <a:gd name="T21" fmla="*/ 0 h 59"/>
                <a:gd name="T22" fmla="*/ 27 w 42"/>
                <a:gd name="T23" fmla="*/ 0 h 59"/>
                <a:gd name="T24" fmla="*/ 42 w 42"/>
                <a:gd name="T25" fmla="*/ 15 h 59"/>
                <a:gd name="T26" fmla="*/ 42 w 42"/>
                <a:gd name="T27" fmla="*/ 44 h 59"/>
                <a:gd name="T28" fmla="*/ 27 w 42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59">
                  <a:moveTo>
                    <a:pt x="27" y="59"/>
                  </a:moveTo>
                  <a:cubicBezTo>
                    <a:pt x="4" y="59"/>
                    <a:pt x="4" y="59"/>
                    <a:pt x="4" y="59"/>
                  </a:cubicBezTo>
                  <a:cubicBezTo>
                    <a:pt x="2" y="59"/>
                    <a:pt x="0" y="57"/>
                    <a:pt x="0" y="55"/>
                  </a:cubicBezTo>
                  <a:cubicBezTo>
                    <a:pt x="0" y="52"/>
                    <a:pt x="2" y="51"/>
                    <a:pt x="4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31" y="51"/>
                    <a:pt x="34" y="47"/>
                    <a:pt x="34" y="44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1"/>
                    <a:pt x="31" y="8"/>
                    <a:pt x="27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5" y="0"/>
                    <a:pt x="42" y="7"/>
                    <a:pt x="42" y="15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52"/>
                    <a:pt x="35" y="59"/>
                    <a:pt x="27" y="5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3" name="Freeform 827">
              <a:extLst>
                <a:ext uri="{FF2B5EF4-FFF2-40B4-BE49-F238E27FC236}">
                  <a16:creationId xmlns:a16="http://schemas.microsoft.com/office/drawing/2014/main" id="{4F041A47-C38B-4FAF-9287-4C240CF435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5776" y="4832057"/>
              <a:ext cx="179571" cy="87256"/>
            </a:xfrm>
            <a:custGeom>
              <a:avLst/>
              <a:gdLst>
                <a:gd name="T0" fmla="*/ 50 w 99"/>
                <a:gd name="T1" fmla="*/ 48 h 48"/>
                <a:gd name="T2" fmla="*/ 33 w 99"/>
                <a:gd name="T3" fmla="*/ 41 h 48"/>
                <a:gd name="T4" fmla="*/ 22 w 99"/>
                <a:gd name="T5" fmla="*/ 45 h 48"/>
                <a:gd name="T6" fmla="*/ 0 w 99"/>
                <a:gd name="T7" fmla="*/ 24 h 48"/>
                <a:gd name="T8" fmla="*/ 22 w 99"/>
                <a:gd name="T9" fmla="*/ 2 h 48"/>
                <a:gd name="T10" fmla="*/ 33 w 99"/>
                <a:gd name="T11" fmla="*/ 6 h 48"/>
                <a:gd name="T12" fmla="*/ 50 w 99"/>
                <a:gd name="T13" fmla="*/ 0 h 48"/>
                <a:gd name="T14" fmla="*/ 66 w 99"/>
                <a:gd name="T15" fmla="*/ 6 h 48"/>
                <a:gd name="T16" fmla="*/ 78 w 99"/>
                <a:gd name="T17" fmla="*/ 2 h 48"/>
                <a:gd name="T18" fmla="*/ 99 w 99"/>
                <a:gd name="T19" fmla="*/ 24 h 48"/>
                <a:gd name="T20" fmla="*/ 78 w 99"/>
                <a:gd name="T21" fmla="*/ 45 h 48"/>
                <a:gd name="T22" fmla="*/ 66 w 99"/>
                <a:gd name="T23" fmla="*/ 41 h 48"/>
                <a:gd name="T24" fmla="*/ 50 w 99"/>
                <a:gd name="T25" fmla="*/ 48 h 48"/>
                <a:gd name="T26" fmla="*/ 34 w 99"/>
                <a:gd name="T27" fmla="*/ 31 h 48"/>
                <a:gd name="T28" fmla="*/ 34 w 99"/>
                <a:gd name="T29" fmla="*/ 31 h 48"/>
                <a:gd name="T30" fmla="*/ 37 w 99"/>
                <a:gd name="T31" fmla="*/ 33 h 48"/>
                <a:gd name="T32" fmla="*/ 50 w 99"/>
                <a:gd name="T33" fmla="*/ 39 h 48"/>
                <a:gd name="T34" fmla="*/ 62 w 99"/>
                <a:gd name="T35" fmla="*/ 33 h 48"/>
                <a:gd name="T36" fmla="*/ 65 w 99"/>
                <a:gd name="T37" fmla="*/ 31 h 48"/>
                <a:gd name="T38" fmla="*/ 69 w 99"/>
                <a:gd name="T39" fmla="*/ 32 h 48"/>
                <a:gd name="T40" fmla="*/ 78 w 99"/>
                <a:gd name="T41" fmla="*/ 36 h 48"/>
                <a:gd name="T42" fmla="*/ 91 w 99"/>
                <a:gd name="T43" fmla="*/ 24 h 48"/>
                <a:gd name="T44" fmla="*/ 78 w 99"/>
                <a:gd name="T45" fmla="*/ 11 h 48"/>
                <a:gd name="T46" fmla="*/ 69 w 99"/>
                <a:gd name="T47" fmla="*/ 15 h 48"/>
                <a:gd name="T48" fmla="*/ 65 w 99"/>
                <a:gd name="T49" fmla="*/ 16 h 48"/>
                <a:gd name="T50" fmla="*/ 62 w 99"/>
                <a:gd name="T51" fmla="*/ 14 h 48"/>
                <a:gd name="T52" fmla="*/ 50 w 99"/>
                <a:gd name="T53" fmla="*/ 8 h 48"/>
                <a:gd name="T54" fmla="*/ 37 w 99"/>
                <a:gd name="T55" fmla="*/ 14 h 48"/>
                <a:gd name="T56" fmla="*/ 34 w 99"/>
                <a:gd name="T57" fmla="*/ 16 h 48"/>
                <a:gd name="T58" fmla="*/ 31 w 99"/>
                <a:gd name="T59" fmla="*/ 15 h 48"/>
                <a:gd name="T60" fmla="*/ 22 w 99"/>
                <a:gd name="T61" fmla="*/ 11 h 48"/>
                <a:gd name="T62" fmla="*/ 9 w 99"/>
                <a:gd name="T63" fmla="*/ 24 h 48"/>
                <a:gd name="T64" fmla="*/ 22 w 99"/>
                <a:gd name="T65" fmla="*/ 36 h 48"/>
                <a:gd name="T66" fmla="*/ 31 w 99"/>
                <a:gd name="T67" fmla="*/ 32 h 48"/>
                <a:gd name="T68" fmla="*/ 34 w 99"/>
                <a:gd name="T69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" h="48">
                  <a:moveTo>
                    <a:pt x="50" y="48"/>
                  </a:moveTo>
                  <a:cubicBezTo>
                    <a:pt x="44" y="48"/>
                    <a:pt x="38" y="45"/>
                    <a:pt x="33" y="41"/>
                  </a:cubicBezTo>
                  <a:cubicBezTo>
                    <a:pt x="30" y="44"/>
                    <a:pt x="26" y="45"/>
                    <a:pt x="22" y="45"/>
                  </a:cubicBezTo>
                  <a:cubicBezTo>
                    <a:pt x="10" y="45"/>
                    <a:pt x="0" y="35"/>
                    <a:pt x="0" y="24"/>
                  </a:cubicBezTo>
                  <a:cubicBezTo>
                    <a:pt x="0" y="12"/>
                    <a:pt x="10" y="2"/>
                    <a:pt x="22" y="2"/>
                  </a:cubicBezTo>
                  <a:cubicBezTo>
                    <a:pt x="26" y="2"/>
                    <a:pt x="30" y="4"/>
                    <a:pt x="33" y="6"/>
                  </a:cubicBezTo>
                  <a:cubicBezTo>
                    <a:pt x="38" y="2"/>
                    <a:pt x="44" y="0"/>
                    <a:pt x="50" y="0"/>
                  </a:cubicBezTo>
                  <a:cubicBezTo>
                    <a:pt x="56" y="0"/>
                    <a:pt x="62" y="2"/>
                    <a:pt x="66" y="6"/>
                  </a:cubicBezTo>
                  <a:cubicBezTo>
                    <a:pt x="70" y="4"/>
                    <a:pt x="74" y="2"/>
                    <a:pt x="78" y="2"/>
                  </a:cubicBezTo>
                  <a:cubicBezTo>
                    <a:pt x="90" y="2"/>
                    <a:pt x="99" y="12"/>
                    <a:pt x="99" y="24"/>
                  </a:cubicBezTo>
                  <a:cubicBezTo>
                    <a:pt x="99" y="35"/>
                    <a:pt x="90" y="45"/>
                    <a:pt x="78" y="45"/>
                  </a:cubicBezTo>
                  <a:cubicBezTo>
                    <a:pt x="74" y="45"/>
                    <a:pt x="70" y="44"/>
                    <a:pt x="66" y="41"/>
                  </a:cubicBezTo>
                  <a:cubicBezTo>
                    <a:pt x="62" y="45"/>
                    <a:pt x="56" y="48"/>
                    <a:pt x="50" y="48"/>
                  </a:cubicBezTo>
                  <a:close/>
                  <a:moveTo>
                    <a:pt x="34" y="31"/>
                  </a:moveTo>
                  <a:cubicBezTo>
                    <a:pt x="34" y="31"/>
                    <a:pt x="34" y="31"/>
                    <a:pt x="34" y="31"/>
                  </a:cubicBezTo>
                  <a:cubicBezTo>
                    <a:pt x="35" y="31"/>
                    <a:pt x="37" y="32"/>
                    <a:pt x="37" y="33"/>
                  </a:cubicBezTo>
                  <a:cubicBezTo>
                    <a:pt x="40" y="37"/>
                    <a:pt x="45" y="39"/>
                    <a:pt x="50" y="39"/>
                  </a:cubicBezTo>
                  <a:cubicBezTo>
                    <a:pt x="55" y="39"/>
                    <a:pt x="59" y="37"/>
                    <a:pt x="62" y="33"/>
                  </a:cubicBezTo>
                  <a:cubicBezTo>
                    <a:pt x="63" y="32"/>
                    <a:pt x="64" y="31"/>
                    <a:pt x="65" y="31"/>
                  </a:cubicBezTo>
                  <a:cubicBezTo>
                    <a:pt x="67" y="31"/>
                    <a:pt x="68" y="31"/>
                    <a:pt x="69" y="32"/>
                  </a:cubicBezTo>
                  <a:cubicBezTo>
                    <a:pt x="71" y="35"/>
                    <a:pt x="74" y="36"/>
                    <a:pt x="78" y="36"/>
                  </a:cubicBezTo>
                  <a:cubicBezTo>
                    <a:pt x="85" y="36"/>
                    <a:pt x="91" y="31"/>
                    <a:pt x="91" y="24"/>
                  </a:cubicBezTo>
                  <a:cubicBezTo>
                    <a:pt x="91" y="17"/>
                    <a:pt x="85" y="11"/>
                    <a:pt x="78" y="11"/>
                  </a:cubicBezTo>
                  <a:cubicBezTo>
                    <a:pt x="74" y="11"/>
                    <a:pt x="71" y="12"/>
                    <a:pt x="69" y="15"/>
                  </a:cubicBezTo>
                  <a:cubicBezTo>
                    <a:pt x="68" y="16"/>
                    <a:pt x="67" y="16"/>
                    <a:pt x="65" y="16"/>
                  </a:cubicBezTo>
                  <a:cubicBezTo>
                    <a:pt x="64" y="16"/>
                    <a:pt x="63" y="16"/>
                    <a:pt x="62" y="14"/>
                  </a:cubicBezTo>
                  <a:cubicBezTo>
                    <a:pt x="59" y="10"/>
                    <a:pt x="55" y="8"/>
                    <a:pt x="50" y="8"/>
                  </a:cubicBezTo>
                  <a:cubicBezTo>
                    <a:pt x="45" y="8"/>
                    <a:pt x="40" y="10"/>
                    <a:pt x="37" y="14"/>
                  </a:cubicBezTo>
                  <a:cubicBezTo>
                    <a:pt x="37" y="16"/>
                    <a:pt x="35" y="16"/>
                    <a:pt x="34" y="16"/>
                  </a:cubicBezTo>
                  <a:cubicBezTo>
                    <a:pt x="33" y="16"/>
                    <a:pt x="32" y="16"/>
                    <a:pt x="31" y="15"/>
                  </a:cubicBezTo>
                  <a:cubicBezTo>
                    <a:pt x="28" y="12"/>
                    <a:pt x="25" y="11"/>
                    <a:pt x="22" y="11"/>
                  </a:cubicBezTo>
                  <a:cubicBezTo>
                    <a:pt x="15" y="11"/>
                    <a:pt x="9" y="17"/>
                    <a:pt x="9" y="24"/>
                  </a:cubicBezTo>
                  <a:cubicBezTo>
                    <a:pt x="9" y="31"/>
                    <a:pt x="15" y="36"/>
                    <a:pt x="22" y="36"/>
                  </a:cubicBezTo>
                  <a:cubicBezTo>
                    <a:pt x="25" y="36"/>
                    <a:pt x="28" y="35"/>
                    <a:pt x="31" y="32"/>
                  </a:cubicBezTo>
                  <a:cubicBezTo>
                    <a:pt x="32" y="31"/>
                    <a:pt x="33" y="31"/>
                    <a:pt x="34" y="3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5" name="Agrupar 1684">
            <a:extLst>
              <a:ext uri="{FF2B5EF4-FFF2-40B4-BE49-F238E27FC236}">
                <a16:creationId xmlns:a16="http://schemas.microsoft.com/office/drawing/2014/main" id="{CC0E9283-053B-4E3D-99ED-848FB759AAD2}"/>
              </a:ext>
            </a:extLst>
          </p:cNvPr>
          <p:cNvGrpSpPr/>
          <p:nvPr/>
        </p:nvGrpSpPr>
        <p:grpSpPr>
          <a:xfrm>
            <a:off x="6020402" y="4820675"/>
            <a:ext cx="137840" cy="241537"/>
            <a:chOff x="6020402" y="4820675"/>
            <a:chExt cx="137840" cy="241537"/>
          </a:xfrm>
        </p:grpSpPr>
        <p:sp>
          <p:nvSpPr>
            <p:cNvPr id="1434" name="Freeform 828">
              <a:extLst>
                <a:ext uri="{FF2B5EF4-FFF2-40B4-BE49-F238E27FC236}">
                  <a16:creationId xmlns:a16="http://schemas.microsoft.com/office/drawing/2014/main" id="{943E9FA6-E762-4553-A429-4ABC8EAB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367" y="4995188"/>
              <a:ext cx="16440" cy="67023"/>
            </a:xfrm>
            <a:custGeom>
              <a:avLst/>
              <a:gdLst>
                <a:gd name="T0" fmla="*/ 4 w 9"/>
                <a:gd name="T1" fmla="*/ 37 h 37"/>
                <a:gd name="T2" fmla="*/ 0 w 9"/>
                <a:gd name="T3" fmla="*/ 32 h 37"/>
                <a:gd name="T4" fmla="*/ 0 w 9"/>
                <a:gd name="T5" fmla="*/ 4 h 37"/>
                <a:gd name="T6" fmla="*/ 4 w 9"/>
                <a:gd name="T7" fmla="*/ 0 h 37"/>
                <a:gd name="T8" fmla="*/ 9 w 9"/>
                <a:gd name="T9" fmla="*/ 4 h 37"/>
                <a:gd name="T10" fmla="*/ 9 w 9"/>
                <a:gd name="T11" fmla="*/ 32 h 37"/>
                <a:gd name="T12" fmla="*/ 4 w 9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7">
                  <a:moveTo>
                    <a:pt x="4" y="37"/>
                  </a:moveTo>
                  <a:cubicBezTo>
                    <a:pt x="2" y="37"/>
                    <a:pt x="0" y="35"/>
                    <a:pt x="0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5"/>
                    <a:pt x="7" y="37"/>
                    <a:pt x="4" y="3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5" name="Freeform 829">
              <a:extLst>
                <a:ext uri="{FF2B5EF4-FFF2-40B4-BE49-F238E27FC236}">
                  <a16:creationId xmlns:a16="http://schemas.microsoft.com/office/drawing/2014/main" id="{078EA4AE-B83E-430C-9541-2F7A99434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0752" y="5045772"/>
              <a:ext cx="78404" cy="16440"/>
            </a:xfrm>
            <a:custGeom>
              <a:avLst/>
              <a:gdLst>
                <a:gd name="T0" fmla="*/ 38 w 43"/>
                <a:gd name="T1" fmla="*/ 9 h 9"/>
                <a:gd name="T2" fmla="*/ 4 w 43"/>
                <a:gd name="T3" fmla="*/ 9 h 9"/>
                <a:gd name="T4" fmla="*/ 0 w 43"/>
                <a:gd name="T5" fmla="*/ 4 h 9"/>
                <a:gd name="T6" fmla="*/ 4 w 43"/>
                <a:gd name="T7" fmla="*/ 0 h 9"/>
                <a:gd name="T8" fmla="*/ 38 w 43"/>
                <a:gd name="T9" fmla="*/ 0 h 9"/>
                <a:gd name="T10" fmla="*/ 43 w 43"/>
                <a:gd name="T11" fmla="*/ 4 h 9"/>
                <a:gd name="T12" fmla="*/ 38 w 4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9">
                  <a:moveTo>
                    <a:pt x="3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3" y="2"/>
                    <a:pt x="43" y="4"/>
                  </a:cubicBezTo>
                  <a:cubicBezTo>
                    <a:pt x="43" y="7"/>
                    <a:pt x="41" y="9"/>
                    <a:pt x="38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6" name="Freeform 830">
              <a:extLst>
                <a:ext uri="{FF2B5EF4-FFF2-40B4-BE49-F238E27FC236}">
                  <a16:creationId xmlns:a16="http://schemas.microsoft.com/office/drawing/2014/main" id="{92749B01-968F-4B31-9A20-4B8DE1229E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0402" y="4820675"/>
              <a:ext cx="137840" cy="188423"/>
            </a:xfrm>
            <a:custGeom>
              <a:avLst/>
              <a:gdLst>
                <a:gd name="T0" fmla="*/ 38 w 76"/>
                <a:gd name="T1" fmla="*/ 104 h 104"/>
                <a:gd name="T2" fmla="*/ 0 w 76"/>
                <a:gd name="T3" fmla="*/ 61 h 104"/>
                <a:gd name="T4" fmla="*/ 11 w 76"/>
                <a:gd name="T5" fmla="*/ 3 h 104"/>
                <a:gd name="T6" fmla="*/ 15 w 76"/>
                <a:gd name="T7" fmla="*/ 0 h 104"/>
                <a:gd name="T8" fmla="*/ 61 w 76"/>
                <a:gd name="T9" fmla="*/ 0 h 104"/>
                <a:gd name="T10" fmla="*/ 65 w 76"/>
                <a:gd name="T11" fmla="*/ 3 h 104"/>
                <a:gd name="T12" fmla="*/ 76 w 76"/>
                <a:gd name="T13" fmla="*/ 61 h 104"/>
                <a:gd name="T14" fmla="*/ 38 w 76"/>
                <a:gd name="T15" fmla="*/ 104 h 104"/>
                <a:gd name="T16" fmla="*/ 18 w 76"/>
                <a:gd name="T17" fmla="*/ 8 h 104"/>
                <a:gd name="T18" fmla="*/ 9 w 76"/>
                <a:gd name="T19" fmla="*/ 61 h 104"/>
                <a:gd name="T20" fmla="*/ 38 w 76"/>
                <a:gd name="T21" fmla="*/ 96 h 104"/>
                <a:gd name="T22" fmla="*/ 68 w 76"/>
                <a:gd name="T23" fmla="*/ 61 h 104"/>
                <a:gd name="T24" fmla="*/ 58 w 76"/>
                <a:gd name="T25" fmla="*/ 8 h 104"/>
                <a:gd name="T26" fmla="*/ 18 w 76"/>
                <a:gd name="T27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104">
                  <a:moveTo>
                    <a:pt x="38" y="104"/>
                  </a:moveTo>
                  <a:cubicBezTo>
                    <a:pt x="14" y="104"/>
                    <a:pt x="0" y="88"/>
                    <a:pt x="0" y="61"/>
                  </a:cubicBezTo>
                  <a:cubicBezTo>
                    <a:pt x="0" y="45"/>
                    <a:pt x="5" y="21"/>
                    <a:pt x="11" y="3"/>
                  </a:cubicBezTo>
                  <a:cubicBezTo>
                    <a:pt x="12" y="1"/>
                    <a:pt x="13" y="0"/>
                    <a:pt x="1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5" y="1"/>
                    <a:pt x="65" y="3"/>
                  </a:cubicBezTo>
                  <a:cubicBezTo>
                    <a:pt x="72" y="21"/>
                    <a:pt x="76" y="45"/>
                    <a:pt x="76" y="61"/>
                  </a:cubicBezTo>
                  <a:cubicBezTo>
                    <a:pt x="76" y="88"/>
                    <a:pt x="62" y="104"/>
                    <a:pt x="38" y="104"/>
                  </a:cubicBezTo>
                  <a:close/>
                  <a:moveTo>
                    <a:pt x="18" y="8"/>
                  </a:moveTo>
                  <a:cubicBezTo>
                    <a:pt x="13" y="26"/>
                    <a:pt x="9" y="47"/>
                    <a:pt x="9" y="61"/>
                  </a:cubicBezTo>
                  <a:cubicBezTo>
                    <a:pt x="9" y="83"/>
                    <a:pt x="19" y="96"/>
                    <a:pt x="38" y="96"/>
                  </a:cubicBezTo>
                  <a:cubicBezTo>
                    <a:pt x="57" y="96"/>
                    <a:pt x="68" y="83"/>
                    <a:pt x="68" y="61"/>
                  </a:cubicBezTo>
                  <a:cubicBezTo>
                    <a:pt x="68" y="47"/>
                    <a:pt x="64" y="26"/>
                    <a:pt x="58" y="8"/>
                  </a:cubicBezTo>
                  <a:lnTo>
                    <a:pt x="18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7" name="Freeform 831">
              <a:extLst>
                <a:ext uri="{FF2B5EF4-FFF2-40B4-BE49-F238E27FC236}">
                  <a16:creationId xmlns:a16="http://schemas.microsoft.com/office/drawing/2014/main" id="{D0C5359D-AE89-4B8E-B47B-845C41950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9254" y="4862407"/>
              <a:ext cx="121400" cy="15175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1"/>
                    <a:pt x="67" y="4"/>
                  </a:cubicBezTo>
                  <a:cubicBezTo>
                    <a:pt x="67" y="6"/>
                    <a:pt x="65" y="8"/>
                    <a:pt x="63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8" name="Freeform 832">
              <a:extLst>
                <a:ext uri="{FF2B5EF4-FFF2-40B4-BE49-F238E27FC236}">
                  <a16:creationId xmlns:a16="http://schemas.microsoft.com/office/drawing/2014/main" id="{68B5D6B2-5410-4E8B-B83D-D8E17F79E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2483" y="4902873"/>
              <a:ext cx="25292" cy="25292"/>
            </a:xfrm>
            <a:custGeom>
              <a:avLst/>
              <a:gdLst>
                <a:gd name="T0" fmla="*/ 7 w 14"/>
                <a:gd name="T1" fmla="*/ 14 h 14"/>
                <a:gd name="T2" fmla="*/ 0 w 14"/>
                <a:gd name="T3" fmla="*/ 7 h 14"/>
                <a:gd name="T4" fmla="*/ 7 w 14"/>
                <a:gd name="T5" fmla="*/ 0 h 14"/>
                <a:gd name="T6" fmla="*/ 14 w 14"/>
                <a:gd name="T7" fmla="*/ 7 h 14"/>
                <a:gd name="T8" fmla="*/ 7 w 14"/>
                <a:gd name="T9" fmla="*/ 14 h 14"/>
                <a:gd name="T10" fmla="*/ 7 w 14"/>
                <a:gd name="T11" fmla="*/ 6 h 14"/>
                <a:gd name="T12" fmla="*/ 5 w 14"/>
                <a:gd name="T13" fmla="*/ 7 h 14"/>
                <a:gd name="T14" fmla="*/ 7 w 14"/>
                <a:gd name="T15" fmla="*/ 9 h 14"/>
                <a:gd name="T16" fmla="*/ 8 w 14"/>
                <a:gd name="T17" fmla="*/ 7 h 14"/>
                <a:gd name="T18" fmla="*/ 7 w 14"/>
                <a:gd name="T1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7" y="14"/>
                  </a:move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1"/>
                    <a:pt x="11" y="14"/>
                    <a:pt x="7" y="14"/>
                  </a:cubicBezTo>
                  <a:close/>
                  <a:moveTo>
                    <a:pt x="7" y="6"/>
                  </a:moveTo>
                  <a:cubicBezTo>
                    <a:pt x="6" y="6"/>
                    <a:pt x="5" y="6"/>
                    <a:pt x="5" y="7"/>
                  </a:cubicBezTo>
                  <a:cubicBezTo>
                    <a:pt x="5" y="8"/>
                    <a:pt x="6" y="9"/>
                    <a:pt x="7" y="9"/>
                  </a:cubicBezTo>
                  <a:cubicBezTo>
                    <a:pt x="8" y="9"/>
                    <a:pt x="8" y="8"/>
                    <a:pt x="8" y="7"/>
                  </a:cubicBezTo>
                  <a:cubicBezTo>
                    <a:pt x="8" y="6"/>
                    <a:pt x="8" y="6"/>
                    <a:pt x="7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9" name="Freeform 833">
              <a:extLst>
                <a:ext uri="{FF2B5EF4-FFF2-40B4-BE49-F238E27FC236}">
                  <a16:creationId xmlns:a16="http://schemas.microsoft.com/office/drawing/2014/main" id="{111A570C-AE24-4031-A6C4-BE95C964B3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2133" y="4933224"/>
              <a:ext cx="25292" cy="25292"/>
            </a:xfrm>
            <a:custGeom>
              <a:avLst/>
              <a:gdLst>
                <a:gd name="T0" fmla="*/ 7 w 14"/>
                <a:gd name="T1" fmla="*/ 14 h 14"/>
                <a:gd name="T2" fmla="*/ 0 w 14"/>
                <a:gd name="T3" fmla="*/ 7 h 14"/>
                <a:gd name="T4" fmla="*/ 7 w 14"/>
                <a:gd name="T5" fmla="*/ 0 h 14"/>
                <a:gd name="T6" fmla="*/ 14 w 14"/>
                <a:gd name="T7" fmla="*/ 7 h 14"/>
                <a:gd name="T8" fmla="*/ 7 w 14"/>
                <a:gd name="T9" fmla="*/ 14 h 14"/>
                <a:gd name="T10" fmla="*/ 7 w 14"/>
                <a:gd name="T11" fmla="*/ 6 h 14"/>
                <a:gd name="T12" fmla="*/ 5 w 14"/>
                <a:gd name="T13" fmla="*/ 7 h 14"/>
                <a:gd name="T14" fmla="*/ 7 w 14"/>
                <a:gd name="T15" fmla="*/ 9 h 14"/>
                <a:gd name="T16" fmla="*/ 8 w 14"/>
                <a:gd name="T17" fmla="*/ 7 h 14"/>
                <a:gd name="T18" fmla="*/ 7 w 14"/>
                <a:gd name="T1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7" y="14"/>
                  </a:move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1"/>
                    <a:pt x="11" y="14"/>
                    <a:pt x="7" y="14"/>
                  </a:cubicBezTo>
                  <a:close/>
                  <a:moveTo>
                    <a:pt x="7" y="6"/>
                  </a:moveTo>
                  <a:cubicBezTo>
                    <a:pt x="6" y="6"/>
                    <a:pt x="5" y="6"/>
                    <a:pt x="5" y="7"/>
                  </a:cubicBezTo>
                  <a:cubicBezTo>
                    <a:pt x="5" y="8"/>
                    <a:pt x="6" y="9"/>
                    <a:pt x="7" y="9"/>
                  </a:cubicBezTo>
                  <a:cubicBezTo>
                    <a:pt x="8" y="9"/>
                    <a:pt x="8" y="8"/>
                    <a:pt x="8" y="7"/>
                  </a:cubicBezTo>
                  <a:cubicBezTo>
                    <a:pt x="8" y="6"/>
                    <a:pt x="8" y="6"/>
                    <a:pt x="7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9" name="Agrupar 1678">
            <a:extLst>
              <a:ext uri="{FF2B5EF4-FFF2-40B4-BE49-F238E27FC236}">
                <a16:creationId xmlns:a16="http://schemas.microsoft.com/office/drawing/2014/main" id="{4E88358E-9300-4D86-8DE3-90E0FD0B3C69}"/>
              </a:ext>
            </a:extLst>
          </p:cNvPr>
          <p:cNvGrpSpPr/>
          <p:nvPr/>
        </p:nvGrpSpPr>
        <p:grpSpPr>
          <a:xfrm>
            <a:off x="6413688" y="4376806"/>
            <a:ext cx="221303" cy="209921"/>
            <a:chOff x="6413688" y="4376806"/>
            <a:chExt cx="221303" cy="209921"/>
          </a:xfrm>
        </p:grpSpPr>
        <p:sp>
          <p:nvSpPr>
            <p:cNvPr id="1440" name="Freeform 834">
              <a:extLst>
                <a:ext uri="{FF2B5EF4-FFF2-40B4-BE49-F238E27FC236}">
                  <a16:creationId xmlns:a16="http://schemas.microsoft.com/office/drawing/2014/main" id="{59D28E68-FBED-4070-9D83-C79F77B77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303" y="4418537"/>
              <a:ext cx="189688" cy="168190"/>
            </a:xfrm>
            <a:custGeom>
              <a:avLst/>
              <a:gdLst>
                <a:gd name="T0" fmla="*/ 87 w 105"/>
                <a:gd name="T1" fmla="*/ 93 h 93"/>
                <a:gd name="T2" fmla="*/ 17 w 105"/>
                <a:gd name="T3" fmla="*/ 93 h 93"/>
                <a:gd name="T4" fmla="*/ 14 w 105"/>
                <a:gd name="T5" fmla="*/ 92 h 93"/>
                <a:gd name="T6" fmla="*/ 0 w 105"/>
                <a:gd name="T7" fmla="*/ 55 h 93"/>
                <a:gd name="T8" fmla="*/ 24 w 105"/>
                <a:gd name="T9" fmla="*/ 1 h 93"/>
                <a:gd name="T10" fmla="*/ 27 w 105"/>
                <a:gd name="T11" fmla="*/ 0 h 93"/>
                <a:gd name="T12" fmla="*/ 78 w 105"/>
                <a:gd name="T13" fmla="*/ 0 h 93"/>
                <a:gd name="T14" fmla="*/ 81 w 105"/>
                <a:gd name="T15" fmla="*/ 1 h 93"/>
                <a:gd name="T16" fmla="*/ 105 w 105"/>
                <a:gd name="T17" fmla="*/ 55 h 93"/>
                <a:gd name="T18" fmla="*/ 91 w 105"/>
                <a:gd name="T19" fmla="*/ 92 h 93"/>
                <a:gd name="T20" fmla="*/ 87 w 105"/>
                <a:gd name="T21" fmla="*/ 93 h 93"/>
                <a:gd name="T22" fmla="*/ 19 w 105"/>
                <a:gd name="T23" fmla="*/ 84 h 93"/>
                <a:gd name="T24" fmla="*/ 86 w 105"/>
                <a:gd name="T25" fmla="*/ 84 h 93"/>
                <a:gd name="T26" fmla="*/ 96 w 105"/>
                <a:gd name="T27" fmla="*/ 55 h 93"/>
                <a:gd name="T28" fmla="*/ 76 w 105"/>
                <a:gd name="T29" fmla="*/ 8 h 93"/>
                <a:gd name="T30" fmla="*/ 29 w 105"/>
                <a:gd name="T31" fmla="*/ 8 h 93"/>
                <a:gd name="T32" fmla="*/ 9 w 105"/>
                <a:gd name="T33" fmla="*/ 55 h 93"/>
                <a:gd name="T34" fmla="*/ 19 w 105"/>
                <a:gd name="T35" fmla="*/ 8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93">
                  <a:moveTo>
                    <a:pt x="87" y="93"/>
                  </a:moveTo>
                  <a:cubicBezTo>
                    <a:pt x="17" y="93"/>
                    <a:pt x="17" y="93"/>
                    <a:pt x="17" y="93"/>
                  </a:cubicBezTo>
                  <a:cubicBezTo>
                    <a:pt x="16" y="93"/>
                    <a:pt x="15" y="92"/>
                    <a:pt x="14" y="92"/>
                  </a:cubicBezTo>
                  <a:cubicBezTo>
                    <a:pt x="5" y="81"/>
                    <a:pt x="0" y="68"/>
                    <a:pt x="0" y="55"/>
                  </a:cubicBezTo>
                  <a:cubicBezTo>
                    <a:pt x="0" y="35"/>
                    <a:pt x="10" y="14"/>
                    <a:pt x="24" y="1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95" y="14"/>
                    <a:pt x="105" y="35"/>
                    <a:pt x="105" y="55"/>
                  </a:cubicBezTo>
                  <a:cubicBezTo>
                    <a:pt x="105" y="68"/>
                    <a:pt x="100" y="81"/>
                    <a:pt x="91" y="92"/>
                  </a:cubicBezTo>
                  <a:cubicBezTo>
                    <a:pt x="90" y="92"/>
                    <a:pt x="89" y="93"/>
                    <a:pt x="87" y="93"/>
                  </a:cubicBezTo>
                  <a:close/>
                  <a:moveTo>
                    <a:pt x="19" y="84"/>
                  </a:moveTo>
                  <a:cubicBezTo>
                    <a:pt x="86" y="84"/>
                    <a:pt x="86" y="84"/>
                    <a:pt x="86" y="84"/>
                  </a:cubicBezTo>
                  <a:cubicBezTo>
                    <a:pt x="92" y="76"/>
                    <a:pt x="96" y="66"/>
                    <a:pt x="96" y="55"/>
                  </a:cubicBezTo>
                  <a:cubicBezTo>
                    <a:pt x="96" y="38"/>
                    <a:pt x="88" y="19"/>
                    <a:pt x="76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17" y="19"/>
                    <a:pt x="9" y="38"/>
                    <a:pt x="9" y="55"/>
                  </a:cubicBezTo>
                  <a:cubicBezTo>
                    <a:pt x="9" y="66"/>
                    <a:pt x="13" y="76"/>
                    <a:pt x="19" y="8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1" name="Freeform 835">
              <a:extLst>
                <a:ext uri="{FF2B5EF4-FFF2-40B4-BE49-F238E27FC236}">
                  <a16:creationId xmlns:a16="http://schemas.microsoft.com/office/drawing/2014/main" id="{D375B1EA-2924-40E7-8687-8A765B619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034" y="4376806"/>
              <a:ext cx="137840" cy="55642"/>
            </a:xfrm>
            <a:custGeom>
              <a:avLst/>
              <a:gdLst>
                <a:gd name="T0" fmla="*/ 55 w 76"/>
                <a:gd name="T1" fmla="*/ 31 h 31"/>
                <a:gd name="T2" fmla="*/ 52 w 76"/>
                <a:gd name="T3" fmla="*/ 30 h 31"/>
                <a:gd name="T4" fmla="*/ 51 w 76"/>
                <a:gd name="T5" fmla="*/ 24 h 31"/>
                <a:gd name="T6" fmla="*/ 63 w 76"/>
                <a:gd name="T7" fmla="*/ 9 h 31"/>
                <a:gd name="T8" fmla="*/ 8 w 76"/>
                <a:gd name="T9" fmla="*/ 9 h 31"/>
                <a:gd name="T10" fmla="*/ 8 w 76"/>
                <a:gd name="T11" fmla="*/ 27 h 31"/>
                <a:gd name="T12" fmla="*/ 4 w 76"/>
                <a:gd name="T13" fmla="*/ 31 h 31"/>
                <a:gd name="T14" fmla="*/ 0 w 76"/>
                <a:gd name="T15" fmla="*/ 27 h 31"/>
                <a:gd name="T16" fmla="*/ 0 w 76"/>
                <a:gd name="T17" fmla="*/ 4 h 31"/>
                <a:gd name="T18" fmla="*/ 4 w 76"/>
                <a:gd name="T19" fmla="*/ 0 h 31"/>
                <a:gd name="T20" fmla="*/ 72 w 76"/>
                <a:gd name="T21" fmla="*/ 0 h 31"/>
                <a:gd name="T22" fmla="*/ 76 w 76"/>
                <a:gd name="T23" fmla="*/ 2 h 31"/>
                <a:gd name="T24" fmla="*/ 75 w 76"/>
                <a:gd name="T25" fmla="*/ 7 h 31"/>
                <a:gd name="T26" fmla="*/ 58 w 76"/>
                <a:gd name="T27" fmla="*/ 30 h 31"/>
                <a:gd name="T28" fmla="*/ 55 w 76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31">
                  <a:moveTo>
                    <a:pt x="55" y="31"/>
                  </a:moveTo>
                  <a:cubicBezTo>
                    <a:pt x="54" y="31"/>
                    <a:pt x="53" y="31"/>
                    <a:pt x="52" y="30"/>
                  </a:cubicBezTo>
                  <a:cubicBezTo>
                    <a:pt x="50" y="29"/>
                    <a:pt x="50" y="26"/>
                    <a:pt x="51" y="24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9"/>
                    <a:pt x="6" y="31"/>
                    <a:pt x="4" y="31"/>
                  </a:cubicBezTo>
                  <a:cubicBezTo>
                    <a:pt x="2" y="31"/>
                    <a:pt x="0" y="29"/>
                    <a:pt x="0" y="2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3" y="0"/>
                    <a:pt x="75" y="1"/>
                    <a:pt x="76" y="2"/>
                  </a:cubicBezTo>
                  <a:cubicBezTo>
                    <a:pt x="76" y="4"/>
                    <a:pt x="76" y="6"/>
                    <a:pt x="75" y="7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7" y="31"/>
                    <a:pt x="56" y="31"/>
                    <a:pt x="55" y="3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2" name="Freeform 836">
              <a:extLst>
                <a:ext uri="{FF2B5EF4-FFF2-40B4-BE49-F238E27FC236}">
                  <a16:creationId xmlns:a16="http://schemas.microsoft.com/office/drawing/2014/main" id="{F55897AD-E323-479F-9D2E-7B3744492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688" y="4376806"/>
              <a:ext cx="94844" cy="77140"/>
            </a:xfrm>
            <a:custGeom>
              <a:avLst/>
              <a:gdLst>
                <a:gd name="T0" fmla="*/ 5 w 52"/>
                <a:gd name="T1" fmla="*/ 43 h 43"/>
                <a:gd name="T2" fmla="*/ 0 w 52"/>
                <a:gd name="T3" fmla="*/ 38 h 43"/>
                <a:gd name="T4" fmla="*/ 0 w 52"/>
                <a:gd name="T5" fmla="*/ 27 h 43"/>
                <a:gd name="T6" fmla="*/ 27 w 52"/>
                <a:gd name="T7" fmla="*/ 0 h 43"/>
                <a:gd name="T8" fmla="*/ 47 w 52"/>
                <a:gd name="T9" fmla="*/ 0 h 43"/>
                <a:gd name="T10" fmla="*/ 52 w 52"/>
                <a:gd name="T11" fmla="*/ 4 h 43"/>
                <a:gd name="T12" fmla="*/ 47 w 52"/>
                <a:gd name="T13" fmla="*/ 9 h 43"/>
                <a:gd name="T14" fmla="*/ 27 w 52"/>
                <a:gd name="T15" fmla="*/ 9 h 43"/>
                <a:gd name="T16" fmla="*/ 9 w 52"/>
                <a:gd name="T17" fmla="*/ 27 h 43"/>
                <a:gd name="T18" fmla="*/ 9 w 52"/>
                <a:gd name="T19" fmla="*/ 38 h 43"/>
                <a:gd name="T20" fmla="*/ 5 w 52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43">
                  <a:moveTo>
                    <a:pt x="5" y="43"/>
                  </a:moveTo>
                  <a:cubicBezTo>
                    <a:pt x="2" y="43"/>
                    <a:pt x="0" y="41"/>
                    <a:pt x="0" y="3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7"/>
                    <a:pt x="50" y="9"/>
                    <a:pt x="4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17" y="9"/>
                    <a:pt x="9" y="17"/>
                    <a:pt x="9" y="27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41"/>
                    <a:pt x="7" y="43"/>
                    <a:pt x="5" y="4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6" name="Agrupar 1675">
            <a:extLst>
              <a:ext uri="{FF2B5EF4-FFF2-40B4-BE49-F238E27FC236}">
                <a16:creationId xmlns:a16="http://schemas.microsoft.com/office/drawing/2014/main" id="{9065BB7C-673B-4717-8052-7C3FD49A7D61}"/>
              </a:ext>
            </a:extLst>
          </p:cNvPr>
          <p:cNvGrpSpPr/>
          <p:nvPr/>
        </p:nvGrpSpPr>
        <p:grpSpPr>
          <a:xfrm>
            <a:off x="5192099" y="4370483"/>
            <a:ext cx="221302" cy="221302"/>
            <a:chOff x="5192099" y="4370483"/>
            <a:chExt cx="221302" cy="221302"/>
          </a:xfrm>
        </p:grpSpPr>
        <p:sp>
          <p:nvSpPr>
            <p:cNvPr id="1443" name="Freeform 837">
              <a:extLst>
                <a:ext uri="{FF2B5EF4-FFF2-40B4-BE49-F238E27FC236}">
                  <a16:creationId xmlns:a16="http://schemas.microsoft.com/office/drawing/2014/main" id="{D5B3A05D-7F76-4094-A000-AEC0006B1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99" y="4412214"/>
              <a:ext cx="221302" cy="15175"/>
            </a:xfrm>
            <a:custGeom>
              <a:avLst/>
              <a:gdLst>
                <a:gd name="T0" fmla="*/ 117 w 122"/>
                <a:gd name="T1" fmla="*/ 8 h 8"/>
                <a:gd name="T2" fmla="*/ 4 w 122"/>
                <a:gd name="T3" fmla="*/ 8 h 8"/>
                <a:gd name="T4" fmla="*/ 0 w 122"/>
                <a:gd name="T5" fmla="*/ 4 h 8"/>
                <a:gd name="T6" fmla="*/ 4 w 122"/>
                <a:gd name="T7" fmla="*/ 0 h 8"/>
                <a:gd name="T8" fmla="*/ 117 w 122"/>
                <a:gd name="T9" fmla="*/ 0 h 8"/>
                <a:gd name="T10" fmla="*/ 122 w 122"/>
                <a:gd name="T11" fmla="*/ 4 h 8"/>
                <a:gd name="T12" fmla="*/ 117 w 12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8">
                  <a:moveTo>
                    <a:pt x="1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0" y="0"/>
                    <a:pt x="122" y="2"/>
                    <a:pt x="122" y="4"/>
                  </a:cubicBezTo>
                  <a:cubicBezTo>
                    <a:pt x="122" y="7"/>
                    <a:pt x="120" y="8"/>
                    <a:pt x="117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4" name="Freeform 838">
              <a:extLst>
                <a:ext uri="{FF2B5EF4-FFF2-40B4-BE49-F238E27FC236}">
                  <a16:creationId xmlns:a16="http://schemas.microsoft.com/office/drawing/2014/main" id="{2A1E67F2-107F-467F-B814-E59B9D612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067" y="4370483"/>
              <a:ext cx="182100" cy="58171"/>
            </a:xfrm>
            <a:custGeom>
              <a:avLst/>
              <a:gdLst>
                <a:gd name="T0" fmla="*/ 95 w 100"/>
                <a:gd name="T1" fmla="*/ 31 h 32"/>
                <a:gd name="T2" fmla="*/ 91 w 100"/>
                <a:gd name="T3" fmla="*/ 29 h 32"/>
                <a:gd name="T4" fmla="*/ 81 w 100"/>
                <a:gd name="T5" fmla="*/ 9 h 32"/>
                <a:gd name="T6" fmla="*/ 19 w 100"/>
                <a:gd name="T7" fmla="*/ 9 h 32"/>
                <a:gd name="T8" fmla="*/ 9 w 100"/>
                <a:gd name="T9" fmla="*/ 29 h 32"/>
                <a:gd name="T10" fmla="*/ 3 w 100"/>
                <a:gd name="T11" fmla="*/ 31 h 32"/>
                <a:gd name="T12" fmla="*/ 1 w 100"/>
                <a:gd name="T13" fmla="*/ 25 h 32"/>
                <a:gd name="T14" fmla="*/ 12 w 100"/>
                <a:gd name="T15" fmla="*/ 3 h 32"/>
                <a:gd name="T16" fmla="*/ 16 w 100"/>
                <a:gd name="T17" fmla="*/ 0 h 32"/>
                <a:gd name="T18" fmla="*/ 84 w 100"/>
                <a:gd name="T19" fmla="*/ 0 h 32"/>
                <a:gd name="T20" fmla="*/ 88 w 100"/>
                <a:gd name="T21" fmla="*/ 3 h 32"/>
                <a:gd name="T22" fmla="*/ 99 w 100"/>
                <a:gd name="T23" fmla="*/ 25 h 32"/>
                <a:gd name="T24" fmla="*/ 97 w 100"/>
                <a:gd name="T25" fmla="*/ 31 h 32"/>
                <a:gd name="T26" fmla="*/ 95 w 100"/>
                <a:gd name="T27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" h="32">
                  <a:moveTo>
                    <a:pt x="95" y="31"/>
                  </a:moveTo>
                  <a:cubicBezTo>
                    <a:pt x="93" y="31"/>
                    <a:pt x="92" y="31"/>
                    <a:pt x="91" y="29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7" y="31"/>
                    <a:pt x="5" y="32"/>
                    <a:pt x="3" y="31"/>
                  </a:cubicBezTo>
                  <a:cubicBezTo>
                    <a:pt x="1" y="30"/>
                    <a:pt x="0" y="27"/>
                    <a:pt x="1" y="2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1"/>
                    <a:pt x="14" y="0"/>
                    <a:pt x="1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5" y="0"/>
                    <a:pt x="87" y="1"/>
                    <a:pt x="88" y="3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100" y="27"/>
                    <a:pt x="99" y="30"/>
                    <a:pt x="97" y="31"/>
                  </a:cubicBezTo>
                  <a:cubicBezTo>
                    <a:pt x="96" y="31"/>
                    <a:pt x="96" y="31"/>
                    <a:pt x="95" y="3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5" name="Freeform 839">
              <a:extLst>
                <a:ext uri="{FF2B5EF4-FFF2-40B4-BE49-F238E27FC236}">
                  <a16:creationId xmlns:a16="http://schemas.microsoft.com/office/drawing/2014/main" id="{FC756A27-C181-4C2E-9C48-E98037D3D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067" y="4412214"/>
              <a:ext cx="182100" cy="179571"/>
            </a:xfrm>
            <a:custGeom>
              <a:avLst/>
              <a:gdLst>
                <a:gd name="T0" fmla="*/ 84 w 100"/>
                <a:gd name="T1" fmla="*/ 99 h 99"/>
                <a:gd name="T2" fmla="*/ 16 w 100"/>
                <a:gd name="T3" fmla="*/ 99 h 99"/>
                <a:gd name="T4" fmla="*/ 12 w 100"/>
                <a:gd name="T5" fmla="*/ 95 h 99"/>
                <a:gd name="T6" fmla="*/ 0 w 100"/>
                <a:gd name="T7" fmla="*/ 5 h 99"/>
                <a:gd name="T8" fmla="*/ 4 w 100"/>
                <a:gd name="T9" fmla="*/ 0 h 99"/>
                <a:gd name="T10" fmla="*/ 9 w 100"/>
                <a:gd name="T11" fmla="*/ 4 h 99"/>
                <a:gd name="T12" fmla="*/ 20 w 100"/>
                <a:gd name="T13" fmla="*/ 90 h 99"/>
                <a:gd name="T14" fmla="*/ 80 w 100"/>
                <a:gd name="T15" fmla="*/ 90 h 99"/>
                <a:gd name="T16" fmla="*/ 91 w 100"/>
                <a:gd name="T17" fmla="*/ 4 h 99"/>
                <a:gd name="T18" fmla="*/ 96 w 100"/>
                <a:gd name="T19" fmla="*/ 0 h 99"/>
                <a:gd name="T20" fmla="*/ 99 w 100"/>
                <a:gd name="T21" fmla="*/ 5 h 99"/>
                <a:gd name="T22" fmla="*/ 88 w 100"/>
                <a:gd name="T23" fmla="*/ 95 h 99"/>
                <a:gd name="T24" fmla="*/ 84 w 100"/>
                <a:gd name="T2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99">
                  <a:moveTo>
                    <a:pt x="84" y="99"/>
                  </a:moveTo>
                  <a:cubicBezTo>
                    <a:pt x="16" y="99"/>
                    <a:pt x="16" y="99"/>
                    <a:pt x="16" y="99"/>
                  </a:cubicBezTo>
                  <a:cubicBezTo>
                    <a:pt x="14" y="99"/>
                    <a:pt x="12" y="97"/>
                    <a:pt x="12" y="9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1" y="1"/>
                    <a:pt x="93" y="0"/>
                    <a:pt x="96" y="0"/>
                  </a:cubicBezTo>
                  <a:cubicBezTo>
                    <a:pt x="98" y="0"/>
                    <a:pt x="100" y="2"/>
                    <a:pt x="99" y="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8" y="97"/>
                    <a:pt x="86" y="99"/>
                    <a:pt x="84" y="9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6" name="Freeform 840">
              <a:extLst>
                <a:ext uri="{FF2B5EF4-FFF2-40B4-BE49-F238E27FC236}">
                  <a16:creationId xmlns:a16="http://schemas.microsoft.com/office/drawing/2014/main" id="{16B25D93-F2E9-47B3-8762-422324B1AB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3032" y="4474179"/>
              <a:ext cx="56906" cy="56906"/>
            </a:xfrm>
            <a:custGeom>
              <a:avLst/>
              <a:gdLst>
                <a:gd name="T0" fmla="*/ 16 w 31"/>
                <a:gd name="T1" fmla="*/ 31 h 31"/>
                <a:gd name="T2" fmla="*/ 0 w 31"/>
                <a:gd name="T3" fmla="*/ 15 h 31"/>
                <a:gd name="T4" fmla="*/ 16 w 31"/>
                <a:gd name="T5" fmla="*/ 0 h 31"/>
                <a:gd name="T6" fmla="*/ 31 w 31"/>
                <a:gd name="T7" fmla="*/ 15 h 31"/>
                <a:gd name="T8" fmla="*/ 16 w 31"/>
                <a:gd name="T9" fmla="*/ 31 h 31"/>
                <a:gd name="T10" fmla="*/ 16 w 31"/>
                <a:gd name="T11" fmla="*/ 8 h 31"/>
                <a:gd name="T12" fmla="*/ 9 w 31"/>
                <a:gd name="T13" fmla="*/ 15 h 31"/>
                <a:gd name="T14" fmla="*/ 16 w 31"/>
                <a:gd name="T15" fmla="*/ 22 h 31"/>
                <a:gd name="T16" fmla="*/ 23 w 31"/>
                <a:gd name="T17" fmla="*/ 15 h 31"/>
                <a:gd name="T18" fmla="*/ 16 w 31"/>
                <a:gd name="T19" fmla="*/ 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1">
                  <a:moveTo>
                    <a:pt x="16" y="31"/>
                  </a:moveTo>
                  <a:cubicBezTo>
                    <a:pt x="7" y="31"/>
                    <a:pt x="0" y="24"/>
                    <a:pt x="0" y="15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24"/>
                    <a:pt x="24" y="31"/>
                    <a:pt x="16" y="31"/>
                  </a:cubicBezTo>
                  <a:close/>
                  <a:moveTo>
                    <a:pt x="16" y="8"/>
                  </a:moveTo>
                  <a:cubicBezTo>
                    <a:pt x="12" y="8"/>
                    <a:pt x="9" y="11"/>
                    <a:pt x="9" y="15"/>
                  </a:cubicBezTo>
                  <a:cubicBezTo>
                    <a:pt x="9" y="19"/>
                    <a:pt x="12" y="22"/>
                    <a:pt x="16" y="22"/>
                  </a:cubicBezTo>
                  <a:cubicBezTo>
                    <a:pt x="20" y="22"/>
                    <a:pt x="23" y="19"/>
                    <a:pt x="23" y="15"/>
                  </a:cubicBezTo>
                  <a:cubicBezTo>
                    <a:pt x="23" y="11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5" name="Agrupar 1674">
            <a:extLst>
              <a:ext uri="{FF2B5EF4-FFF2-40B4-BE49-F238E27FC236}">
                <a16:creationId xmlns:a16="http://schemas.microsoft.com/office/drawing/2014/main" id="{37682394-3B34-4ABA-9799-79250D38CA26}"/>
              </a:ext>
            </a:extLst>
          </p:cNvPr>
          <p:cNvGrpSpPr/>
          <p:nvPr/>
        </p:nvGrpSpPr>
        <p:grpSpPr>
          <a:xfrm>
            <a:off x="4803871" y="4370483"/>
            <a:ext cx="240271" cy="221302"/>
            <a:chOff x="4803871" y="4370483"/>
            <a:chExt cx="240271" cy="221302"/>
          </a:xfrm>
        </p:grpSpPr>
        <p:sp>
          <p:nvSpPr>
            <p:cNvPr id="1447" name="Freeform 841">
              <a:extLst>
                <a:ext uri="{FF2B5EF4-FFF2-40B4-BE49-F238E27FC236}">
                  <a16:creationId xmlns:a16="http://schemas.microsoft.com/office/drawing/2014/main" id="{0272EC07-981D-481B-BD9B-A83148FE6A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871" y="4464062"/>
              <a:ext cx="179571" cy="127723"/>
            </a:xfrm>
            <a:custGeom>
              <a:avLst/>
              <a:gdLst>
                <a:gd name="T0" fmla="*/ 50 w 99"/>
                <a:gd name="T1" fmla="*/ 71 h 71"/>
                <a:gd name="T2" fmla="*/ 0 w 99"/>
                <a:gd name="T3" fmla="*/ 21 h 71"/>
                <a:gd name="T4" fmla="*/ 0 w 99"/>
                <a:gd name="T5" fmla="*/ 4 h 71"/>
                <a:gd name="T6" fmla="*/ 5 w 99"/>
                <a:gd name="T7" fmla="*/ 0 h 71"/>
                <a:gd name="T8" fmla="*/ 95 w 99"/>
                <a:gd name="T9" fmla="*/ 0 h 71"/>
                <a:gd name="T10" fmla="*/ 99 w 99"/>
                <a:gd name="T11" fmla="*/ 4 h 71"/>
                <a:gd name="T12" fmla="*/ 99 w 99"/>
                <a:gd name="T13" fmla="*/ 21 h 71"/>
                <a:gd name="T14" fmla="*/ 50 w 99"/>
                <a:gd name="T15" fmla="*/ 71 h 71"/>
                <a:gd name="T16" fmla="*/ 9 w 99"/>
                <a:gd name="T17" fmla="*/ 9 h 71"/>
                <a:gd name="T18" fmla="*/ 9 w 99"/>
                <a:gd name="T19" fmla="*/ 21 h 71"/>
                <a:gd name="T20" fmla="*/ 50 w 99"/>
                <a:gd name="T21" fmla="*/ 62 h 71"/>
                <a:gd name="T22" fmla="*/ 91 w 99"/>
                <a:gd name="T23" fmla="*/ 21 h 71"/>
                <a:gd name="T24" fmla="*/ 91 w 99"/>
                <a:gd name="T25" fmla="*/ 9 h 71"/>
                <a:gd name="T26" fmla="*/ 9 w 99"/>
                <a:gd name="T27" fmla="*/ 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71">
                  <a:moveTo>
                    <a:pt x="50" y="71"/>
                  </a:moveTo>
                  <a:cubicBezTo>
                    <a:pt x="22" y="71"/>
                    <a:pt x="0" y="49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99" y="49"/>
                    <a:pt x="77" y="71"/>
                    <a:pt x="50" y="71"/>
                  </a:cubicBezTo>
                  <a:close/>
                  <a:moveTo>
                    <a:pt x="9" y="9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9" y="44"/>
                    <a:pt x="27" y="62"/>
                    <a:pt x="50" y="62"/>
                  </a:cubicBezTo>
                  <a:cubicBezTo>
                    <a:pt x="72" y="62"/>
                    <a:pt x="91" y="44"/>
                    <a:pt x="91" y="21"/>
                  </a:cubicBezTo>
                  <a:cubicBezTo>
                    <a:pt x="91" y="9"/>
                    <a:pt x="91" y="9"/>
                    <a:pt x="91" y="9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8" name="Freeform 842">
              <a:extLst>
                <a:ext uri="{FF2B5EF4-FFF2-40B4-BE49-F238E27FC236}">
                  <a16:creationId xmlns:a16="http://schemas.microsoft.com/office/drawing/2014/main" id="{1C6DBC7B-FC7A-47CE-80BF-4B0012228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0563" y="4464062"/>
              <a:ext cx="93579" cy="97373"/>
            </a:xfrm>
            <a:custGeom>
              <a:avLst/>
              <a:gdLst>
                <a:gd name="T0" fmla="*/ 25 w 52"/>
                <a:gd name="T1" fmla="*/ 54 h 54"/>
                <a:gd name="T2" fmla="*/ 4 w 52"/>
                <a:gd name="T3" fmla="*/ 54 h 54"/>
                <a:gd name="T4" fmla="*/ 0 w 52"/>
                <a:gd name="T5" fmla="*/ 50 h 54"/>
                <a:gd name="T6" fmla="*/ 4 w 52"/>
                <a:gd name="T7" fmla="*/ 45 h 54"/>
                <a:gd name="T8" fmla="*/ 25 w 52"/>
                <a:gd name="T9" fmla="*/ 45 h 54"/>
                <a:gd name="T10" fmla="*/ 44 w 52"/>
                <a:gd name="T11" fmla="*/ 27 h 54"/>
                <a:gd name="T12" fmla="*/ 25 w 52"/>
                <a:gd name="T13" fmla="*/ 9 h 54"/>
                <a:gd name="T14" fmla="*/ 14 w 52"/>
                <a:gd name="T15" fmla="*/ 9 h 54"/>
                <a:gd name="T16" fmla="*/ 10 w 52"/>
                <a:gd name="T17" fmla="*/ 4 h 54"/>
                <a:gd name="T18" fmla="*/ 14 w 52"/>
                <a:gd name="T19" fmla="*/ 0 h 54"/>
                <a:gd name="T20" fmla="*/ 25 w 52"/>
                <a:gd name="T21" fmla="*/ 0 h 54"/>
                <a:gd name="T22" fmla="*/ 52 w 52"/>
                <a:gd name="T23" fmla="*/ 27 h 54"/>
                <a:gd name="T24" fmla="*/ 25 w 52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4">
                  <a:moveTo>
                    <a:pt x="25" y="54"/>
                  </a:moveTo>
                  <a:cubicBezTo>
                    <a:pt x="4" y="54"/>
                    <a:pt x="4" y="54"/>
                    <a:pt x="4" y="54"/>
                  </a:cubicBezTo>
                  <a:cubicBezTo>
                    <a:pt x="2" y="54"/>
                    <a:pt x="0" y="52"/>
                    <a:pt x="0" y="50"/>
                  </a:cubicBezTo>
                  <a:cubicBezTo>
                    <a:pt x="0" y="47"/>
                    <a:pt x="2" y="45"/>
                    <a:pt x="4" y="45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35" y="45"/>
                    <a:pt x="44" y="37"/>
                    <a:pt x="44" y="27"/>
                  </a:cubicBezTo>
                  <a:cubicBezTo>
                    <a:pt x="44" y="17"/>
                    <a:pt x="35" y="9"/>
                    <a:pt x="25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2" y="9"/>
                    <a:pt x="10" y="7"/>
                    <a:pt x="10" y="4"/>
                  </a:cubicBezTo>
                  <a:cubicBezTo>
                    <a:pt x="10" y="2"/>
                    <a:pt x="12" y="0"/>
                    <a:pt x="1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0" y="0"/>
                    <a:pt x="52" y="12"/>
                    <a:pt x="52" y="27"/>
                  </a:cubicBezTo>
                  <a:cubicBezTo>
                    <a:pt x="52" y="42"/>
                    <a:pt x="40" y="54"/>
                    <a:pt x="25" y="5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9" name="Freeform 843">
              <a:extLst>
                <a:ext uri="{FF2B5EF4-FFF2-40B4-BE49-F238E27FC236}">
                  <a16:creationId xmlns:a16="http://schemas.microsoft.com/office/drawing/2014/main" id="{168B15C7-4C7A-422F-85BA-FD73DB96F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08" y="4370483"/>
              <a:ext cx="45525" cy="78404"/>
            </a:xfrm>
            <a:custGeom>
              <a:avLst/>
              <a:gdLst>
                <a:gd name="T0" fmla="*/ 15 w 25"/>
                <a:gd name="T1" fmla="*/ 43 h 43"/>
                <a:gd name="T2" fmla="*/ 12 w 25"/>
                <a:gd name="T3" fmla="*/ 41 h 43"/>
                <a:gd name="T4" fmla="*/ 10 w 25"/>
                <a:gd name="T5" fmla="*/ 18 h 43"/>
                <a:gd name="T6" fmla="*/ 11 w 25"/>
                <a:gd name="T7" fmla="*/ 7 h 43"/>
                <a:gd name="T8" fmla="*/ 12 w 25"/>
                <a:gd name="T9" fmla="*/ 1 h 43"/>
                <a:gd name="T10" fmla="*/ 18 w 25"/>
                <a:gd name="T11" fmla="*/ 2 h 43"/>
                <a:gd name="T12" fmla="*/ 16 w 25"/>
                <a:gd name="T13" fmla="*/ 24 h 43"/>
                <a:gd name="T14" fmla="*/ 18 w 25"/>
                <a:gd name="T15" fmla="*/ 35 h 43"/>
                <a:gd name="T16" fmla="*/ 18 w 25"/>
                <a:gd name="T17" fmla="*/ 41 h 43"/>
                <a:gd name="T18" fmla="*/ 15 w 25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43">
                  <a:moveTo>
                    <a:pt x="15" y="43"/>
                  </a:moveTo>
                  <a:cubicBezTo>
                    <a:pt x="14" y="43"/>
                    <a:pt x="12" y="42"/>
                    <a:pt x="12" y="41"/>
                  </a:cubicBezTo>
                  <a:cubicBezTo>
                    <a:pt x="0" y="30"/>
                    <a:pt x="6" y="23"/>
                    <a:pt x="10" y="18"/>
                  </a:cubicBezTo>
                  <a:cubicBezTo>
                    <a:pt x="13" y="14"/>
                    <a:pt x="15" y="12"/>
                    <a:pt x="11" y="7"/>
                  </a:cubicBezTo>
                  <a:cubicBezTo>
                    <a:pt x="10" y="5"/>
                    <a:pt x="10" y="2"/>
                    <a:pt x="12" y="1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5" y="13"/>
                    <a:pt x="20" y="20"/>
                    <a:pt x="16" y="24"/>
                  </a:cubicBezTo>
                  <a:cubicBezTo>
                    <a:pt x="13" y="28"/>
                    <a:pt x="12" y="29"/>
                    <a:pt x="18" y="35"/>
                  </a:cubicBezTo>
                  <a:cubicBezTo>
                    <a:pt x="19" y="37"/>
                    <a:pt x="19" y="40"/>
                    <a:pt x="18" y="41"/>
                  </a:cubicBezTo>
                  <a:cubicBezTo>
                    <a:pt x="17" y="42"/>
                    <a:pt x="16" y="43"/>
                    <a:pt x="15" y="4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0" name="Freeform 844">
              <a:extLst>
                <a:ext uri="{FF2B5EF4-FFF2-40B4-BE49-F238E27FC236}">
                  <a16:creationId xmlns:a16="http://schemas.microsoft.com/office/drawing/2014/main" id="{53D24D5A-9E37-478B-B6E0-0830BE417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73" y="4370483"/>
              <a:ext cx="44260" cy="78404"/>
            </a:xfrm>
            <a:custGeom>
              <a:avLst/>
              <a:gdLst>
                <a:gd name="T0" fmla="*/ 15 w 25"/>
                <a:gd name="T1" fmla="*/ 43 h 43"/>
                <a:gd name="T2" fmla="*/ 12 w 25"/>
                <a:gd name="T3" fmla="*/ 41 h 43"/>
                <a:gd name="T4" fmla="*/ 10 w 25"/>
                <a:gd name="T5" fmla="*/ 18 h 43"/>
                <a:gd name="T6" fmla="*/ 11 w 25"/>
                <a:gd name="T7" fmla="*/ 7 h 43"/>
                <a:gd name="T8" fmla="*/ 12 w 25"/>
                <a:gd name="T9" fmla="*/ 1 h 43"/>
                <a:gd name="T10" fmla="*/ 18 w 25"/>
                <a:gd name="T11" fmla="*/ 2 h 43"/>
                <a:gd name="T12" fmla="*/ 16 w 25"/>
                <a:gd name="T13" fmla="*/ 24 h 43"/>
                <a:gd name="T14" fmla="*/ 18 w 25"/>
                <a:gd name="T15" fmla="*/ 35 h 43"/>
                <a:gd name="T16" fmla="*/ 18 w 25"/>
                <a:gd name="T17" fmla="*/ 41 h 43"/>
                <a:gd name="T18" fmla="*/ 15 w 25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43">
                  <a:moveTo>
                    <a:pt x="15" y="43"/>
                  </a:moveTo>
                  <a:cubicBezTo>
                    <a:pt x="13" y="43"/>
                    <a:pt x="12" y="42"/>
                    <a:pt x="12" y="41"/>
                  </a:cubicBezTo>
                  <a:cubicBezTo>
                    <a:pt x="0" y="30"/>
                    <a:pt x="6" y="23"/>
                    <a:pt x="10" y="18"/>
                  </a:cubicBezTo>
                  <a:cubicBezTo>
                    <a:pt x="13" y="14"/>
                    <a:pt x="15" y="12"/>
                    <a:pt x="11" y="7"/>
                  </a:cubicBezTo>
                  <a:cubicBezTo>
                    <a:pt x="10" y="5"/>
                    <a:pt x="10" y="2"/>
                    <a:pt x="12" y="1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5" y="13"/>
                    <a:pt x="20" y="20"/>
                    <a:pt x="16" y="24"/>
                  </a:cubicBezTo>
                  <a:cubicBezTo>
                    <a:pt x="13" y="28"/>
                    <a:pt x="11" y="29"/>
                    <a:pt x="18" y="35"/>
                  </a:cubicBezTo>
                  <a:cubicBezTo>
                    <a:pt x="19" y="37"/>
                    <a:pt x="19" y="40"/>
                    <a:pt x="18" y="41"/>
                  </a:cubicBezTo>
                  <a:cubicBezTo>
                    <a:pt x="17" y="42"/>
                    <a:pt x="16" y="43"/>
                    <a:pt x="15" y="4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0" name="Agrupar 1679">
            <a:extLst>
              <a:ext uri="{FF2B5EF4-FFF2-40B4-BE49-F238E27FC236}">
                <a16:creationId xmlns:a16="http://schemas.microsoft.com/office/drawing/2014/main" id="{2D156268-DB32-47B4-82AF-95767310FCDB}"/>
              </a:ext>
            </a:extLst>
          </p:cNvPr>
          <p:cNvGrpSpPr/>
          <p:nvPr/>
        </p:nvGrpSpPr>
        <p:grpSpPr>
          <a:xfrm>
            <a:off x="6798122" y="4381864"/>
            <a:ext cx="241536" cy="199804"/>
            <a:chOff x="6798122" y="4381864"/>
            <a:chExt cx="241536" cy="199804"/>
          </a:xfrm>
        </p:grpSpPr>
        <p:sp>
          <p:nvSpPr>
            <p:cNvPr id="1451" name="Freeform 845">
              <a:extLst>
                <a:ext uri="{FF2B5EF4-FFF2-40B4-BE49-F238E27FC236}">
                  <a16:creationId xmlns:a16="http://schemas.microsoft.com/office/drawing/2014/main" id="{27422AC4-2C8A-4EFE-B6B9-0657F821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8122" y="4381864"/>
              <a:ext cx="179571" cy="199804"/>
            </a:xfrm>
            <a:custGeom>
              <a:avLst/>
              <a:gdLst>
                <a:gd name="T0" fmla="*/ 83 w 99"/>
                <a:gd name="T1" fmla="*/ 110 h 110"/>
                <a:gd name="T2" fmla="*/ 15 w 99"/>
                <a:gd name="T3" fmla="*/ 110 h 110"/>
                <a:gd name="T4" fmla="*/ 0 w 99"/>
                <a:gd name="T5" fmla="*/ 95 h 110"/>
                <a:gd name="T6" fmla="*/ 0 w 99"/>
                <a:gd name="T7" fmla="*/ 4 h 110"/>
                <a:gd name="T8" fmla="*/ 4 w 99"/>
                <a:gd name="T9" fmla="*/ 0 h 110"/>
                <a:gd name="T10" fmla="*/ 94 w 99"/>
                <a:gd name="T11" fmla="*/ 0 h 110"/>
                <a:gd name="T12" fmla="*/ 99 w 99"/>
                <a:gd name="T13" fmla="*/ 4 h 110"/>
                <a:gd name="T14" fmla="*/ 99 w 99"/>
                <a:gd name="T15" fmla="*/ 95 h 110"/>
                <a:gd name="T16" fmla="*/ 83 w 99"/>
                <a:gd name="T17" fmla="*/ 110 h 110"/>
                <a:gd name="T18" fmla="*/ 8 w 99"/>
                <a:gd name="T19" fmla="*/ 8 h 110"/>
                <a:gd name="T20" fmla="*/ 8 w 99"/>
                <a:gd name="T21" fmla="*/ 95 h 110"/>
                <a:gd name="T22" fmla="*/ 15 w 99"/>
                <a:gd name="T23" fmla="*/ 102 h 110"/>
                <a:gd name="T24" fmla="*/ 83 w 99"/>
                <a:gd name="T25" fmla="*/ 102 h 110"/>
                <a:gd name="T26" fmla="*/ 90 w 99"/>
                <a:gd name="T27" fmla="*/ 95 h 110"/>
                <a:gd name="T28" fmla="*/ 90 w 99"/>
                <a:gd name="T29" fmla="*/ 8 h 110"/>
                <a:gd name="T30" fmla="*/ 8 w 99"/>
                <a:gd name="T31" fmla="*/ 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110">
                  <a:moveTo>
                    <a:pt x="83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7" y="110"/>
                    <a:pt x="0" y="103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103"/>
                    <a:pt x="92" y="110"/>
                    <a:pt x="83" y="110"/>
                  </a:cubicBezTo>
                  <a:close/>
                  <a:moveTo>
                    <a:pt x="8" y="8"/>
                  </a:moveTo>
                  <a:cubicBezTo>
                    <a:pt x="8" y="95"/>
                    <a:pt x="8" y="95"/>
                    <a:pt x="8" y="95"/>
                  </a:cubicBezTo>
                  <a:cubicBezTo>
                    <a:pt x="8" y="98"/>
                    <a:pt x="12" y="102"/>
                    <a:pt x="15" y="102"/>
                  </a:cubicBezTo>
                  <a:cubicBezTo>
                    <a:pt x="83" y="102"/>
                    <a:pt x="83" y="102"/>
                    <a:pt x="83" y="102"/>
                  </a:cubicBezTo>
                  <a:cubicBezTo>
                    <a:pt x="87" y="102"/>
                    <a:pt x="90" y="98"/>
                    <a:pt x="90" y="95"/>
                  </a:cubicBezTo>
                  <a:cubicBezTo>
                    <a:pt x="90" y="8"/>
                    <a:pt x="90" y="8"/>
                    <a:pt x="90" y="8"/>
                  </a:cubicBezTo>
                  <a:lnTo>
                    <a:pt x="8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2" name="Freeform 846">
              <a:extLst>
                <a:ext uri="{FF2B5EF4-FFF2-40B4-BE49-F238E27FC236}">
                  <a16:creationId xmlns:a16="http://schemas.microsoft.com/office/drawing/2014/main" id="{728AC249-7341-4C7F-B5A9-5F5C51337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1254" y="4412214"/>
              <a:ext cx="78404" cy="118871"/>
            </a:xfrm>
            <a:custGeom>
              <a:avLst/>
              <a:gdLst>
                <a:gd name="T0" fmla="*/ 27 w 43"/>
                <a:gd name="T1" fmla="*/ 65 h 65"/>
                <a:gd name="T2" fmla="*/ 4 w 43"/>
                <a:gd name="T3" fmla="*/ 65 h 65"/>
                <a:gd name="T4" fmla="*/ 0 w 43"/>
                <a:gd name="T5" fmla="*/ 61 h 65"/>
                <a:gd name="T6" fmla="*/ 4 w 43"/>
                <a:gd name="T7" fmla="*/ 56 h 65"/>
                <a:gd name="T8" fmla="*/ 27 w 43"/>
                <a:gd name="T9" fmla="*/ 56 h 65"/>
                <a:gd name="T10" fmla="*/ 34 w 43"/>
                <a:gd name="T11" fmla="*/ 49 h 65"/>
                <a:gd name="T12" fmla="*/ 34 w 43"/>
                <a:gd name="T13" fmla="*/ 15 h 65"/>
                <a:gd name="T14" fmla="*/ 27 w 43"/>
                <a:gd name="T15" fmla="*/ 8 h 65"/>
                <a:gd name="T16" fmla="*/ 4 w 43"/>
                <a:gd name="T17" fmla="*/ 8 h 65"/>
                <a:gd name="T18" fmla="*/ 0 w 43"/>
                <a:gd name="T19" fmla="*/ 4 h 65"/>
                <a:gd name="T20" fmla="*/ 4 w 43"/>
                <a:gd name="T21" fmla="*/ 0 h 65"/>
                <a:gd name="T22" fmla="*/ 27 w 43"/>
                <a:gd name="T23" fmla="*/ 0 h 65"/>
                <a:gd name="T24" fmla="*/ 43 w 43"/>
                <a:gd name="T25" fmla="*/ 15 h 65"/>
                <a:gd name="T26" fmla="*/ 43 w 43"/>
                <a:gd name="T27" fmla="*/ 49 h 65"/>
                <a:gd name="T28" fmla="*/ 27 w 43"/>
                <a:gd name="T2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65">
                  <a:moveTo>
                    <a:pt x="27" y="65"/>
                  </a:moveTo>
                  <a:cubicBezTo>
                    <a:pt x="4" y="65"/>
                    <a:pt x="4" y="65"/>
                    <a:pt x="4" y="65"/>
                  </a:cubicBezTo>
                  <a:cubicBezTo>
                    <a:pt x="2" y="65"/>
                    <a:pt x="0" y="63"/>
                    <a:pt x="0" y="61"/>
                  </a:cubicBezTo>
                  <a:cubicBezTo>
                    <a:pt x="0" y="58"/>
                    <a:pt x="2" y="56"/>
                    <a:pt x="4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31" y="56"/>
                    <a:pt x="34" y="53"/>
                    <a:pt x="34" y="49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2"/>
                    <a:pt x="31" y="8"/>
                    <a:pt x="27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6" y="0"/>
                    <a:pt x="43" y="7"/>
                    <a:pt x="43" y="15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58"/>
                    <a:pt x="36" y="65"/>
                    <a:pt x="27" y="6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8" name="Agrupar 1677">
            <a:extLst>
              <a:ext uri="{FF2B5EF4-FFF2-40B4-BE49-F238E27FC236}">
                <a16:creationId xmlns:a16="http://schemas.microsoft.com/office/drawing/2014/main" id="{DCA99D1F-C5D7-456C-B9D5-E0483DCC059F}"/>
              </a:ext>
            </a:extLst>
          </p:cNvPr>
          <p:cNvGrpSpPr/>
          <p:nvPr/>
        </p:nvGrpSpPr>
        <p:grpSpPr>
          <a:xfrm>
            <a:off x="5974877" y="4361631"/>
            <a:ext cx="230154" cy="240271"/>
            <a:chOff x="5974877" y="4361631"/>
            <a:chExt cx="230154" cy="240271"/>
          </a:xfrm>
        </p:grpSpPr>
        <p:sp>
          <p:nvSpPr>
            <p:cNvPr id="1453" name="Freeform 847">
              <a:extLst>
                <a:ext uri="{FF2B5EF4-FFF2-40B4-BE49-F238E27FC236}">
                  <a16:creationId xmlns:a16="http://schemas.microsoft.com/office/drawing/2014/main" id="{84B5633F-7579-4563-86F5-730AD71E87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5110" y="4443829"/>
              <a:ext cx="159338" cy="158073"/>
            </a:xfrm>
            <a:custGeom>
              <a:avLst/>
              <a:gdLst>
                <a:gd name="T0" fmla="*/ 72 w 88"/>
                <a:gd name="T1" fmla="*/ 87 h 87"/>
                <a:gd name="T2" fmla="*/ 16 w 88"/>
                <a:gd name="T3" fmla="*/ 87 h 87"/>
                <a:gd name="T4" fmla="*/ 0 w 88"/>
                <a:gd name="T5" fmla="*/ 72 h 87"/>
                <a:gd name="T6" fmla="*/ 0 w 88"/>
                <a:gd name="T7" fmla="*/ 4 h 87"/>
                <a:gd name="T8" fmla="*/ 4 w 88"/>
                <a:gd name="T9" fmla="*/ 0 h 87"/>
                <a:gd name="T10" fmla="*/ 83 w 88"/>
                <a:gd name="T11" fmla="*/ 0 h 87"/>
                <a:gd name="T12" fmla="*/ 88 w 88"/>
                <a:gd name="T13" fmla="*/ 4 h 87"/>
                <a:gd name="T14" fmla="*/ 88 w 88"/>
                <a:gd name="T15" fmla="*/ 72 h 87"/>
                <a:gd name="T16" fmla="*/ 72 w 88"/>
                <a:gd name="T17" fmla="*/ 87 h 87"/>
                <a:gd name="T18" fmla="*/ 9 w 88"/>
                <a:gd name="T19" fmla="*/ 8 h 87"/>
                <a:gd name="T20" fmla="*/ 9 w 88"/>
                <a:gd name="T21" fmla="*/ 72 h 87"/>
                <a:gd name="T22" fmla="*/ 16 w 88"/>
                <a:gd name="T23" fmla="*/ 79 h 87"/>
                <a:gd name="T24" fmla="*/ 72 w 88"/>
                <a:gd name="T25" fmla="*/ 79 h 87"/>
                <a:gd name="T26" fmla="*/ 79 w 88"/>
                <a:gd name="T27" fmla="*/ 72 h 87"/>
                <a:gd name="T28" fmla="*/ 79 w 88"/>
                <a:gd name="T29" fmla="*/ 8 h 87"/>
                <a:gd name="T30" fmla="*/ 9 w 88"/>
                <a:gd name="T31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87">
                  <a:moveTo>
                    <a:pt x="72" y="87"/>
                  </a:moveTo>
                  <a:cubicBezTo>
                    <a:pt x="16" y="87"/>
                    <a:pt x="16" y="87"/>
                    <a:pt x="16" y="87"/>
                  </a:cubicBezTo>
                  <a:cubicBezTo>
                    <a:pt x="7" y="87"/>
                    <a:pt x="0" y="80"/>
                    <a:pt x="0" y="7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0"/>
                    <a:pt x="88" y="2"/>
                    <a:pt x="88" y="4"/>
                  </a:cubicBezTo>
                  <a:cubicBezTo>
                    <a:pt x="88" y="72"/>
                    <a:pt x="88" y="72"/>
                    <a:pt x="88" y="72"/>
                  </a:cubicBezTo>
                  <a:cubicBezTo>
                    <a:pt x="88" y="80"/>
                    <a:pt x="81" y="87"/>
                    <a:pt x="72" y="87"/>
                  </a:cubicBezTo>
                  <a:close/>
                  <a:moveTo>
                    <a:pt x="9" y="8"/>
                  </a:moveTo>
                  <a:cubicBezTo>
                    <a:pt x="9" y="72"/>
                    <a:pt x="9" y="72"/>
                    <a:pt x="9" y="72"/>
                  </a:cubicBezTo>
                  <a:cubicBezTo>
                    <a:pt x="9" y="76"/>
                    <a:pt x="12" y="79"/>
                    <a:pt x="16" y="79"/>
                  </a:cubicBezTo>
                  <a:cubicBezTo>
                    <a:pt x="72" y="79"/>
                    <a:pt x="72" y="79"/>
                    <a:pt x="72" y="79"/>
                  </a:cubicBezTo>
                  <a:cubicBezTo>
                    <a:pt x="76" y="79"/>
                    <a:pt x="79" y="76"/>
                    <a:pt x="79" y="72"/>
                  </a:cubicBezTo>
                  <a:cubicBezTo>
                    <a:pt x="79" y="8"/>
                    <a:pt x="79" y="8"/>
                    <a:pt x="79" y="8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4" name="Freeform 848">
              <a:extLst>
                <a:ext uri="{FF2B5EF4-FFF2-40B4-BE49-F238E27FC236}">
                  <a16:creationId xmlns:a16="http://schemas.microsoft.com/office/drawing/2014/main" id="{D91678A8-73E4-48D6-8C31-4B8DCCFC2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008" y="4474179"/>
              <a:ext cx="67023" cy="87256"/>
            </a:xfrm>
            <a:custGeom>
              <a:avLst/>
              <a:gdLst>
                <a:gd name="T0" fmla="*/ 21 w 37"/>
                <a:gd name="T1" fmla="*/ 48 h 48"/>
                <a:gd name="T2" fmla="*/ 4 w 37"/>
                <a:gd name="T3" fmla="*/ 48 h 48"/>
                <a:gd name="T4" fmla="*/ 0 w 37"/>
                <a:gd name="T5" fmla="*/ 44 h 48"/>
                <a:gd name="T6" fmla="*/ 4 w 37"/>
                <a:gd name="T7" fmla="*/ 39 h 48"/>
                <a:gd name="T8" fmla="*/ 21 w 37"/>
                <a:gd name="T9" fmla="*/ 39 h 48"/>
                <a:gd name="T10" fmla="*/ 28 w 37"/>
                <a:gd name="T11" fmla="*/ 32 h 48"/>
                <a:gd name="T12" fmla="*/ 28 w 37"/>
                <a:gd name="T13" fmla="*/ 15 h 48"/>
                <a:gd name="T14" fmla="*/ 21 w 37"/>
                <a:gd name="T15" fmla="*/ 8 h 48"/>
                <a:gd name="T16" fmla="*/ 4 w 37"/>
                <a:gd name="T17" fmla="*/ 8 h 48"/>
                <a:gd name="T18" fmla="*/ 0 w 37"/>
                <a:gd name="T19" fmla="*/ 4 h 48"/>
                <a:gd name="T20" fmla="*/ 4 w 37"/>
                <a:gd name="T21" fmla="*/ 0 h 48"/>
                <a:gd name="T22" fmla="*/ 21 w 37"/>
                <a:gd name="T23" fmla="*/ 0 h 48"/>
                <a:gd name="T24" fmla="*/ 37 w 37"/>
                <a:gd name="T25" fmla="*/ 15 h 48"/>
                <a:gd name="T26" fmla="*/ 37 w 37"/>
                <a:gd name="T27" fmla="*/ 32 h 48"/>
                <a:gd name="T28" fmla="*/ 21 w 37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48">
                  <a:moveTo>
                    <a:pt x="21" y="48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2" y="48"/>
                    <a:pt x="0" y="46"/>
                    <a:pt x="0" y="44"/>
                  </a:cubicBezTo>
                  <a:cubicBezTo>
                    <a:pt x="0" y="41"/>
                    <a:pt x="2" y="39"/>
                    <a:pt x="4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5" y="39"/>
                    <a:pt x="28" y="36"/>
                    <a:pt x="28" y="3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1"/>
                    <a:pt x="25" y="8"/>
                    <a:pt x="2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30" y="0"/>
                    <a:pt x="37" y="7"/>
                    <a:pt x="37" y="15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41"/>
                    <a:pt x="30" y="48"/>
                    <a:pt x="21" y="4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5" name="Freeform 849">
              <a:extLst>
                <a:ext uri="{FF2B5EF4-FFF2-40B4-BE49-F238E27FC236}">
                  <a16:creationId xmlns:a16="http://schemas.microsoft.com/office/drawing/2014/main" id="{95DBCF6E-9460-46D0-B5BA-BA64A24D0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5110" y="4393246"/>
              <a:ext cx="159338" cy="64494"/>
            </a:xfrm>
            <a:custGeom>
              <a:avLst/>
              <a:gdLst>
                <a:gd name="T0" fmla="*/ 83 w 88"/>
                <a:gd name="T1" fmla="*/ 36 h 36"/>
                <a:gd name="T2" fmla="*/ 79 w 88"/>
                <a:gd name="T3" fmla="*/ 32 h 36"/>
                <a:gd name="T4" fmla="*/ 55 w 88"/>
                <a:gd name="T5" fmla="*/ 8 h 36"/>
                <a:gd name="T6" fmla="*/ 33 w 88"/>
                <a:gd name="T7" fmla="*/ 8 h 36"/>
                <a:gd name="T8" fmla="*/ 9 w 88"/>
                <a:gd name="T9" fmla="*/ 32 h 36"/>
                <a:gd name="T10" fmla="*/ 4 w 88"/>
                <a:gd name="T11" fmla="*/ 36 h 36"/>
                <a:gd name="T12" fmla="*/ 0 w 88"/>
                <a:gd name="T13" fmla="*/ 32 h 36"/>
                <a:gd name="T14" fmla="*/ 33 w 88"/>
                <a:gd name="T15" fmla="*/ 0 h 36"/>
                <a:gd name="T16" fmla="*/ 55 w 88"/>
                <a:gd name="T17" fmla="*/ 0 h 36"/>
                <a:gd name="T18" fmla="*/ 88 w 88"/>
                <a:gd name="T19" fmla="*/ 32 h 36"/>
                <a:gd name="T20" fmla="*/ 83 w 88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36">
                  <a:moveTo>
                    <a:pt x="83" y="36"/>
                  </a:moveTo>
                  <a:cubicBezTo>
                    <a:pt x="81" y="36"/>
                    <a:pt x="79" y="34"/>
                    <a:pt x="79" y="32"/>
                  </a:cubicBezTo>
                  <a:cubicBezTo>
                    <a:pt x="79" y="19"/>
                    <a:pt x="68" y="8"/>
                    <a:pt x="55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19" y="8"/>
                    <a:pt x="9" y="19"/>
                    <a:pt x="9" y="32"/>
                  </a:cubicBezTo>
                  <a:cubicBezTo>
                    <a:pt x="9" y="34"/>
                    <a:pt x="7" y="36"/>
                    <a:pt x="4" y="36"/>
                  </a:cubicBezTo>
                  <a:cubicBezTo>
                    <a:pt x="2" y="36"/>
                    <a:pt x="0" y="34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88" y="14"/>
                    <a:pt x="88" y="32"/>
                  </a:cubicBezTo>
                  <a:cubicBezTo>
                    <a:pt x="88" y="34"/>
                    <a:pt x="86" y="36"/>
                    <a:pt x="83" y="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6" name="Freeform 850">
              <a:extLst>
                <a:ext uri="{FF2B5EF4-FFF2-40B4-BE49-F238E27FC236}">
                  <a16:creationId xmlns:a16="http://schemas.microsoft.com/office/drawing/2014/main" id="{0765C6AA-A591-4B3F-A52A-2F7015DF8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7192" y="4443829"/>
              <a:ext cx="15175" cy="87256"/>
            </a:xfrm>
            <a:custGeom>
              <a:avLst/>
              <a:gdLst>
                <a:gd name="T0" fmla="*/ 4 w 8"/>
                <a:gd name="T1" fmla="*/ 48 h 48"/>
                <a:gd name="T2" fmla="*/ 0 w 8"/>
                <a:gd name="T3" fmla="*/ 44 h 48"/>
                <a:gd name="T4" fmla="*/ 0 w 8"/>
                <a:gd name="T5" fmla="*/ 4 h 48"/>
                <a:gd name="T6" fmla="*/ 4 w 8"/>
                <a:gd name="T7" fmla="*/ 0 h 48"/>
                <a:gd name="T8" fmla="*/ 8 w 8"/>
                <a:gd name="T9" fmla="*/ 4 h 48"/>
                <a:gd name="T10" fmla="*/ 8 w 8"/>
                <a:gd name="T11" fmla="*/ 44 h 48"/>
                <a:gd name="T12" fmla="*/ 4 w 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8">
                  <a:moveTo>
                    <a:pt x="4" y="48"/>
                  </a:moveTo>
                  <a:cubicBezTo>
                    <a:pt x="1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6"/>
                    <a:pt x="6" y="48"/>
                    <a:pt x="4" y="4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7" name="Freeform 851">
              <a:extLst>
                <a:ext uri="{FF2B5EF4-FFF2-40B4-BE49-F238E27FC236}">
                  <a16:creationId xmlns:a16="http://schemas.microsoft.com/office/drawing/2014/main" id="{943B265A-ADF7-46FD-9A1B-3D2EC325E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6842" y="4524762"/>
              <a:ext cx="75875" cy="16440"/>
            </a:xfrm>
            <a:custGeom>
              <a:avLst/>
              <a:gdLst>
                <a:gd name="T0" fmla="*/ 38 w 42"/>
                <a:gd name="T1" fmla="*/ 9 h 9"/>
                <a:gd name="T2" fmla="*/ 4 w 42"/>
                <a:gd name="T3" fmla="*/ 9 h 9"/>
                <a:gd name="T4" fmla="*/ 0 w 42"/>
                <a:gd name="T5" fmla="*/ 4 h 9"/>
                <a:gd name="T6" fmla="*/ 4 w 42"/>
                <a:gd name="T7" fmla="*/ 0 h 9"/>
                <a:gd name="T8" fmla="*/ 38 w 42"/>
                <a:gd name="T9" fmla="*/ 0 h 9"/>
                <a:gd name="T10" fmla="*/ 42 w 42"/>
                <a:gd name="T11" fmla="*/ 4 h 9"/>
                <a:gd name="T12" fmla="*/ 38 w 4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9">
                  <a:moveTo>
                    <a:pt x="3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7"/>
                    <a:pt x="40" y="9"/>
                    <a:pt x="38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8" name="Freeform 852">
              <a:extLst>
                <a:ext uri="{FF2B5EF4-FFF2-40B4-BE49-F238E27FC236}">
                  <a16:creationId xmlns:a16="http://schemas.microsoft.com/office/drawing/2014/main" id="{F1771F29-230A-4A3B-8B51-745DAE8D0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877" y="4443829"/>
              <a:ext cx="36673" cy="13910"/>
            </a:xfrm>
            <a:custGeom>
              <a:avLst/>
              <a:gdLst>
                <a:gd name="T0" fmla="*/ 15 w 20"/>
                <a:gd name="T1" fmla="*/ 8 h 8"/>
                <a:gd name="T2" fmla="*/ 4 w 20"/>
                <a:gd name="T3" fmla="*/ 8 h 8"/>
                <a:gd name="T4" fmla="*/ 0 w 20"/>
                <a:gd name="T5" fmla="*/ 4 h 8"/>
                <a:gd name="T6" fmla="*/ 4 w 20"/>
                <a:gd name="T7" fmla="*/ 0 h 8"/>
                <a:gd name="T8" fmla="*/ 15 w 20"/>
                <a:gd name="T9" fmla="*/ 0 h 8"/>
                <a:gd name="T10" fmla="*/ 20 w 20"/>
                <a:gd name="T11" fmla="*/ 4 h 8"/>
                <a:gd name="T12" fmla="*/ 15 w 2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8">
                  <a:moveTo>
                    <a:pt x="1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6"/>
                    <a:pt x="18" y="8"/>
                    <a:pt x="1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9" name="Freeform 853">
              <a:extLst>
                <a:ext uri="{FF2B5EF4-FFF2-40B4-BE49-F238E27FC236}">
                  <a16:creationId xmlns:a16="http://schemas.microsoft.com/office/drawing/2014/main" id="{F58CE99F-9A52-493B-A25C-86F8331ED7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0752" y="4361631"/>
              <a:ext cx="48054" cy="45525"/>
            </a:xfrm>
            <a:custGeom>
              <a:avLst/>
              <a:gdLst>
                <a:gd name="T0" fmla="*/ 13 w 26"/>
                <a:gd name="T1" fmla="*/ 25 h 25"/>
                <a:gd name="T2" fmla="*/ 0 w 26"/>
                <a:gd name="T3" fmla="*/ 12 h 25"/>
                <a:gd name="T4" fmla="*/ 13 w 26"/>
                <a:gd name="T5" fmla="*/ 0 h 25"/>
                <a:gd name="T6" fmla="*/ 26 w 26"/>
                <a:gd name="T7" fmla="*/ 12 h 25"/>
                <a:gd name="T8" fmla="*/ 13 w 26"/>
                <a:gd name="T9" fmla="*/ 25 h 25"/>
                <a:gd name="T10" fmla="*/ 13 w 26"/>
                <a:gd name="T11" fmla="*/ 8 h 25"/>
                <a:gd name="T12" fmla="*/ 9 w 26"/>
                <a:gd name="T13" fmla="*/ 12 h 25"/>
                <a:gd name="T14" fmla="*/ 13 w 26"/>
                <a:gd name="T15" fmla="*/ 17 h 25"/>
                <a:gd name="T16" fmla="*/ 17 w 26"/>
                <a:gd name="T17" fmla="*/ 12 h 25"/>
                <a:gd name="T18" fmla="*/ 13 w 26"/>
                <a:gd name="T1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6" y="25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13" y="8"/>
                  </a:moveTo>
                  <a:cubicBezTo>
                    <a:pt x="11" y="8"/>
                    <a:pt x="9" y="10"/>
                    <a:pt x="9" y="12"/>
                  </a:cubicBezTo>
                  <a:cubicBezTo>
                    <a:pt x="9" y="15"/>
                    <a:pt x="11" y="17"/>
                    <a:pt x="13" y="17"/>
                  </a:cubicBezTo>
                  <a:cubicBezTo>
                    <a:pt x="15" y="17"/>
                    <a:pt x="17" y="15"/>
                    <a:pt x="17" y="12"/>
                  </a:cubicBezTo>
                  <a:cubicBezTo>
                    <a:pt x="17" y="10"/>
                    <a:pt x="15" y="8"/>
                    <a:pt x="13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4" name="Agrupar 1683">
            <a:extLst>
              <a:ext uri="{FF2B5EF4-FFF2-40B4-BE49-F238E27FC236}">
                <a16:creationId xmlns:a16="http://schemas.microsoft.com/office/drawing/2014/main" id="{EE3AAC6D-CEEF-4FC7-991E-FF3A4C8D809E}"/>
              </a:ext>
            </a:extLst>
          </p:cNvPr>
          <p:cNvGrpSpPr/>
          <p:nvPr/>
        </p:nvGrpSpPr>
        <p:grpSpPr>
          <a:xfrm>
            <a:off x="6413688" y="4845967"/>
            <a:ext cx="221302" cy="190953"/>
            <a:chOff x="6413688" y="4845967"/>
            <a:chExt cx="221302" cy="190953"/>
          </a:xfrm>
        </p:grpSpPr>
        <p:sp>
          <p:nvSpPr>
            <p:cNvPr id="1460" name="Freeform 854">
              <a:extLst>
                <a:ext uri="{FF2B5EF4-FFF2-40B4-BE49-F238E27FC236}">
                  <a16:creationId xmlns:a16="http://schemas.microsoft.com/office/drawing/2014/main" id="{52F952DA-5686-4165-B3D0-E85D1D67C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7384" y="4969897"/>
              <a:ext cx="13910" cy="67023"/>
            </a:xfrm>
            <a:custGeom>
              <a:avLst/>
              <a:gdLst>
                <a:gd name="T0" fmla="*/ 4 w 8"/>
                <a:gd name="T1" fmla="*/ 37 h 37"/>
                <a:gd name="T2" fmla="*/ 0 w 8"/>
                <a:gd name="T3" fmla="*/ 32 h 37"/>
                <a:gd name="T4" fmla="*/ 0 w 8"/>
                <a:gd name="T5" fmla="*/ 4 h 37"/>
                <a:gd name="T6" fmla="*/ 4 w 8"/>
                <a:gd name="T7" fmla="*/ 0 h 37"/>
                <a:gd name="T8" fmla="*/ 8 w 8"/>
                <a:gd name="T9" fmla="*/ 4 h 37"/>
                <a:gd name="T10" fmla="*/ 8 w 8"/>
                <a:gd name="T11" fmla="*/ 32 h 37"/>
                <a:gd name="T12" fmla="*/ 4 w 8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7">
                  <a:moveTo>
                    <a:pt x="4" y="37"/>
                  </a:moveTo>
                  <a:cubicBezTo>
                    <a:pt x="2" y="37"/>
                    <a:pt x="0" y="35"/>
                    <a:pt x="0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5"/>
                    <a:pt x="6" y="37"/>
                    <a:pt x="4" y="3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61" name="Freeform 855">
              <a:extLst>
                <a:ext uri="{FF2B5EF4-FFF2-40B4-BE49-F238E27FC236}">
                  <a16:creationId xmlns:a16="http://schemas.microsoft.com/office/drawing/2014/main" id="{0784948E-A66D-4AD5-B98A-A3FD2C18A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034" y="5020480"/>
              <a:ext cx="75875" cy="16440"/>
            </a:xfrm>
            <a:custGeom>
              <a:avLst/>
              <a:gdLst>
                <a:gd name="T0" fmla="*/ 38 w 42"/>
                <a:gd name="T1" fmla="*/ 9 h 9"/>
                <a:gd name="T2" fmla="*/ 4 w 42"/>
                <a:gd name="T3" fmla="*/ 9 h 9"/>
                <a:gd name="T4" fmla="*/ 0 w 42"/>
                <a:gd name="T5" fmla="*/ 4 h 9"/>
                <a:gd name="T6" fmla="*/ 4 w 42"/>
                <a:gd name="T7" fmla="*/ 0 h 9"/>
                <a:gd name="T8" fmla="*/ 38 w 42"/>
                <a:gd name="T9" fmla="*/ 0 h 9"/>
                <a:gd name="T10" fmla="*/ 42 w 42"/>
                <a:gd name="T11" fmla="*/ 4 h 9"/>
                <a:gd name="T12" fmla="*/ 38 w 4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9">
                  <a:moveTo>
                    <a:pt x="3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7"/>
                    <a:pt x="40" y="9"/>
                    <a:pt x="38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62" name="Freeform 856">
              <a:extLst>
                <a:ext uri="{FF2B5EF4-FFF2-40B4-BE49-F238E27FC236}">
                  <a16:creationId xmlns:a16="http://schemas.microsoft.com/office/drawing/2014/main" id="{D46CD8CC-B3CE-4F24-84DE-CCFBBBFC4C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688" y="4845967"/>
              <a:ext cx="221302" cy="137840"/>
            </a:xfrm>
            <a:custGeom>
              <a:avLst/>
              <a:gdLst>
                <a:gd name="T0" fmla="*/ 61 w 122"/>
                <a:gd name="T1" fmla="*/ 76 h 76"/>
                <a:gd name="T2" fmla="*/ 29 w 122"/>
                <a:gd name="T3" fmla="*/ 48 h 76"/>
                <a:gd name="T4" fmla="*/ 27 w 122"/>
                <a:gd name="T5" fmla="*/ 48 h 76"/>
                <a:gd name="T6" fmla="*/ 0 w 122"/>
                <a:gd name="T7" fmla="*/ 21 h 76"/>
                <a:gd name="T8" fmla="*/ 0 w 122"/>
                <a:gd name="T9" fmla="*/ 4 h 76"/>
                <a:gd name="T10" fmla="*/ 5 w 122"/>
                <a:gd name="T11" fmla="*/ 0 h 76"/>
                <a:gd name="T12" fmla="*/ 117 w 122"/>
                <a:gd name="T13" fmla="*/ 0 h 76"/>
                <a:gd name="T14" fmla="*/ 122 w 122"/>
                <a:gd name="T15" fmla="*/ 4 h 76"/>
                <a:gd name="T16" fmla="*/ 122 w 122"/>
                <a:gd name="T17" fmla="*/ 21 h 76"/>
                <a:gd name="T18" fmla="*/ 95 w 122"/>
                <a:gd name="T19" fmla="*/ 48 h 76"/>
                <a:gd name="T20" fmla="*/ 93 w 122"/>
                <a:gd name="T21" fmla="*/ 48 h 76"/>
                <a:gd name="T22" fmla="*/ 61 w 122"/>
                <a:gd name="T23" fmla="*/ 76 h 76"/>
                <a:gd name="T24" fmla="*/ 9 w 122"/>
                <a:gd name="T25" fmla="*/ 9 h 76"/>
                <a:gd name="T26" fmla="*/ 9 w 122"/>
                <a:gd name="T27" fmla="*/ 21 h 76"/>
                <a:gd name="T28" fmla="*/ 27 w 122"/>
                <a:gd name="T29" fmla="*/ 40 h 76"/>
                <a:gd name="T30" fmla="*/ 33 w 122"/>
                <a:gd name="T31" fmla="*/ 40 h 76"/>
                <a:gd name="T32" fmla="*/ 37 w 122"/>
                <a:gd name="T33" fmla="*/ 44 h 76"/>
                <a:gd name="T34" fmla="*/ 61 w 122"/>
                <a:gd name="T35" fmla="*/ 68 h 76"/>
                <a:gd name="T36" fmla="*/ 85 w 122"/>
                <a:gd name="T37" fmla="*/ 44 h 76"/>
                <a:gd name="T38" fmla="*/ 89 w 122"/>
                <a:gd name="T39" fmla="*/ 40 h 76"/>
                <a:gd name="T40" fmla="*/ 95 w 122"/>
                <a:gd name="T41" fmla="*/ 40 h 76"/>
                <a:gd name="T42" fmla="*/ 113 w 122"/>
                <a:gd name="T43" fmla="*/ 21 h 76"/>
                <a:gd name="T44" fmla="*/ 113 w 122"/>
                <a:gd name="T45" fmla="*/ 9 h 76"/>
                <a:gd name="T46" fmla="*/ 9 w 122"/>
                <a:gd name="T47" fmla="*/ 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2" h="76">
                  <a:moveTo>
                    <a:pt x="61" y="76"/>
                  </a:moveTo>
                  <a:cubicBezTo>
                    <a:pt x="45" y="76"/>
                    <a:pt x="31" y="64"/>
                    <a:pt x="29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12" y="48"/>
                    <a:pt x="0" y="36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0" y="0"/>
                    <a:pt x="122" y="2"/>
                    <a:pt x="122" y="4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122" y="36"/>
                    <a:pt x="110" y="48"/>
                    <a:pt x="95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1" y="64"/>
                    <a:pt x="77" y="76"/>
                    <a:pt x="61" y="76"/>
                  </a:cubicBezTo>
                  <a:close/>
                  <a:moveTo>
                    <a:pt x="9" y="9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9" y="31"/>
                    <a:pt x="17" y="40"/>
                    <a:pt x="27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5" y="40"/>
                    <a:pt x="37" y="41"/>
                    <a:pt x="37" y="44"/>
                  </a:cubicBezTo>
                  <a:cubicBezTo>
                    <a:pt x="37" y="57"/>
                    <a:pt x="48" y="68"/>
                    <a:pt x="61" y="68"/>
                  </a:cubicBezTo>
                  <a:cubicBezTo>
                    <a:pt x="74" y="68"/>
                    <a:pt x="85" y="57"/>
                    <a:pt x="85" y="44"/>
                  </a:cubicBezTo>
                  <a:cubicBezTo>
                    <a:pt x="85" y="41"/>
                    <a:pt x="87" y="40"/>
                    <a:pt x="89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105" y="40"/>
                    <a:pt x="113" y="31"/>
                    <a:pt x="113" y="21"/>
                  </a:cubicBezTo>
                  <a:cubicBezTo>
                    <a:pt x="113" y="9"/>
                    <a:pt x="113" y="9"/>
                    <a:pt x="113" y="9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3" name="Agrupar 1682">
            <a:extLst>
              <a:ext uri="{FF2B5EF4-FFF2-40B4-BE49-F238E27FC236}">
                <a16:creationId xmlns:a16="http://schemas.microsoft.com/office/drawing/2014/main" id="{4853893E-D585-4207-8118-380437F9D52C}"/>
              </a:ext>
            </a:extLst>
          </p:cNvPr>
          <p:cNvGrpSpPr/>
          <p:nvPr/>
        </p:nvGrpSpPr>
        <p:grpSpPr>
          <a:xfrm>
            <a:off x="6806974" y="4840909"/>
            <a:ext cx="221302" cy="199804"/>
            <a:chOff x="6806974" y="4840909"/>
            <a:chExt cx="221302" cy="199804"/>
          </a:xfrm>
        </p:grpSpPr>
        <p:sp>
          <p:nvSpPr>
            <p:cNvPr id="1463" name="Freeform 857">
              <a:extLst>
                <a:ext uri="{FF2B5EF4-FFF2-40B4-BE49-F238E27FC236}">
                  <a16:creationId xmlns:a16="http://schemas.microsoft.com/office/drawing/2014/main" id="{F87C4B4B-6458-43D2-B430-46FD35C6C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0670" y="4974955"/>
              <a:ext cx="16440" cy="65758"/>
            </a:xfrm>
            <a:custGeom>
              <a:avLst/>
              <a:gdLst>
                <a:gd name="T0" fmla="*/ 4 w 9"/>
                <a:gd name="T1" fmla="*/ 36 h 36"/>
                <a:gd name="T2" fmla="*/ 0 w 9"/>
                <a:gd name="T3" fmla="*/ 32 h 36"/>
                <a:gd name="T4" fmla="*/ 0 w 9"/>
                <a:gd name="T5" fmla="*/ 4 h 36"/>
                <a:gd name="T6" fmla="*/ 4 w 9"/>
                <a:gd name="T7" fmla="*/ 0 h 36"/>
                <a:gd name="T8" fmla="*/ 9 w 9"/>
                <a:gd name="T9" fmla="*/ 4 h 36"/>
                <a:gd name="T10" fmla="*/ 9 w 9"/>
                <a:gd name="T11" fmla="*/ 32 h 36"/>
                <a:gd name="T12" fmla="*/ 4 w 9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6">
                  <a:moveTo>
                    <a:pt x="4" y="36"/>
                  </a:moveTo>
                  <a:cubicBezTo>
                    <a:pt x="2" y="36"/>
                    <a:pt x="0" y="34"/>
                    <a:pt x="0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4"/>
                    <a:pt x="7" y="36"/>
                    <a:pt x="4" y="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64" name="Freeform 858">
              <a:extLst>
                <a:ext uri="{FF2B5EF4-FFF2-40B4-BE49-F238E27FC236}">
                  <a16:creationId xmlns:a16="http://schemas.microsoft.com/office/drawing/2014/main" id="{D9BABDAE-CB55-479E-94EA-5402846F4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0320" y="5025538"/>
              <a:ext cx="75875" cy="15175"/>
            </a:xfrm>
            <a:custGeom>
              <a:avLst/>
              <a:gdLst>
                <a:gd name="T0" fmla="*/ 38 w 42"/>
                <a:gd name="T1" fmla="*/ 8 h 8"/>
                <a:gd name="T2" fmla="*/ 4 w 42"/>
                <a:gd name="T3" fmla="*/ 8 h 8"/>
                <a:gd name="T4" fmla="*/ 0 w 42"/>
                <a:gd name="T5" fmla="*/ 4 h 8"/>
                <a:gd name="T6" fmla="*/ 4 w 42"/>
                <a:gd name="T7" fmla="*/ 0 h 8"/>
                <a:gd name="T8" fmla="*/ 38 w 42"/>
                <a:gd name="T9" fmla="*/ 0 h 8"/>
                <a:gd name="T10" fmla="*/ 42 w 42"/>
                <a:gd name="T11" fmla="*/ 4 h 8"/>
                <a:gd name="T12" fmla="*/ 38 w 4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8">
                  <a:moveTo>
                    <a:pt x="3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2" y="2"/>
                    <a:pt x="42" y="4"/>
                  </a:cubicBezTo>
                  <a:cubicBezTo>
                    <a:pt x="42" y="6"/>
                    <a:pt x="41" y="8"/>
                    <a:pt x="38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65" name="Freeform 859">
              <a:extLst>
                <a:ext uri="{FF2B5EF4-FFF2-40B4-BE49-F238E27FC236}">
                  <a16:creationId xmlns:a16="http://schemas.microsoft.com/office/drawing/2014/main" id="{BBBFC55A-920D-4D71-BE12-E23F30C126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06974" y="4840909"/>
              <a:ext cx="221302" cy="149221"/>
            </a:xfrm>
            <a:custGeom>
              <a:avLst/>
              <a:gdLst>
                <a:gd name="T0" fmla="*/ 61 w 122"/>
                <a:gd name="T1" fmla="*/ 82 h 82"/>
                <a:gd name="T2" fmla="*/ 58 w 122"/>
                <a:gd name="T3" fmla="*/ 80 h 82"/>
                <a:gd name="T4" fmla="*/ 1 w 122"/>
                <a:gd name="T5" fmla="*/ 7 h 82"/>
                <a:gd name="T6" fmla="*/ 1 w 122"/>
                <a:gd name="T7" fmla="*/ 3 h 82"/>
                <a:gd name="T8" fmla="*/ 5 w 122"/>
                <a:gd name="T9" fmla="*/ 0 h 82"/>
                <a:gd name="T10" fmla="*/ 118 w 122"/>
                <a:gd name="T11" fmla="*/ 0 h 82"/>
                <a:gd name="T12" fmla="*/ 122 w 122"/>
                <a:gd name="T13" fmla="*/ 3 h 82"/>
                <a:gd name="T14" fmla="*/ 121 w 122"/>
                <a:gd name="T15" fmla="*/ 7 h 82"/>
                <a:gd name="T16" fmla="*/ 65 w 122"/>
                <a:gd name="T17" fmla="*/ 80 h 82"/>
                <a:gd name="T18" fmla="*/ 61 w 122"/>
                <a:gd name="T19" fmla="*/ 82 h 82"/>
                <a:gd name="T20" fmla="*/ 13 w 122"/>
                <a:gd name="T21" fmla="*/ 9 h 82"/>
                <a:gd name="T22" fmla="*/ 61 w 122"/>
                <a:gd name="T23" fmla="*/ 71 h 82"/>
                <a:gd name="T24" fmla="*/ 109 w 122"/>
                <a:gd name="T25" fmla="*/ 9 h 82"/>
                <a:gd name="T26" fmla="*/ 13 w 122"/>
                <a:gd name="T27" fmla="*/ 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2" h="82">
                  <a:moveTo>
                    <a:pt x="61" y="82"/>
                  </a:moveTo>
                  <a:cubicBezTo>
                    <a:pt x="60" y="82"/>
                    <a:pt x="59" y="82"/>
                    <a:pt x="58" y="8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9" y="0"/>
                    <a:pt x="121" y="1"/>
                    <a:pt x="122" y="3"/>
                  </a:cubicBezTo>
                  <a:cubicBezTo>
                    <a:pt x="122" y="4"/>
                    <a:pt x="122" y="6"/>
                    <a:pt x="121" y="7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4" y="82"/>
                    <a:pt x="63" y="82"/>
                    <a:pt x="61" y="82"/>
                  </a:cubicBezTo>
                  <a:close/>
                  <a:moveTo>
                    <a:pt x="13" y="9"/>
                  </a:moveTo>
                  <a:cubicBezTo>
                    <a:pt x="61" y="71"/>
                    <a:pt x="61" y="71"/>
                    <a:pt x="61" y="71"/>
                  </a:cubicBezTo>
                  <a:cubicBezTo>
                    <a:pt x="109" y="9"/>
                    <a:pt x="109" y="9"/>
                    <a:pt x="109" y="9"/>
                  </a:cubicBezTo>
                  <a:lnTo>
                    <a:pt x="13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66" name="Freeform 860">
              <a:extLst>
                <a:ext uri="{FF2B5EF4-FFF2-40B4-BE49-F238E27FC236}">
                  <a16:creationId xmlns:a16="http://schemas.microsoft.com/office/drawing/2014/main" id="{BE79C309-D7F7-4ED2-BC6A-6B6D52273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9853" y="4882640"/>
              <a:ext cx="158073" cy="13910"/>
            </a:xfrm>
            <a:custGeom>
              <a:avLst/>
              <a:gdLst>
                <a:gd name="T0" fmla="*/ 82 w 87"/>
                <a:gd name="T1" fmla="*/ 8 h 8"/>
                <a:gd name="T2" fmla="*/ 4 w 87"/>
                <a:gd name="T3" fmla="*/ 8 h 8"/>
                <a:gd name="T4" fmla="*/ 0 w 87"/>
                <a:gd name="T5" fmla="*/ 4 h 8"/>
                <a:gd name="T6" fmla="*/ 4 w 87"/>
                <a:gd name="T7" fmla="*/ 0 h 8"/>
                <a:gd name="T8" fmla="*/ 82 w 87"/>
                <a:gd name="T9" fmla="*/ 0 h 8"/>
                <a:gd name="T10" fmla="*/ 87 w 87"/>
                <a:gd name="T11" fmla="*/ 4 h 8"/>
                <a:gd name="T12" fmla="*/ 82 w 8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">
                  <a:moveTo>
                    <a:pt x="8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7" y="2"/>
                    <a:pt x="87" y="4"/>
                  </a:cubicBezTo>
                  <a:cubicBezTo>
                    <a:pt x="87" y="6"/>
                    <a:pt x="85" y="8"/>
                    <a:pt x="82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0" name="Agrupar 1689">
            <a:extLst>
              <a:ext uri="{FF2B5EF4-FFF2-40B4-BE49-F238E27FC236}">
                <a16:creationId xmlns:a16="http://schemas.microsoft.com/office/drawing/2014/main" id="{8D138A48-4F4E-441A-B87C-0A1E6C3DF40F}"/>
              </a:ext>
            </a:extLst>
          </p:cNvPr>
          <p:cNvGrpSpPr/>
          <p:nvPr/>
        </p:nvGrpSpPr>
        <p:grpSpPr>
          <a:xfrm>
            <a:off x="4421966" y="5212697"/>
            <a:ext cx="228890" cy="228890"/>
            <a:chOff x="4421966" y="5212697"/>
            <a:chExt cx="228890" cy="228890"/>
          </a:xfrm>
        </p:grpSpPr>
        <p:sp>
          <p:nvSpPr>
            <p:cNvPr id="1467" name="Freeform 861">
              <a:extLst>
                <a:ext uri="{FF2B5EF4-FFF2-40B4-BE49-F238E27FC236}">
                  <a16:creationId xmlns:a16="http://schemas.microsoft.com/office/drawing/2014/main" id="{1DAF9035-F3BB-4C58-A620-DC10AB6FF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966" y="5262016"/>
              <a:ext cx="221302" cy="13910"/>
            </a:xfrm>
            <a:custGeom>
              <a:avLst/>
              <a:gdLst>
                <a:gd name="T0" fmla="*/ 117 w 122"/>
                <a:gd name="T1" fmla="*/ 8 h 8"/>
                <a:gd name="T2" fmla="*/ 4 w 122"/>
                <a:gd name="T3" fmla="*/ 8 h 8"/>
                <a:gd name="T4" fmla="*/ 0 w 122"/>
                <a:gd name="T5" fmla="*/ 4 h 8"/>
                <a:gd name="T6" fmla="*/ 4 w 122"/>
                <a:gd name="T7" fmla="*/ 0 h 8"/>
                <a:gd name="T8" fmla="*/ 117 w 122"/>
                <a:gd name="T9" fmla="*/ 0 h 8"/>
                <a:gd name="T10" fmla="*/ 122 w 122"/>
                <a:gd name="T11" fmla="*/ 4 h 8"/>
                <a:gd name="T12" fmla="*/ 117 w 12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8">
                  <a:moveTo>
                    <a:pt x="1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0" y="0"/>
                    <a:pt x="122" y="2"/>
                    <a:pt x="122" y="4"/>
                  </a:cubicBezTo>
                  <a:cubicBezTo>
                    <a:pt x="122" y="6"/>
                    <a:pt x="120" y="8"/>
                    <a:pt x="117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68" name="Freeform 862">
              <a:extLst>
                <a:ext uri="{FF2B5EF4-FFF2-40B4-BE49-F238E27FC236}">
                  <a16:creationId xmlns:a16="http://schemas.microsoft.com/office/drawing/2014/main" id="{3CD9096F-5955-4386-86AC-D79A65292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2199" y="5259487"/>
              <a:ext cx="182100" cy="182100"/>
            </a:xfrm>
            <a:custGeom>
              <a:avLst/>
              <a:gdLst>
                <a:gd name="T0" fmla="*/ 74 w 100"/>
                <a:gd name="T1" fmla="*/ 100 h 100"/>
                <a:gd name="T2" fmla="*/ 26 w 100"/>
                <a:gd name="T3" fmla="*/ 100 h 100"/>
                <a:gd name="T4" fmla="*/ 11 w 100"/>
                <a:gd name="T5" fmla="*/ 86 h 100"/>
                <a:gd name="T6" fmla="*/ 1 w 100"/>
                <a:gd name="T7" fmla="*/ 6 h 100"/>
                <a:gd name="T8" fmla="*/ 4 w 100"/>
                <a:gd name="T9" fmla="*/ 1 h 100"/>
                <a:gd name="T10" fmla="*/ 9 w 100"/>
                <a:gd name="T11" fmla="*/ 4 h 100"/>
                <a:gd name="T12" fmla="*/ 19 w 100"/>
                <a:gd name="T13" fmla="*/ 85 h 100"/>
                <a:gd name="T14" fmla="*/ 26 w 100"/>
                <a:gd name="T15" fmla="*/ 91 h 100"/>
                <a:gd name="T16" fmla="*/ 74 w 100"/>
                <a:gd name="T17" fmla="*/ 91 h 100"/>
                <a:gd name="T18" fmla="*/ 81 w 100"/>
                <a:gd name="T19" fmla="*/ 85 h 100"/>
                <a:gd name="T20" fmla="*/ 91 w 100"/>
                <a:gd name="T21" fmla="*/ 4 h 100"/>
                <a:gd name="T22" fmla="*/ 96 w 100"/>
                <a:gd name="T23" fmla="*/ 1 h 100"/>
                <a:gd name="T24" fmla="*/ 99 w 100"/>
                <a:gd name="T25" fmla="*/ 6 h 100"/>
                <a:gd name="T26" fmla="*/ 89 w 100"/>
                <a:gd name="T27" fmla="*/ 86 h 100"/>
                <a:gd name="T28" fmla="*/ 74 w 100"/>
                <a:gd name="T2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0" h="100">
                  <a:moveTo>
                    <a:pt x="74" y="100"/>
                  </a:moveTo>
                  <a:cubicBezTo>
                    <a:pt x="26" y="100"/>
                    <a:pt x="26" y="100"/>
                    <a:pt x="26" y="100"/>
                  </a:cubicBezTo>
                  <a:cubicBezTo>
                    <a:pt x="18" y="100"/>
                    <a:pt x="12" y="94"/>
                    <a:pt x="11" y="8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0" y="88"/>
                    <a:pt x="23" y="91"/>
                    <a:pt x="26" y="91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77" y="91"/>
                    <a:pt x="80" y="88"/>
                    <a:pt x="81" y="85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1" y="2"/>
                    <a:pt x="93" y="0"/>
                    <a:pt x="96" y="1"/>
                  </a:cubicBezTo>
                  <a:cubicBezTo>
                    <a:pt x="98" y="1"/>
                    <a:pt x="100" y="3"/>
                    <a:pt x="99" y="6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8" y="94"/>
                    <a:pt x="82" y="100"/>
                    <a:pt x="74" y="10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69" name="Freeform 863">
              <a:extLst>
                <a:ext uri="{FF2B5EF4-FFF2-40B4-BE49-F238E27FC236}">
                  <a16:creationId xmlns:a16="http://schemas.microsoft.com/office/drawing/2014/main" id="{9C52590A-9C54-4CEE-AEC7-057490A60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3833" y="5212697"/>
              <a:ext cx="67023" cy="55642"/>
            </a:xfrm>
            <a:custGeom>
              <a:avLst/>
              <a:gdLst>
                <a:gd name="T0" fmla="*/ 5 w 37"/>
                <a:gd name="T1" fmla="*/ 31 h 31"/>
                <a:gd name="T2" fmla="*/ 3 w 37"/>
                <a:gd name="T3" fmla="*/ 30 h 31"/>
                <a:gd name="T4" fmla="*/ 1 w 37"/>
                <a:gd name="T5" fmla="*/ 25 h 31"/>
                <a:gd name="T6" fmla="*/ 13 w 37"/>
                <a:gd name="T7" fmla="*/ 2 h 31"/>
                <a:gd name="T8" fmla="*/ 16 w 37"/>
                <a:gd name="T9" fmla="*/ 0 h 31"/>
                <a:gd name="T10" fmla="*/ 33 w 37"/>
                <a:gd name="T11" fmla="*/ 0 h 31"/>
                <a:gd name="T12" fmla="*/ 37 w 37"/>
                <a:gd name="T13" fmla="*/ 4 h 31"/>
                <a:gd name="T14" fmla="*/ 33 w 37"/>
                <a:gd name="T15" fmla="*/ 8 h 31"/>
                <a:gd name="T16" fmla="*/ 19 w 37"/>
                <a:gd name="T17" fmla="*/ 8 h 31"/>
                <a:gd name="T18" fmla="*/ 9 w 37"/>
                <a:gd name="T19" fmla="*/ 28 h 31"/>
                <a:gd name="T20" fmla="*/ 5 w 37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31">
                  <a:moveTo>
                    <a:pt x="5" y="31"/>
                  </a:moveTo>
                  <a:cubicBezTo>
                    <a:pt x="5" y="31"/>
                    <a:pt x="4" y="31"/>
                    <a:pt x="3" y="30"/>
                  </a:cubicBezTo>
                  <a:cubicBezTo>
                    <a:pt x="1" y="29"/>
                    <a:pt x="0" y="27"/>
                    <a:pt x="1" y="2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1"/>
                    <a:pt x="15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4"/>
                  </a:cubicBezTo>
                  <a:cubicBezTo>
                    <a:pt x="37" y="7"/>
                    <a:pt x="35" y="8"/>
                    <a:pt x="33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30"/>
                    <a:pt x="7" y="31"/>
                    <a:pt x="5" y="3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70" name="Freeform 864">
              <a:extLst>
                <a:ext uri="{FF2B5EF4-FFF2-40B4-BE49-F238E27FC236}">
                  <a16:creationId xmlns:a16="http://schemas.microsoft.com/office/drawing/2014/main" id="{9AE977A9-60BF-445B-986B-AD2FCC02E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1051" y="5312599"/>
              <a:ext cx="164396" cy="45525"/>
            </a:xfrm>
            <a:custGeom>
              <a:avLst/>
              <a:gdLst>
                <a:gd name="T0" fmla="*/ 86 w 90"/>
                <a:gd name="T1" fmla="*/ 25 h 25"/>
                <a:gd name="T2" fmla="*/ 85 w 90"/>
                <a:gd name="T3" fmla="*/ 25 h 25"/>
                <a:gd name="T4" fmla="*/ 47 w 90"/>
                <a:gd name="T5" fmla="*/ 17 h 25"/>
                <a:gd name="T6" fmla="*/ 4 w 90"/>
                <a:gd name="T7" fmla="*/ 9 h 25"/>
                <a:gd name="T8" fmla="*/ 0 w 90"/>
                <a:gd name="T9" fmla="*/ 4 h 25"/>
                <a:gd name="T10" fmla="*/ 4 w 90"/>
                <a:gd name="T11" fmla="*/ 0 h 25"/>
                <a:gd name="T12" fmla="*/ 51 w 90"/>
                <a:gd name="T13" fmla="*/ 10 h 25"/>
                <a:gd name="T14" fmla="*/ 86 w 90"/>
                <a:gd name="T15" fmla="*/ 17 h 25"/>
                <a:gd name="T16" fmla="*/ 90 w 90"/>
                <a:gd name="T17" fmla="*/ 21 h 25"/>
                <a:gd name="T18" fmla="*/ 86 w 90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25">
                  <a:moveTo>
                    <a:pt x="86" y="25"/>
                  </a:moveTo>
                  <a:cubicBezTo>
                    <a:pt x="85" y="25"/>
                    <a:pt x="85" y="25"/>
                    <a:pt x="85" y="25"/>
                  </a:cubicBezTo>
                  <a:cubicBezTo>
                    <a:pt x="64" y="25"/>
                    <a:pt x="56" y="21"/>
                    <a:pt x="47" y="17"/>
                  </a:cubicBezTo>
                  <a:cubicBezTo>
                    <a:pt x="39" y="13"/>
                    <a:pt x="30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2" y="1"/>
                    <a:pt x="42" y="5"/>
                    <a:pt x="51" y="10"/>
                  </a:cubicBezTo>
                  <a:cubicBezTo>
                    <a:pt x="59" y="13"/>
                    <a:pt x="66" y="17"/>
                    <a:pt x="86" y="17"/>
                  </a:cubicBezTo>
                  <a:cubicBezTo>
                    <a:pt x="88" y="17"/>
                    <a:pt x="90" y="19"/>
                    <a:pt x="90" y="21"/>
                  </a:cubicBezTo>
                  <a:cubicBezTo>
                    <a:pt x="90" y="24"/>
                    <a:pt x="88" y="25"/>
                    <a:pt x="86" y="2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3" name="Agrupar 1692">
            <a:extLst>
              <a:ext uri="{FF2B5EF4-FFF2-40B4-BE49-F238E27FC236}">
                <a16:creationId xmlns:a16="http://schemas.microsoft.com/office/drawing/2014/main" id="{86D2898F-8D70-48B7-BB12-13667DD3CDAE}"/>
              </a:ext>
            </a:extLst>
          </p:cNvPr>
          <p:cNvGrpSpPr/>
          <p:nvPr/>
        </p:nvGrpSpPr>
        <p:grpSpPr>
          <a:xfrm>
            <a:off x="5566416" y="5234195"/>
            <a:ext cx="221302" cy="221302"/>
            <a:chOff x="5566416" y="5234195"/>
            <a:chExt cx="221302" cy="221302"/>
          </a:xfrm>
        </p:grpSpPr>
        <p:sp>
          <p:nvSpPr>
            <p:cNvPr id="1471" name="Freeform 865">
              <a:extLst>
                <a:ext uri="{FF2B5EF4-FFF2-40B4-BE49-F238E27FC236}">
                  <a16:creationId xmlns:a16="http://schemas.microsoft.com/office/drawing/2014/main" id="{883BBA47-3482-41A0-B4A9-C322B7A68E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6416" y="5255693"/>
              <a:ext cx="98638" cy="199804"/>
            </a:xfrm>
            <a:custGeom>
              <a:avLst/>
              <a:gdLst>
                <a:gd name="T0" fmla="*/ 50 w 54"/>
                <a:gd name="T1" fmla="*/ 110 h 110"/>
                <a:gd name="T2" fmla="*/ 4 w 54"/>
                <a:gd name="T3" fmla="*/ 110 h 110"/>
                <a:gd name="T4" fmla="*/ 0 w 54"/>
                <a:gd name="T5" fmla="*/ 106 h 110"/>
                <a:gd name="T6" fmla="*/ 0 w 54"/>
                <a:gd name="T7" fmla="*/ 32 h 110"/>
                <a:gd name="T8" fmla="*/ 1 w 54"/>
                <a:gd name="T9" fmla="*/ 30 h 110"/>
                <a:gd name="T10" fmla="*/ 24 w 54"/>
                <a:gd name="T11" fmla="*/ 1 h 110"/>
                <a:gd name="T12" fmla="*/ 27 w 54"/>
                <a:gd name="T13" fmla="*/ 0 h 110"/>
                <a:gd name="T14" fmla="*/ 27 w 54"/>
                <a:gd name="T15" fmla="*/ 0 h 110"/>
                <a:gd name="T16" fmla="*/ 30 w 54"/>
                <a:gd name="T17" fmla="*/ 1 h 110"/>
                <a:gd name="T18" fmla="*/ 53 w 54"/>
                <a:gd name="T19" fmla="*/ 30 h 110"/>
                <a:gd name="T20" fmla="*/ 54 w 54"/>
                <a:gd name="T21" fmla="*/ 32 h 110"/>
                <a:gd name="T22" fmla="*/ 54 w 54"/>
                <a:gd name="T23" fmla="*/ 106 h 110"/>
                <a:gd name="T24" fmla="*/ 50 w 54"/>
                <a:gd name="T25" fmla="*/ 110 h 110"/>
                <a:gd name="T26" fmla="*/ 9 w 54"/>
                <a:gd name="T27" fmla="*/ 101 h 110"/>
                <a:gd name="T28" fmla="*/ 45 w 54"/>
                <a:gd name="T29" fmla="*/ 101 h 110"/>
                <a:gd name="T30" fmla="*/ 45 w 54"/>
                <a:gd name="T31" fmla="*/ 34 h 110"/>
                <a:gd name="T32" fmla="*/ 27 w 54"/>
                <a:gd name="T33" fmla="*/ 11 h 110"/>
                <a:gd name="T34" fmla="*/ 9 w 54"/>
                <a:gd name="T35" fmla="*/ 34 h 110"/>
                <a:gd name="T36" fmla="*/ 9 w 54"/>
                <a:gd name="T37" fmla="*/ 10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110">
                  <a:moveTo>
                    <a:pt x="50" y="110"/>
                  </a:moveTo>
                  <a:cubicBezTo>
                    <a:pt x="4" y="110"/>
                    <a:pt x="4" y="110"/>
                    <a:pt x="4" y="110"/>
                  </a:cubicBezTo>
                  <a:cubicBezTo>
                    <a:pt x="2" y="110"/>
                    <a:pt x="0" y="108"/>
                    <a:pt x="0" y="10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0" y="30"/>
                    <a:pt x="1" y="3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0"/>
                    <a:pt x="26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9" y="0"/>
                    <a:pt x="30" y="1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4" y="31"/>
                    <a:pt x="54" y="32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8"/>
                    <a:pt x="52" y="110"/>
                    <a:pt x="50" y="110"/>
                  </a:cubicBezTo>
                  <a:close/>
                  <a:moveTo>
                    <a:pt x="9" y="101"/>
                  </a:moveTo>
                  <a:cubicBezTo>
                    <a:pt x="45" y="101"/>
                    <a:pt x="45" y="101"/>
                    <a:pt x="45" y="101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9" y="34"/>
                    <a:pt x="9" y="34"/>
                    <a:pt x="9" y="34"/>
                  </a:cubicBezTo>
                  <a:lnTo>
                    <a:pt x="9" y="10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72" name="Freeform 866">
              <a:extLst>
                <a:ext uri="{FF2B5EF4-FFF2-40B4-BE49-F238E27FC236}">
                  <a16:creationId xmlns:a16="http://schemas.microsoft.com/office/drawing/2014/main" id="{C6632798-4B81-4405-AC46-0DE04AAF6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8147" y="5234195"/>
              <a:ext cx="179571" cy="221302"/>
            </a:xfrm>
            <a:custGeom>
              <a:avLst/>
              <a:gdLst>
                <a:gd name="T0" fmla="*/ 94 w 99"/>
                <a:gd name="T1" fmla="*/ 122 h 122"/>
                <a:gd name="T2" fmla="*/ 27 w 99"/>
                <a:gd name="T3" fmla="*/ 122 h 122"/>
                <a:gd name="T4" fmla="*/ 22 w 99"/>
                <a:gd name="T5" fmla="*/ 118 h 122"/>
                <a:gd name="T6" fmla="*/ 27 w 99"/>
                <a:gd name="T7" fmla="*/ 113 h 122"/>
                <a:gd name="T8" fmla="*/ 90 w 99"/>
                <a:gd name="T9" fmla="*/ 113 h 122"/>
                <a:gd name="T10" fmla="*/ 90 w 99"/>
                <a:gd name="T11" fmla="*/ 46 h 122"/>
                <a:gd name="T12" fmla="*/ 68 w 99"/>
                <a:gd name="T13" fmla="*/ 19 h 122"/>
                <a:gd name="T14" fmla="*/ 67 w 99"/>
                <a:gd name="T15" fmla="*/ 16 h 122"/>
                <a:gd name="T16" fmla="*/ 67 w 99"/>
                <a:gd name="T17" fmla="*/ 9 h 122"/>
                <a:gd name="T18" fmla="*/ 8 w 99"/>
                <a:gd name="T19" fmla="*/ 9 h 122"/>
                <a:gd name="T20" fmla="*/ 8 w 99"/>
                <a:gd name="T21" fmla="*/ 16 h 122"/>
                <a:gd name="T22" fmla="*/ 4 w 99"/>
                <a:gd name="T23" fmla="*/ 20 h 122"/>
                <a:gd name="T24" fmla="*/ 0 w 99"/>
                <a:gd name="T25" fmla="*/ 16 h 122"/>
                <a:gd name="T26" fmla="*/ 0 w 99"/>
                <a:gd name="T27" fmla="*/ 5 h 122"/>
                <a:gd name="T28" fmla="*/ 4 w 99"/>
                <a:gd name="T29" fmla="*/ 0 h 122"/>
                <a:gd name="T30" fmla="*/ 72 w 99"/>
                <a:gd name="T31" fmla="*/ 0 h 122"/>
                <a:gd name="T32" fmla="*/ 76 w 99"/>
                <a:gd name="T33" fmla="*/ 5 h 122"/>
                <a:gd name="T34" fmla="*/ 76 w 99"/>
                <a:gd name="T35" fmla="*/ 15 h 122"/>
                <a:gd name="T36" fmla="*/ 98 w 99"/>
                <a:gd name="T37" fmla="*/ 42 h 122"/>
                <a:gd name="T38" fmla="*/ 99 w 99"/>
                <a:gd name="T39" fmla="*/ 44 h 122"/>
                <a:gd name="T40" fmla="*/ 99 w 99"/>
                <a:gd name="T41" fmla="*/ 118 h 122"/>
                <a:gd name="T42" fmla="*/ 94 w 99"/>
                <a:gd name="T4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9" h="122">
                  <a:moveTo>
                    <a:pt x="94" y="122"/>
                  </a:moveTo>
                  <a:cubicBezTo>
                    <a:pt x="27" y="122"/>
                    <a:pt x="27" y="122"/>
                    <a:pt x="27" y="122"/>
                  </a:cubicBezTo>
                  <a:cubicBezTo>
                    <a:pt x="24" y="122"/>
                    <a:pt x="22" y="120"/>
                    <a:pt x="22" y="118"/>
                  </a:cubicBezTo>
                  <a:cubicBezTo>
                    <a:pt x="22" y="115"/>
                    <a:pt x="24" y="113"/>
                    <a:pt x="27" y="113"/>
                  </a:cubicBezTo>
                  <a:cubicBezTo>
                    <a:pt x="90" y="113"/>
                    <a:pt x="90" y="113"/>
                    <a:pt x="90" y="113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8"/>
                    <a:pt x="67" y="17"/>
                    <a:pt x="67" y="16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8"/>
                    <a:pt x="6" y="20"/>
                    <a:pt x="4" y="20"/>
                  </a:cubicBezTo>
                  <a:cubicBezTo>
                    <a:pt x="2" y="20"/>
                    <a:pt x="0" y="18"/>
                    <a:pt x="0" y="1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4" y="0"/>
                    <a:pt x="76" y="2"/>
                    <a:pt x="76" y="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98" y="42"/>
                    <a:pt x="99" y="43"/>
                    <a:pt x="99" y="44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99" y="120"/>
                    <a:pt x="97" y="122"/>
                    <a:pt x="94" y="12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7" name="Agrupar 1676">
            <a:extLst>
              <a:ext uri="{FF2B5EF4-FFF2-40B4-BE49-F238E27FC236}">
                <a16:creationId xmlns:a16="http://schemas.microsoft.com/office/drawing/2014/main" id="{4BCCF868-8319-4D59-BDA9-0E7756C93D89}"/>
              </a:ext>
            </a:extLst>
          </p:cNvPr>
          <p:cNvGrpSpPr/>
          <p:nvPr/>
        </p:nvGrpSpPr>
        <p:grpSpPr>
          <a:xfrm>
            <a:off x="5577797" y="4361631"/>
            <a:ext cx="199804" cy="240271"/>
            <a:chOff x="5577797" y="4361631"/>
            <a:chExt cx="199804" cy="240271"/>
          </a:xfrm>
        </p:grpSpPr>
        <p:sp>
          <p:nvSpPr>
            <p:cNvPr id="1473" name="Freeform 867">
              <a:extLst>
                <a:ext uri="{FF2B5EF4-FFF2-40B4-BE49-F238E27FC236}">
                  <a16:creationId xmlns:a16="http://schemas.microsoft.com/office/drawing/2014/main" id="{D9FF79C2-3172-4E2F-B4A9-4B0E60EA7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797" y="4402098"/>
              <a:ext cx="199804" cy="16440"/>
            </a:xfrm>
            <a:custGeom>
              <a:avLst/>
              <a:gdLst>
                <a:gd name="T0" fmla="*/ 106 w 110"/>
                <a:gd name="T1" fmla="*/ 9 h 9"/>
                <a:gd name="T2" fmla="*/ 4 w 110"/>
                <a:gd name="T3" fmla="*/ 9 h 9"/>
                <a:gd name="T4" fmla="*/ 0 w 110"/>
                <a:gd name="T5" fmla="*/ 5 h 9"/>
                <a:gd name="T6" fmla="*/ 4 w 110"/>
                <a:gd name="T7" fmla="*/ 0 h 9"/>
                <a:gd name="T8" fmla="*/ 106 w 110"/>
                <a:gd name="T9" fmla="*/ 0 h 9"/>
                <a:gd name="T10" fmla="*/ 110 w 110"/>
                <a:gd name="T11" fmla="*/ 5 h 9"/>
                <a:gd name="T12" fmla="*/ 106 w 110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9">
                  <a:moveTo>
                    <a:pt x="106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8" y="0"/>
                    <a:pt x="110" y="2"/>
                    <a:pt x="110" y="5"/>
                  </a:cubicBezTo>
                  <a:cubicBezTo>
                    <a:pt x="110" y="7"/>
                    <a:pt x="108" y="9"/>
                    <a:pt x="10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74" name="Freeform 868">
              <a:extLst>
                <a:ext uri="{FF2B5EF4-FFF2-40B4-BE49-F238E27FC236}">
                  <a16:creationId xmlns:a16="http://schemas.microsoft.com/office/drawing/2014/main" id="{237C8CDC-3AC1-435F-B375-D503D4973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501" y="4361631"/>
              <a:ext cx="161867" cy="56906"/>
            </a:xfrm>
            <a:custGeom>
              <a:avLst/>
              <a:gdLst>
                <a:gd name="T0" fmla="*/ 84 w 89"/>
                <a:gd name="T1" fmla="*/ 31 h 31"/>
                <a:gd name="T2" fmla="*/ 81 w 89"/>
                <a:gd name="T3" fmla="*/ 28 h 31"/>
                <a:gd name="T4" fmla="*/ 70 w 89"/>
                <a:gd name="T5" fmla="*/ 8 h 31"/>
                <a:gd name="T6" fmla="*/ 19 w 89"/>
                <a:gd name="T7" fmla="*/ 8 h 31"/>
                <a:gd name="T8" fmla="*/ 9 w 89"/>
                <a:gd name="T9" fmla="*/ 28 h 31"/>
                <a:gd name="T10" fmla="*/ 3 w 89"/>
                <a:gd name="T11" fmla="*/ 30 h 31"/>
                <a:gd name="T12" fmla="*/ 2 w 89"/>
                <a:gd name="T13" fmla="*/ 25 h 31"/>
                <a:gd name="T14" fmla="*/ 13 w 89"/>
                <a:gd name="T15" fmla="*/ 2 h 31"/>
                <a:gd name="T16" fmla="*/ 17 w 89"/>
                <a:gd name="T17" fmla="*/ 0 h 31"/>
                <a:gd name="T18" fmla="*/ 73 w 89"/>
                <a:gd name="T19" fmla="*/ 0 h 31"/>
                <a:gd name="T20" fmla="*/ 77 w 89"/>
                <a:gd name="T21" fmla="*/ 2 h 31"/>
                <a:gd name="T22" fmla="*/ 88 w 89"/>
                <a:gd name="T23" fmla="*/ 25 h 31"/>
                <a:gd name="T24" fmla="*/ 86 w 89"/>
                <a:gd name="T25" fmla="*/ 30 h 31"/>
                <a:gd name="T26" fmla="*/ 84 w 89"/>
                <a:gd name="T2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9" h="31">
                  <a:moveTo>
                    <a:pt x="84" y="31"/>
                  </a:moveTo>
                  <a:cubicBezTo>
                    <a:pt x="83" y="31"/>
                    <a:pt x="81" y="30"/>
                    <a:pt x="81" y="2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31"/>
                    <a:pt x="6" y="31"/>
                    <a:pt x="3" y="30"/>
                  </a:cubicBezTo>
                  <a:cubicBezTo>
                    <a:pt x="1" y="29"/>
                    <a:pt x="0" y="27"/>
                    <a:pt x="2" y="2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1"/>
                    <a:pt x="15" y="0"/>
                    <a:pt x="17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5" y="0"/>
                    <a:pt x="76" y="1"/>
                    <a:pt x="77" y="2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9" y="27"/>
                    <a:pt x="88" y="29"/>
                    <a:pt x="86" y="30"/>
                  </a:cubicBezTo>
                  <a:cubicBezTo>
                    <a:pt x="86" y="31"/>
                    <a:pt x="85" y="31"/>
                    <a:pt x="84" y="3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75" name="Freeform 869">
              <a:extLst>
                <a:ext uri="{FF2B5EF4-FFF2-40B4-BE49-F238E27FC236}">
                  <a16:creationId xmlns:a16="http://schemas.microsoft.com/office/drawing/2014/main" id="{EC3453C1-6CAC-4511-A569-C0BB11F8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941" y="4534879"/>
              <a:ext cx="131517" cy="67023"/>
            </a:xfrm>
            <a:custGeom>
              <a:avLst/>
              <a:gdLst>
                <a:gd name="T0" fmla="*/ 64 w 72"/>
                <a:gd name="T1" fmla="*/ 37 h 37"/>
                <a:gd name="T2" fmla="*/ 8 w 72"/>
                <a:gd name="T3" fmla="*/ 37 h 37"/>
                <a:gd name="T4" fmla="*/ 3 w 72"/>
                <a:gd name="T5" fmla="*/ 34 h 37"/>
                <a:gd name="T6" fmla="*/ 0 w 72"/>
                <a:gd name="T7" fmla="*/ 5 h 37"/>
                <a:gd name="T8" fmla="*/ 4 w 72"/>
                <a:gd name="T9" fmla="*/ 1 h 37"/>
                <a:gd name="T10" fmla="*/ 9 w 72"/>
                <a:gd name="T11" fmla="*/ 4 h 37"/>
                <a:gd name="T12" fmla="*/ 11 w 72"/>
                <a:gd name="T13" fmla="*/ 29 h 37"/>
                <a:gd name="T14" fmla="*/ 60 w 72"/>
                <a:gd name="T15" fmla="*/ 29 h 37"/>
                <a:gd name="T16" fmla="*/ 63 w 72"/>
                <a:gd name="T17" fmla="*/ 4 h 37"/>
                <a:gd name="T18" fmla="*/ 68 w 72"/>
                <a:gd name="T19" fmla="*/ 1 h 37"/>
                <a:gd name="T20" fmla="*/ 71 w 72"/>
                <a:gd name="T21" fmla="*/ 5 h 37"/>
                <a:gd name="T22" fmla="*/ 68 w 72"/>
                <a:gd name="T23" fmla="*/ 34 h 37"/>
                <a:gd name="T24" fmla="*/ 64 w 72"/>
                <a:gd name="T2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7">
                  <a:moveTo>
                    <a:pt x="64" y="37"/>
                  </a:moveTo>
                  <a:cubicBezTo>
                    <a:pt x="8" y="37"/>
                    <a:pt x="8" y="37"/>
                    <a:pt x="8" y="37"/>
                  </a:cubicBezTo>
                  <a:cubicBezTo>
                    <a:pt x="5" y="37"/>
                    <a:pt x="4" y="36"/>
                    <a:pt x="3" y="3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6" y="0"/>
                    <a:pt x="8" y="2"/>
                    <a:pt x="9" y="4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2"/>
                    <a:pt x="65" y="0"/>
                    <a:pt x="68" y="1"/>
                  </a:cubicBezTo>
                  <a:cubicBezTo>
                    <a:pt x="70" y="1"/>
                    <a:pt x="72" y="3"/>
                    <a:pt x="71" y="5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36"/>
                    <a:pt x="66" y="37"/>
                    <a:pt x="64" y="3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76" name="Freeform 870">
              <a:extLst>
                <a:ext uri="{FF2B5EF4-FFF2-40B4-BE49-F238E27FC236}">
                  <a16:creationId xmlns:a16="http://schemas.microsoft.com/office/drawing/2014/main" id="{528A12A7-02FF-4171-A28C-1927B1B2E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8030" y="4402098"/>
              <a:ext cx="159338" cy="67023"/>
            </a:xfrm>
            <a:custGeom>
              <a:avLst/>
              <a:gdLst>
                <a:gd name="T0" fmla="*/ 7 w 88"/>
                <a:gd name="T1" fmla="*/ 37 h 37"/>
                <a:gd name="T2" fmla="*/ 3 w 88"/>
                <a:gd name="T3" fmla="*/ 33 h 37"/>
                <a:gd name="T4" fmla="*/ 0 w 88"/>
                <a:gd name="T5" fmla="*/ 5 h 37"/>
                <a:gd name="T6" fmla="*/ 1 w 88"/>
                <a:gd name="T7" fmla="*/ 2 h 37"/>
                <a:gd name="T8" fmla="*/ 4 w 88"/>
                <a:gd name="T9" fmla="*/ 0 h 37"/>
                <a:gd name="T10" fmla="*/ 83 w 88"/>
                <a:gd name="T11" fmla="*/ 0 h 37"/>
                <a:gd name="T12" fmla="*/ 87 w 88"/>
                <a:gd name="T13" fmla="*/ 2 h 37"/>
                <a:gd name="T14" fmla="*/ 88 w 88"/>
                <a:gd name="T15" fmla="*/ 5 h 37"/>
                <a:gd name="T16" fmla="*/ 84 w 88"/>
                <a:gd name="T17" fmla="*/ 33 h 37"/>
                <a:gd name="T18" fmla="*/ 80 w 88"/>
                <a:gd name="T19" fmla="*/ 37 h 37"/>
                <a:gd name="T20" fmla="*/ 76 w 88"/>
                <a:gd name="T21" fmla="*/ 32 h 37"/>
                <a:gd name="T22" fmla="*/ 79 w 88"/>
                <a:gd name="T23" fmla="*/ 9 h 37"/>
                <a:gd name="T24" fmla="*/ 9 w 88"/>
                <a:gd name="T25" fmla="*/ 9 h 37"/>
                <a:gd name="T26" fmla="*/ 12 w 88"/>
                <a:gd name="T27" fmla="*/ 32 h 37"/>
                <a:gd name="T28" fmla="*/ 8 w 88"/>
                <a:gd name="T29" fmla="*/ 37 h 37"/>
                <a:gd name="T30" fmla="*/ 7 w 88"/>
                <a:gd name="T3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37">
                  <a:moveTo>
                    <a:pt x="7" y="37"/>
                  </a:moveTo>
                  <a:cubicBezTo>
                    <a:pt x="5" y="37"/>
                    <a:pt x="3" y="35"/>
                    <a:pt x="3" y="3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5" y="0"/>
                    <a:pt x="86" y="1"/>
                    <a:pt x="87" y="2"/>
                  </a:cubicBezTo>
                  <a:cubicBezTo>
                    <a:pt x="87" y="3"/>
                    <a:pt x="88" y="4"/>
                    <a:pt x="88" y="5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36"/>
                    <a:pt x="82" y="37"/>
                    <a:pt x="80" y="37"/>
                  </a:cubicBezTo>
                  <a:cubicBezTo>
                    <a:pt x="77" y="37"/>
                    <a:pt x="76" y="35"/>
                    <a:pt x="76" y="32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0" y="37"/>
                    <a:pt x="8" y="37"/>
                  </a:cubicBezTo>
                  <a:cubicBezTo>
                    <a:pt x="8" y="37"/>
                    <a:pt x="8" y="37"/>
                    <a:pt x="7" y="3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77" name="Freeform 871">
              <a:extLst>
                <a:ext uri="{FF2B5EF4-FFF2-40B4-BE49-F238E27FC236}">
                  <a16:creationId xmlns:a16="http://schemas.microsoft.com/office/drawing/2014/main" id="{043101DB-61BE-4586-A361-6BE83A7570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6649" y="4452681"/>
              <a:ext cx="179571" cy="97373"/>
            </a:xfrm>
            <a:custGeom>
              <a:avLst/>
              <a:gdLst>
                <a:gd name="T0" fmla="*/ 89 w 99"/>
                <a:gd name="T1" fmla="*/ 54 h 54"/>
                <a:gd name="T2" fmla="*/ 10 w 99"/>
                <a:gd name="T3" fmla="*/ 54 h 54"/>
                <a:gd name="T4" fmla="*/ 6 w 99"/>
                <a:gd name="T5" fmla="*/ 50 h 54"/>
                <a:gd name="T6" fmla="*/ 0 w 99"/>
                <a:gd name="T7" fmla="*/ 5 h 54"/>
                <a:gd name="T8" fmla="*/ 1 w 99"/>
                <a:gd name="T9" fmla="*/ 2 h 54"/>
                <a:gd name="T10" fmla="*/ 5 w 99"/>
                <a:gd name="T11" fmla="*/ 0 h 54"/>
                <a:gd name="T12" fmla="*/ 95 w 99"/>
                <a:gd name="T13" fmla="*/ 0 h 54"/>
                <a:gd name="T14" fmla="*/ 98 w 99"/>
                <a:gd name="T15" fmla="*/ 2 h 54"/>
                <a:gd name="T16" fmla="*/ 99 w 99"/>
                <a:gd name="T17" fmla="*/ 5 h 54"/>
                <a:gd name="T18" fmla="*/ 94 w 99"/>
                <a:gd name="T19" fmla="*/ 50 h 54"/>
                <a:gd name="T20" fmla="*/ 89 w 99"/>
                <a:gd name="T21" fmla="*/ 54 h 54"/>
                <a:gd name="T22" fmla="*/ 14 w 99"/>
                <a:gd name="T23" fmla="*/ 46 h 54"/>
                <a:gd name="T24" fmla="*/ 86 w 99"/>
                <a:gd name="T25" fmla="*/ 46 h 54"/>
                <a:gd name="T26" fmla="*/ 90 w 99"/>
                <a:gd name="T27" fmla="*/ 9 h 54"/>
                <a:gd name="T28" fmla="*/ 10 w 99"/>
                <a:gd name="T29" fmla="*/ 9 h 54"/>
                <a:gd name="T30" fmla="*/ 14 w 99"/>
                <a:gd name="T31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54">
                  <a:moveTo>
                    <a:pt x="89" y="54"/>
                  </a:moveTo>
                  <a:cubicBezTo>
                    <a:pt x="10" y="54"/>
                    <a:pt x="10" y="54"/>
                    <a:pt x="10" y="54"/>
                  </a:cubicBezTo>
                  <a:cubicBezTo>
                    <a:pt x="8" y="54"/>
                    <a:pt x="6" y="53"/>
                    <a:pt x="6" y="5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6" y="0"/>
                    <a:pt x="97" y="1"/>
                    <a:pt x="98" y="2"/>
                  </a:cubicBezTo>
                  <a:cubicBezTo>
                    <a:pt x="99" y="3"/>
                    <a:pt x="99" y="4"/>
                    <a:pt x="99" y="5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3" y="53"/>
                    <a:pt x="92" y="54"/>
                    <a:pt x="89" y="54"/>
                  </a:cubicBezTo>
                  <a:close/>
                  <a:moveTo>
                    <a:pt x="14" y="46"/>
                  </a:moveTo>
                  <a:cubicBezTo>
                    <a:pt x="86" y="46"/>
                    <a:pt x="86" y="46"/>
                    <a:pt x="86" y="46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14" y="4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2" name="Agrupar 1631">
            <a:extLst>
              <a:ext uri="{FF2B5EF4-FFF2-40B4-BE49-F238E27FC236}">
                <a16:creationId xmlns:a16="http://schemas.microsoft.com/office/drawing/2014/main" id="{5BCA5571-0D6E-4A32-9EDA-732316C32A06}"/>
              </a:ext>
            </a:extLst>
          </p:cNvPr>
          <p:cNvGrpSpPr/>
          <p:nvPr/>
        </p:nvGrpSpPr>
        <p:grpSpPr>
          <a:xfrm>
            <a:off x="7207848" y="1153378"/>
            <a:ext cx="223832" cy="271886"/>
            <a:chOff x="7207848" y="1153378"/>
            <a:chExt cx="223832" cy="271886"/>
          </a:xfrm>
        </p:grpSpPr>
        <p:sp>
          <p:nvSpPr>
            <p:cNvPr id="1478" name="Freeform 872">
              <a:extLst>
                <a:ext uri="{FF2B5EF4-FFF2-40B4-BE49-F238E27FC236}">
                  <a16:creationId xmlns:a16="http://schemas.microsoft.com/office/drawing/2014/main" id="{C77614ED-5158-4390-971E-8D995DB24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544" y="1350653"/>
              <a:ext cx="16440" cy="74611"/>
            </a:xfrm>
            <a:custGeom>
              <a:avLst/>
              <a:gdLst>
                <a:gd name="T0" fmla="*/ 5 w 9"/>
                <a:gd name="T1" fmla="*/ 41 h 41"/>
                <a:gd name="T2" fmla="*/ 0 w 9"/>
                <a:gd name="T3" fmla="*/ 37 h 41"/>
                <a:gd name="T4" fmla="*/ 0 w 9"/>
                <a:gd name="T5" fmla="*/ 5 h 41"/>
                <a:gd name="T6" fmla="*/ 5 w 9"/>
                <a:gd name="T7" fmla="*/ 0 h 41"/>
                <a:gd name="T8" fmla="*/ 9 w 9"/>
                <a:gd name="T9" fmla="*/ 5 h 41"/>
                <a:gd name="T10" fmla="*/ 9 w 9"/>
                <a:gd name="T11" fmla="*/ 37 h 41"/>
                <a:gd name="T12" fmla="*/ 5 w 9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1">
                  <a:moveTo>
                    <a:pt x="5" y="41"/>
                  </a:moveTo>
                  <a:cubicBezTo>
                    <a:pt x="2" y="41"/>
                    <a:pt x="0" y="39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9"/>
                    <a:pt x="7" y="41"/>
                    <a:pt x="5" y="4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79" name="Freeform 873">
              <a:extLst>
                <a:ext uri="{FF2B5EF4-FFF2-40B4-BE49-F238E27FC236}">
                  <a16:creationId xmlns:a16="http://schemas.microsoft.com/office/drawing/2014/main" id="{E600B523-5E2C-4C8E-8850-1B6FE4848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7400" y="1408824"/>
              <a:ext cx="84727" cy="16440"/>
            </a:xfrm>
            <a:custGeom>
              <a:avLst/>
              <a:gdLst>
                <a:gd name="T0" fmla="*/ 43 w 47"/>
                <a:gd name="T1" fmla="*/ 9 h 9"/>
                <a:gd name="T2" fmla="*/ 4 w 47"/>
                <a:gd name="T3" fmla="*/ 9 h 9"/>
                <a:gd name="T4" fmla="*/ 0 w 47"/>
                <a:gd name="T5" fmla="*/ 5 h 9"/>
                <a:gd name="T6" fmla="*/ 4 w 47"/>
                <a:gd name="T7" fmla="*/ 0 h 9"/>
                <a:gd name="T8" fmla="*/ 43 w 47"/>
                <a:gd name="T9" fmla="*/ 0 h 9"/>
                <a:gd name="T10" fmla="*/ 47 w 47"/>
                <a:gd name="T11" fmla="*/ 5 h 9"/>
                <a:gd name="T12" fmla="*/ 43 w 4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">
                  <a:moveTo>
                    <a:pt x="4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5" y="0"/>
                    <a:pt x="47" y="2"/>
                    <a:pt x="47" y="5"/>
                  </a:cubicBezTo>
                  <a:cubicBezTo>
                    <a:pt x="47" y="7"/>
                    <a:pt x="45" y="9"/>
                    <a:pt x="43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0" name="Freeform 874">
              <a:extLst>
                <a:ext uri="{FF2B5EF4-FFF2-40B4-BE49-F238E27FC236}">
                  <a16:creationId xmlns:a16="http://schemas.microsoft.com/office/drawing/2014/main" id="{7D08651A-420D-4938-903D-68933746F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7848" y="1248222"/>
              <a:ext cx="223832" cy="118871"/>
            </a:xfrm>
            <a:custGeom>
              <a:avLst/>
              <a:gdLst>
                <a:gd name="T0" fmla="*/ 62 w 123"/>
                <a:gd name="T1" fmla="*/ 66 h 66"/>
                <a:gd name="T2" fmla="*/ 0 w 123"/>
                <a:gd name="T3" fmla="*/ 4 h 66"/>
                <a:gd name="T4" fmla="*/ 1 w 123"/>
                <a:gd name="T5" fmla="*/ 1 h 66"/>
                <a:gd name="T6" fmla="*/ 4 w 123"/>
                <a:gd name="T7" fmla="*/ 0 h 66"/>
                <a:gd name="T8" fmla="*/ 119 w 123"/>
                <a:gd name="T9" fmla="*/ 0 h 66"/>
                <a:gd name="T10" fmla="*/ 122 w 123"/>
                <a:gd name="T11" fmla="*/ 1 h 66"/>
                <a:gd name="T12" fmla="*/ 123 w 123"/>
                <a:gd name="T13" fmla="*/ 4 h 66"/>
                <a:gd name="T14" fmla="*/ 62 w 123"/>
                <a:gd name="T15" fmla="*/ 66 h 66"/>
                <a:gd name="T16" fmla="*/ 8 w 123"/>
                <a:gd name="T17" fmla="*/ 8 h 66"/>
                <a:gd name="T18" fmla="*/ 62 w 123"/>
                <a:gd name="T19" fmla="*/ 57 h 66"/>
                <a:gd name="T20" fmla="*/ 115 w 123"/>
                <a:gd name="T21" fmla="*/ 8 h 66"/>
                <a:gd name="T22" fmla="*/ 8 w 123"/>
                <a:gd name="T23" fmla="*/ 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" h="66">
                  <a:moveTo>
                    <a:pt x="62" y="66"/>
                  </a:moveTo>
                  <a:cubicBezTo>
                    <a:pt x="27" y="66"/>
                    <a:pt x="1" y="40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0" y="0"/>
                    <a:pt x="121" y="0"/>
                    <a:pt x="122" y="1"/>
                  </a:cubicBezTo>
                  <a:cubicBezTo>
                    <a:pt x="123" y="2"/>
                    <a:pt x="123" y="3"/>
                    <a:pt x="123" y="4"/>
                  </a:cubicBezTo>
                  <a:cubicBezTo>
                    <a:pt x="122" y="40"/>
                    <a:pt x="96" y="66"/>
                    <a:pt x="62" y="66"/>
                  </a:cubicBezTo>
                  <a:close/>
                  <a:moveTo>
                    <a:pt x="8" y="8"/>
                  </a:moveTo>
                  <a:cubicBezTo>
                    <a:pt x="12" y="37"/>
                    <a:pt x="33" y="57"/>
                    <a:pt x="62" y="57"/>
                  </a:cubicBezTo>
                  <a:cubicBezTo>
                    <a:pt x="90" y="57"/>
                    <a:pt x="111" y="37"/>
                    <a:pt x="115" y="8"/>
                  </a:cubicBezTo>
                  <a:lnTo>
                    <a:pt x="8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1" name="Freeform 875">
              <a:extLst>
                <a:ext uri="{FF2B5EF4-FFF2-40B4-BE49-F238E27FC236}">
                  <a16:creationId xmlns:a16="http://schemas.microsoft.com/office/drawing/2014/main" id="{BB51B165-65D6-444A-9550-016D72798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610" y="1153378"/>
              <a:ext cx="179571" cy="111284"/>
            </a:xfrm>
            <a:custGeom>
              <a:avLst/>
              <a:gdLst>
                <a:gd name="T0" fmla="*/ 89 w 99"/>
                <a:gd name="T1" fmla="*/ 60 h 61"/>
                <a:gd name="T2" fmla="*/ 87 w 99"/>
                <a:gd name="T3" fmla="*/ 59 h 61"/>
                <a:gd name="T4" fmla="*/ 86 w 99"/>
                <a:gd name="T5" fmla="*/ 53 h 61"/>
                <a:gd name="T6" fmla="*/ 90 w 99"/>
                <a:gd name="T7" fmla="*/ 43 h 61"/>
                <a:gd name="T8" fmla="*/ 75 w 99"/>
                <a:gd name="T9" fmla="*/ 28 h 61"/>
                <a:gd name="T10" fmla="*/ 70 w 99"/>
                <a:gd name="T11" fmla="*/ 25 h 61"/>
                <a:gd name="T12" fmla="*/ 50 w 99"/>
                <a:gd name="T13" fmla="*/ 9 h 61"/>
                <a:gd name="T14" fmla="*/ 29 w 99"/>
                <a:gd name="T15" fmla="*/ 25 h 61"/>
                <a:gd name="T16" fmla="*/ 24 w 99"/>
                <a:gd name="T17" fmla="*/ 28 h 61"/>
                <a:gd name="T18" fmla="*/ 9 w 99"/>
                <a:gd name="T19" fmla="*/ 43 h 61"/>
                <a:gd name="T20" fmla="*/ 13 w 99"/>
                <a:gd name="T21" fmla="*/ 53 h 61"/>
                <a:gd name="T22" fmla="*/ 12 w 99"/>
                <a:gd name="T23" fmla="*/ 59 h 61"/>
                <a:gd name="T24" fmla="*/ 6 w 99"/>
                <a:gd name="T25" fmla="*/ 59 h 61"/>
                <a:gd name="T26" fmla="*/ 0 w 99"/>
                <a:gd name="T27" fmla="*/ 43 h 61"/>
                <a:gd name="T28" fmla="*/ 22 w 99"/>
                <a:gd name="T29" fmla="*/ 20 h 61"/>
                <a:gd name="T30" fmla="*/ 50 w 99"/>
                <a:gd name="T31" fmla="*/ 0 h 61"/>
                <a:gd name="T32" fmla="*/ 77 w 99"/>
                <a:gd name="T33" fmla="*/ 20 h 61"/>
                <a:gd name="T34" fmla="*/ 99 w 99"/>
                <a:gd name="T35" fmla="*/ 43 h 61"/>
                <a:gd name="T36" fmla="*/ 93 w 99"/>
                <a:gd name="T37" fmla="*/ 59 h 61"/>
                <a:gd name="T38" fmla="*/ 89 w 99"/>
                <a:gd name="T39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61">
                  <a:moveTo>
                    <a:pt x="89" y="60"/>
                  </a:moveTo>
                  <a:cubicBezTo>
                    <a:pt x="88" y="60"/>
                    <a:pt x="87" y="60"/>
                    <a:pt x="87" y="59"/>
                  </a:cubicBezTo>
                  <a:cubicBezTo>
                    <a:pt x="85" y="57"/>
                    <a:pt x="85" y="55"/>
                    <a:pt x="86" y="53"/>
                  </a:cubicBezTo>
                  <a:cubicBezTo>
                    <a:pt x="89" y="50"/>
                    <a:pt x="90" y="47"/>
                    <a:pt x="90" y="43"/>
                  </a:cubicBezTo>
                  <a:cubicBezTo>
                    <a:pt x="90" y="35"/>
                    <a:pt x="83" y="28"/>
                    <a:pt x="75" y="28"/>
                  </a:cubicBezTo>
                  <a:cubicBezTo>
                    <a:pt x="73" y="29"/>
                    <a:pt x="71" y="27"/>
                    <a:pt x="70" y="25"/>
                  </a:cubicBezTo>
                  <a:cubicBezTo>
                    <a:pt x="68" y="15"/>
                    <a:pt x="59" y="9"/>
                    <a:pt x="50" y="9"/>
                  </a:cubicBezTo>
                  <a:cubicBezTo>
                    <a:pt x="40" y="9"/>
                    <a:pt x="31" y="15"/>
                    <a:pt x="29" y="25"/>
                  </a:cubicBezTo>
                  <a:cubicBezTo>
                    <a:pt x="28" y="27"/>
                    <a:pt x="26" y="28"/>
                    <a:pt x="24" y="28"/>
                  </a:cubicBezTo>
                  <a:cubicBezTo>
                    <a:pt x="16" y="28"/>
                    <a:pt x="9" y="35"/>
                    <a:pt x="9" y="43"/>
                  </a:cubicBezTo>
                  <a:cubicBezTo>
                    <a:pt x="9" y="47"/>
                    <a:pt x="10" y="50"/>
                    <a:pt x="13" y="53"/>
                  </a:cubicBezTo>
                  <a:cubicBezTo>
                    <a:pt x="14" y="55"/>
                    <a:pt x="14" y="57"/>
                    <a:pt x="12" y="59"/>
                  </a:cubicBezTo>
                  <a:cubicBezTo>
                    <a:pt x="11" y="61"/>
                    <a:pt x="8" y="60"/>
                    <a:pt x="6" y="59"/>
                  </a:cubicBezTo>
                  <a:cubicBezTo>
                    <a:pt x="3" y="54"/>
                    <a:pt x="0" y="49"/>
                    <a:pt x="0" y="43"/>
                  </a:cubicBezTo>
                  <a:cubicBezTo>
                    <a:pt x="0" y="31"/>
                    <a:pt x="10" y="21"/>
                    <a:pt x="22" y="20"/>
                  </a:cubicBezTo>
                  <a:cubicBezTo>
                    <a:pt x="26" y="8"/>
                    <a:pt x="37" y="0"/>
                    <a:pt x="50" y="0"/>
                  </a:cubicBezTo>
                  <a:cubicBezTo>
                    <a:pt x="62" y="0"/>
                    <a:pt x="73" y="8"/>
                    <a:pt x="77" y="20"/>
                  </a:cubicBezTo>
                  <a:cubicBezTo>
                    <a:pt x="89" y="21"/>
                    <a:pt x="99" y="31"/>
                    <a:pt x="99" y="43"/>
                  </a:cubicBezTo>
                  <a:cubicBezTo>
                    <a:pt x="99" y="49"/>
                    <a:pt x="97" y="54"/>
                    <a:pt x="93" y="59"/>
                  </a:cubicBezTo>
                  <a:cubicBezTo>
                    <a:pt x="92" y="60"/>
                    <a:pt x="91" y="60"/>
                    <a:pt x="89" y="6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2" name="Agrupar 1681">
            <a:extLst>
              <a:ext uri="{FF2B5EF4-FFF2-40B4-BE49-F238E27FC236}">
                <a16:creationId xmlns:a16="http://schemas.microsoft.com/office/drawing/2014/main" id="{2775AECE-63D5-44FA-9D45-8C5287C66DB5}"/>
              </a:ext>
            </a:extLst>
          </p:cNvPr>
          <p:cNvGrpSpPr/>
          <p:nvPr/>
        </p:nvGrpSpPr>
        <p:grpSpPr>
          <a:xfrm>
            <a:off x="7240727" y="4800442"/>
            <a:ext cx="158073" cy="240271"/>
            <a:chOff x="7240727" y="4800442"/>
            <a:chExt cx="158073" cy="240271"/>
          </a:xfrm>
        </p:grpSpPr>
        <p:sp>
          <p:nvSpPr>
            <p:cNvPr id="1482" name="Freeform 876">
              <a:extLst>
                <a:ext uri="{FF2B5EF4-FFF2-40B4-BE49-F238E27FC236}">
                  <a16:creationId xmlns:a16="http://schemas.microsoft.com/office/drawing/2014/main" id="{91D40E15-140B-4349-AB8D-ED8A86B1FF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40727" y="4800442"/>
              <a:ext cx="158073" cy="240271"/>
            </a:xfrm>
            <a:custGeom>
              <a:avLst/>
              <a:gdLst>
                <a:gd name="T0" fmla="*/ 72 w 87"/>
                <a:gd name="T1" fmla="*/ 132 h 132"/>
                <a:gd name="T2" fmla="*/ 72 w 87"/>
                <a:gd name="T3" fmla="*/ 132 h 132"/>
                <a:gd name="T4" fmla="*/ 15 w 87"/>
                <a:gd name="T5" fmla="*/ 132 h 132"/>
                <a:gd name="T6" fmla="*/ 12 w 87"/>
                <a:gd name="T7" fmla="*/ 131 h 132"/>
                <a:gd name="T8" fmla="*/ 11 w 87"/>
                <a:gd name="T9" fmla="*/ 127 h 132"/>
                <a:gd name="T10" fmla="*/ 16 w 87"/>
                <a:gd name="T11" fmla="*/ 111 h 132"/>
                <a:gd name="T12" fmla="*/ 0 w 87"/>
                <a:gd name="T13" fmla="*/ 4 h 132"/>
                <a:gd name="T14" fmla="*/ 4 w 87"/>
                <a:gd name="T15" fmla="*/ 0 h 132"/>
                <a:gd name="T16" fmla="*/ 83 w 87"/>
                <a:gd name="T17" fmla="*/ 0 h 132"/>
                <a:gd name="T18" fmla="*/ 87 w 87"/>
                <a:gd name="T19" fmla="*/ 4 h 132"/>
                <a:gd name="T20" fmla="*/ 71 w 87"/>
                <a:gd name="T21" fmla="*/ 111 h 132"/>
                <a:gd name="T22" fmla="*/ 76 w 87"/>
                <a:gd name="T23" fmla="*/ 126 h 132"/>
                <a:gd name="T24" fmla="*/ 76 w 87"/>
                <a:gd name="T25" fmla="*/ 128 h 132"/>
                <a:gd name="T26" fmla="*/ 72 w 87"/>
                <a:gd name="T27" fmla="*/ 132 h 132"/>
                <a:gd name="T28" fmla="*/ 21 w 87"/>
                <a:gd name="T29" fmla="*/ 124 h 132"/>
                <a:gd name="T30" fmla="*/ 66 w 87"/>
                <a:gd name="T31" fmla="*/ 124 h 132"/>
                <a:gd name="T32" fmla="*/ 62 w 87"/>
                <a:gd name="T33" fmla="*/ 113 h 132"/>
                <a:gd name="T34" fmla="*/ 62 w 87"/>
                <a:gd name="T35" fmla="*/ 110 h 132"/>
                <a:gd name="T36" fmla="*/ 79 w 87"/>
                <a:gd name="T37" fmla="*/ 8 h 132"/>
                <a:gd name="T38" fmla="*/ 8 w 87"/>
                <a:gd name="T39" fmla="*/ 8 h 132"/>
                <a:gd name="T40" fmla="*/ 25 w 87"/>
                <a:gd name="T41" fmla="*/ 110 h 132"/>
                <a:gd name="T42" fmla="*/ 25 w 87"/>
                <a:gd name="T43" fmla="*/ 113 h 132"/>
                <a:gd name="T44" fmla="*/ 21 w 87"/>
                <a:gd name="T45" fmla="*/ 1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132">
                  <a:moveTo>
                    <a:pt x="72" y="132"/>
                  </a:moveTo>
                  <a:cubicBezTo>
                    <a:pt x="72" y="132"/>
                    <a:pt x="72" y="132"/>
                    <a:pt x="72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4" y="132"/>
                    <a:pt x="13" y="132"/>
                    <a:pt x="12" y="131"/>
                  </a:cubicBezTo>
                  <a:cubicBezTo>
                    <a:pt x="11" y="129"/>
                    <a:pt x="11" y="128"/>
                    <a:pt x="11" y="127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4" y="101"/>
                    <a:pt x="0" y="41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5" y="0"/>
                    <a:pt x="87" y="2"/>
                    <a:pt x="87" y="4"/>
                  </a:cubicBezTo>
                  <a:cubicBezTo>
                    <a:pt x="87" y="46"/>
                    <a:pt x="73" y="102"/>
                    <a:pt x="71" y="111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76" y="127"/>
                    <a:pt x="76" y="127"/>
                    <a:pt x="76" y="128"/>
                  </a:cubicBezTo>
                  <a:cubicBezTo>
                    <a:pt x="76" y="130"/>
                    <a:pt x="74" y="132"/>
                    <a:pt x="72" y="132"/>
                  </a:cubicBezTo>
                  <a:close/>
                  <a:moveTo>
                    <a:pt x="21" y="124"/>
                  </a:moveTo>
                  <a:cubicBezTo>
                    <a:pt x="66" y="124"/>
                    <a:pt x="66" y="124"/>
                    <a:pt x="66" y="124"/>
                  </a:cubicBezTo>
                  <a:cubicBezTo>
                    <a:pt x="62" y="113"/>
                    <a:pt x="62" y="113"/>
                    <a:pt x="62" y="113"/>
                  </a:cubicBezTo>
                  <a:cubicBezTo>
                    <a:pt x="62" y="112"/>
                    <a:pt x="62" y="111"/>
                    <a:pt x="62" y="110"/>
                  </a:cubicBezTo>
                  <a:cubicBezTo>
                    <a:pt x="62" y="109"/>
                    <a:pt x="78" y="52"/>
                    <a:pt x="7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47"/>
                    <a:pt x="25" y="109"/>
                    <a:pt x="25" y="110"/>
                  </a:cubicBezTo>
                  <a:cubicBezTo>
                    <a:pt x="25" y="111"/>
                    <a:pt x="25" y="112"/>
                    <a:pt x="25" y="113"/>
                  </a:cubicBezTo>
                  <a:lnTo>
                    <a:pt x="21" y="12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3" name="Freeform 877">
              <a:extLst>
                <a:ext uri="{FF2B5EF4-FFF2-40B4-BE49-F238E27FC236}">
                  <a16:creationId xmlns:a16="http://schemas.microsoft.com/office/drawing/2014/main" id="{9E8C75A3-C52E-4F03-812B-D0C67587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3256" y="4840909"/>
              <a:ext cx="154279" cy="16440"/>
            </a:xfrm>
            <a:custGeom>
              <a:avLst/>
              <a:gdLst>
                <a:gd name="T0" fmla="*/ 81 w 85"/>
                <a:gd name="T1" fmla="*/ 9 h 9"/>
                <a:gd name="T2" fmla="*/ 4 w 85"/>
                <a:gd name="T3" fmla="*/ 9 h 9"/>
                <a:gd name="T4" fmla="*/ 0 w 85"/>
                <a:gd name="T5" fmla="*/ 4 h 9"/>
                <a:gd name="T6" fmla="*/ 4 w 85"/>
                <a:gd name="T7" fmla="*/ 0 h 9"/>
                <a:gd name="T8" fmla="*/ 81 w 85"/>
                <a:gd name="T9" fmla="*/ 0 h 9"/>
                <a:gd name="T10" fmla="*/ 85 w 85"/>
                <a:gd name="T11" fmla="*/ 4 h 9"/>
                <a:gd name="T12" fmla="*/ 81 w 8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9">
                  <a:moveTo>
                    <a:pt x="81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3" y="0"/>
                    <a:pt x="85" y="2"/>
                    <a:pt x="85" y="4"/>
                  </a:cubicBezTo>
                  <a:cubicBezTo>
                    <a:pt x="85" y="7"/>
                    <a:pt x="83" y="9"/>
                    <a:pt x="81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4" name="Freeform 878">
              <a:extLst>
                <a:ext uri="{FF2B5EF4-FFF2-40B4-BE49-F238E27FC236}">
                  <a16:creationId xmlns:a16="http://schemas.microsoft.com/office/drawing/2014/main" id="{CDD8DAB8-3BA6-43DF-AAE4-F80028261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1310" y="4840909"/>
              <a:ext cx="15175" cy="4679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1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1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4"/>
                    <a:pt x="7" y="26"/>
                    <a:pt x="4" y="2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1" name="Agrupar 1690">
            <a:extLst>
              <a:ext uri="{FF2B5EF4-FFF2-40B4-BE49-F238E27FC236}">
                <a16:creationId xmlns:a16="http://schemas.microsoft.com/office/drawing/2014/main" id="{B9481240-D568-48B9-88C3-E39951D53F51}"/>
              </a:ext>
            </a:extLst>
          </p:cNvPr>
          <p:cNvGrpSpPr/>
          <p:nvPr/>
        </p:nvGrpSpPr>
        <p:grpSpPr>
          <a:xfrm>
            <a:off x="4855719" y="5205109"/>
            <a:ext cx="137840" cy="240271"/>
            <a:chOff x="4855719" y="5205109"/>
            <a:chExt cx="137840" cy="240271"/>
          </a:xfrm>
        </p:grpSpPr>
        <p:sp>
          <p:nvSpPr>
            <p:cNvPr id="1485" name="Freeform 879">
              <a:extLst>
                <a:ext uri="{FF2B5EF4-FFF2-40B4-BE49-F238E27FC236}">
                  <a16:creationId xmlns:a16="http://schemas.microsoft.com/office/drawing/2014/main" id="{2B1CF987-0C29-47B6-8890-1EF65A88AC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5719" y="5205109"/>
              <a:ext cx="137840" cy="240271"/>
            </a:xfrm>
            <a:custGeom>
              <a:avLst/>
              <a:gdLst>
                <a:gd name="T0" fmla="*/ 72 w 76"/>
                <a:gd name="T1" fmla="*/ 132 h 132"/>
                <a:gd name="T2" fmla="*/ 4 w 76"/>
                <a:gd name="T3" fmla="*/ 132 h 132"/>
                <a:gd name="T4" fmla="*/ 0 w 76"/>
                <a:gd name="T5" fmla="*/ 128 h 132"/>
                <a:gd name="T6" fmla="*/ 0 w 76"/>
                <a:gd name="T7" fmla="*/ 66 h 132"/>
                <a:gd name="T8" fmla="*/ 16 w 76"/>
                <a:gd name="T9" fmla="*/ 45 h 132"/>
                <a:gd name="T10" fmla="*/ 16 w 76"/>
                <a:gd name="T11" fmla="*/ 4 h 132"/>
                <a:gd name="T12" fmla="*/ 21 w 76"/>
                <a:gd name="T13" fmla="*/ 0 h 132"/>
                <a:gd name="T14" fmla="*/ 55 w 76"/>
                <a:gd name="T15" fmla="*/ 0 h 132"/>
                <a:gd name="T16" fmla="*/ 59 w 76"/>
                <a:gd name="T17" fmla="*/ 4 h 132"/>
                <a:gd name="T18" fmla="*/ 59 w 76"/>
                <a:gd name="T19" fmla="*/ 45 h 132"/>
                <a:gd name="T20" fmla="*/ 76 w 76"/>
                <a:gd name="T21" fmla="*/ 66 h 132"/>
                <a:gd name="T22" fmla="*/ 76 w 76"/>
                <a:gd name="T23" fmla="*/ 128 h 132"/>
                <a:gd name="T24" fmla="*/ 72 w 76"/>
                <a:gd name="T25" fmla="*/ 132 h 132"/>
                <a:gd name="T26" fmla="*/ 8 w 76"/>
                <a:gd name="T27" fmla="*/ 124 h 132"/>
                <a:gd name="T28" fmla="*/ 67 w 76"/>
                <a:gd name="T29" fmla="*/ 124 h 132"/>
                <a:gd name="T30" fmla="*/ 67 w 76"/>
                <a:gd name="T31" fmla="*/ 66 h 132"/>
                <a:gd name="T32" fmla="*/ 55 w 76"/>
                <a:gd name="T33" fmla="*/ 53 h 132"/>
                <a:gd name="T34" fmla="*/ 50 w 76"/>
                <a:gd name="T35" fmla="*/ 49 h 132"/>
                <a:gd name="T36" fmla="*/ 50 w 76"/>
                <a:gd name="T37" fmla="*/ 8 h 132"/>
                <a:gd name="T38" fmla="*/ 25 w 76"/>
                <a:gd name="T39" fmla="*/ 8 h 132"/>
                <a:gd name="T40" fmla="*/ 25 w 76"/>
                <a:gd name="T41" fmla="*/ 49 h 132"/>
                <a:gd name="T42" fmla="*/ 21 w 76"/>
                <a:gd name="T43" fmla="*/ 53 h 132"/>
                <a:gd name="T44" fmla="*/ 8 w 76"/>
                <a:gd name="T45" fmla="*/ 66 h 132"/>
                <a:gd name="T46" fmla="*/ 8 w 76"/>
                <a:gd name="T47" fmla="*/ 1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6" h="132">
                  <a:moveTo>
                    <a:pt x="72" y="132"/>
                  </a:moveTo>
                  <a:cubicBezTo>
                    <a:pt x="4" y="132"/>
                    <a:pt x="4" y="132"/>
                    <a:pt x="4" y="132"/>
                  </a:cubicBezTo>
                  <a:cubicBezTo>
                    <a:pt x="1" y="132"/>
                    <a:pt x="0" y="130"/>
                    <a:pt x="0" y="12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56"/>
                    <a:pt x="7" y="47"/>
                    <a:pt x="16" y="4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8" y="0"/>
                    <a:pt x="2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7" y="0"/>
                    <a:pt x="59" y="1"/>
                    <a:pt x="59" y="4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69" y="47"/>
                    <a:pt x="76" y="56"/>
                    <a:pt x="76" y="66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6" y="130"/>
                    <a:pt x="74" y="132"/>
                    <a:pt x="72" y="132"/>
                  </a:cubicBezTo>
                  <a:close/>
                  <a:moveTo>
                    <a:pt x="8" y="124"/>
                  </a:moveTo>
                  <a:cubicBezTo>
                    <a:pt x="67" y="124"/>
                    <a:pt x="67" y="124"/>
                    <a:pt x="67" y="124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59"/>
                    <a:pt x="62" y="53"/>
                    <a:pt x="55" y="53"/>
                  </a:cubicBezTo>
                  <a:cubicBezTo>
                    <a:pt x="52" y="53"/>
                    <a:pt x="50" y="51"/>
                    <a:pt x="50" y="49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51"/>
                    <a:pt x="23" y="53"/>
                    <a:pt x="21" y="53"/>
                  </a:cubicBezTo>
                  <a:cubicBezTo>
                    <a:pt x="14" y="53"/>
                    <a:pt x="8" y="59"/>
                    <a:pt x="8" y="66"/>
                  </a:cubicBezTo>
                  <a:lnTo>
                    <a:pt x="8" y="12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6" name="Freeform 880">
              <a:extLst>
                <a:ext uri="{FF2B5EF4-FFF2-40B4-BE49-F238E27FC236}">
                  <a16:creationId xmlns:a16="http://schemas.microsoft.com/office/drawing/2014/main" id="{A7FB7C63-BEF1-444D-B52E-BC701EDB4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952" y="5205109"/>
              <a:ext cx="97373" cy="15175"/>
            </a:xfrm>
            <a:custGeom>
              <a:avLst/>
              <a:gdLst>
                <a:gd name="T0" fmla="*/ 49 w 54"/>
                <a:gd name="T1" fmla="*/ 8 h 8"/>
                <a:gd name="T2" fmla="*/ 4 w 54"/>
                <a:gd name="T3" fmla="*/ 8 h 8"/>
                <a:gd name="T4" fmla="*/ 0 w 54"/>
                <a:gd name="T5" fmla="*/ 4 h 8"/>
                <a:gd name="T6" fmla="*/ 4 w 54"/>
                <a:gd name="T7" fmla="*/ 0 h 8"/>
                <a:gd name="T8" fmla="*/ 49 w 54"/>
                <a:gd name="T9" fmla="*/ 0 h 8"/>
                <a:gd name="T10" fmla="*/ 54 w 54"/>
                <a:gd name="T11" fmla="*/ 4 h 8"/>
                <a:gd name="T12" fmla="*/ 49 w 5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8">
                  <a:moveTo>
                    <a:pt x="4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4" y="1"/>
                    <a:pt x="54" y="4"/>
                  </a:cubicBezTo>
                  <a:cubicBezTo>
                    <a:pt x="54" y="6"/>
                    <a:pt x="52" y="8"/>
                    <a:pt x="49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7" name="Freeform 881">
              <a:extLst>
                <a:ext uri="{FF2B5EF4-FFF2-40B4-BE49-F238E27FC236}">
                  <a16:creationId xmlns:a16="http://schemas.microsoft.com/office/drawing/2014/main" id="{EE817AF3-16B3-4078-A805-DE483C776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536" y="5337891"/>
              <a:ext cx="67023" cy="67023"/>
            </a:xfrm>
            <a:custGeom>
              <a:avLst/>
              <a:gdLst>
                <a:gd name="T0" fmla="*/ 33 w 37"/>
                <a:gd name="T1" fmla="*/ 37 h 37"/>
                <a:gd name="T2" fmla="*/ 4 w 37"/>
                <a:gd name="T3" fmla="*/ 37 h 37"/>
                <a:gd name="T4" fmla="*/ 0 w 37"/>
                <a:gd name="T5" fmla="*/ 32 h 37"/>
                <a:gd name="T6" fmla="*/ 0 w 37"/>
                <a:gd name="T7" fmla="*/ 4 h 37"/>
                <a:gd name="T8" fmla="*/ 4 w 37"/>
                <a:gd name="T9" fmla="*/ 0 h 37"/>
                <a:gd name="T10" fmla="*/ 33 w 37"/>
                <a:gd name="T11" fmla="*/ 0 h 37"/>
                <a:gd name="T12" fmla="*/ 37 w 37"/>
                <a:gd name="T13" fmla="*/ 4 h 37"/>
                <a:gd name="T14" fmla="*/ 33 w 37"/>
                <a:gd name="T15" fmla="*/ 8 h 37"/>
                <a:gd name="T16" fmla="*/ 9 w 37"/>
                <a:gd name="T17" fmla="*/ 8 h 37"/>
                <a:gd name="T18" fmla="*/ 9 w 37"/>
                <a:gd name="T19" fmla="*/ 28 h 37"/>
                <a:gd name="T20" fmla="*/ 33 w 37"/>
                <a:gd name="T21" fmla="*/ 28 h 37"/>
                <a:gd name="T22" fmla="*/ 37 w 37"/>
                <a:gd name="T23" fmla="*/ 32 h 37"/>
                <a:gd name="T24" fmla="*/ 33 w 37"/>
                <a:gd name="T2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37">
                  <a:moveTo>
                    <a:pt x="33" y="37"/>
                  </a:moveTo>
                  <a:cubicBezTo>
                    <a:pt x="4" y="37"/>
                    <a:pt x="4" y="37"/>
                    <a:pt x="4" y="37"/>
                  </a:cubicBezTo>
                  <a:cubicBezTo>
                    <a:pt x="2" y="37"/>
                    <a:pt x="0" y="35"/>
                    <a:pt x="0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4"/>
                  </a:cubicBezTo>
                  <a:cubicBezTo>
                    <a:pt x="37" y="7"/>
                    <a:pt x="35" y="8"/>
                    <a:pt x="3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5" y="28"/>
                    <a:pt x="37" y="30"/>
                    <a:pt x="37" y="32"/>
                  </a:cubicBezTo>
                  <a:cubicBezTo>
                    <a:pt x="37" y="35"/>
                    <a:pt x="35" y="37"/>
                    <a:pt x="33" y="3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2" name="Agrupar 1691">
            <a:extLst>
              <a:ext uri="{FF2B5EF4-FFF2-40B4-BE49-F238E27FC236}">
                <a16:creationId xmlns:a16="http://schemas.microsoft.com/office/drawing/2014/main" id="{19A9DB38-CCAB-4E58-B302-BFD9542BDB14}"/>
              </a:ext>
            </a:extLst>
          </p:cNvPr>
          <p:cNvGrpSpPr/>
          <p:nvPr/>
        </p:nvGrpSpPr>
        <p:grpSpPr>
          <a:xfrm>
            <a:off x="5197157" y="5213961"/>
            <a:ext cx="209921" cy="241537"/>
            <a:chOff x="5197157" y="5213961"/>
            <a:chExt cx="209921" cy="241537"/>
          </a:xfrm>
        </p:grpSpPr>
        <p:sp>
          <p:nvSpPr>
            <p:cNvPr id="1488" name="Freeform 882">
              <a:extLst>
                <a:ext uri="{FF2B5EF4-FFF2-40B4-BE49-F238E27FC236}">
                  <a16:creationId xmlns:a16="http://schemas.microsoft.com/office/drawing/2014/main" id="{B4E0BB3D-0699-4AD0-99FE-91018D4EE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7157" y="5296160"/>
              <a:ext cx="199804" cy="16440"/>
            </a:xfrm>
            <a:custGeom>
              <a:avLst/>
              <a:gdLst>
                <a:gd name="T0" fmla="*/ 106 w 110"/>
                <a:gd name="T1" fmla="*/ 9 h 9"/>
                <a:gd name="T2" fmla="*/ 4 w 110"/>
                <a:gd name="T3" fmla="*/ 9 h 9"/>
                <a:gd name="T4" fmla="*/ 0 w 110"/>
                <a:gd name="T5" fmla="*/ 5 h 9"/>
                <a:gd name="T6" fmla="*/ 4 w 110"/>
                <a:gd name="T7" fmla="*/ 0 h 9"/>
                <a:gd name="T8" fmla="*/ 106 w 110"/>
                <a:gd name="T9" fmla="*/ 0 h 9"/>
                <a:gd name="T10" fmla="*/ 110 w 110"/>
                <a:gd name="T11" fmla="*/ 5 h 9"/>
                <a:gd name="T12" fmla="*/ 106 w 110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9">
                  <a:moveTo>
                    <a:pt x="106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8" y="0"/>
                    <a:pt x="110" y="2"/>
                    <a:pt x="110" y="5"/>
                  </a:cubicBezTo>
                  <a:cubicBezTo>
                    <a:pt x="110" y="7"/>
                    <a:pt x="108" y="9"/>
                    <a:pt x="10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9" name="Freeform 883">
              <a:extLst>
                <a:ext uri="{FF2B5EF4-FFF2-40B4-BE49-F238E27FC236}">
                  <a16:creationId xmlns:a16="http://schemas.microsoft.com/office/drawing/2014/main" id="{7521CB33-B4DE-4402-BE58-17312C41E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390" y="5296160"/>
              <a:ext cx="159338" cy="159338"/>
            </a:xfrm>
            <a:custGeom>
              <a:avLst/>
              <a:gdLst>
                <a:gd name="T0" fmla="*/ 72 w 88"/>
                <a:gd name="T1" fmla="*/ 88 h 88"/>
                <a:gd name="T2" fmla="*/ 16 w 88"/>
                <a:gd name="T3" fmla="*/ 88 h 88"/>
                <a:gd name="T4" fmla="*/ 12 w 88"/>
                <a:gd name="T5" fmla="*/ 84 h 88"/>
                <a:gd name="T6" fmla="*/ 0 w 88"/>
                <a:gd name="T7" fmla="*/ 5 h 88"/>
                <a:gd name="T8" fmla="*/ 4 w 88"/>
                <a:gd name="T9" fmla="*/ 1 h 88"/>
                <a:gd name="T10" fmla="*/ 9 w 88"/>
                <a:gd name="T11" fmla="*/ 4 h 88"/>
                <a:gd name="T12" fmla="*/ 20 w 88"/>
                <a:gd name="T13" fmla="*/ 80 h 88"/>
                <a:gd name="T14" fmla="*/ 69 w 88"/>
                <a:gd name="T15" fmla="*/ 80 h 88"/>
                <a:gd name="T16" fmla="*/ 79 w 88"/>
                <a:gd name="T17" fmla="*/ 4 h 88"/>
                <a:gd name="T18" fmla="*/ 84 w 88"/>
                <a:gd name="T19" fmla="*/ 1 h 88"/>
                <a:gd name="T20" fmla="*/ 88 w 88"/>
                <a:gd name="T21" fmla="*/ 5 h 88"/>
                <a:gd name="T22" fmla="*/ 77 w 88"/>
                <a:gd name="T23" fmla="*/ 84 h 88"/>
                <a:gd name="T24" fmla="*/ 72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72" y="88"/>
                  </a:moveTo>
                  <a:cubicBezTo>
                    <a:pt x="16" y="88"/>
                    <a:pt x="16" y="88"/>
                    <a:pt x="16" y="88"/>
                  </a:cubicBezTo>
                  <a:cubicBezTo>
                    <a:pt x="14" y="88"/>
                    <a:pt x="12" y="87"/>
                    <a:pt x="12" y="8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6" y="0"/>
                    <a:pt x="8" y="2"/>
                    <a:pt x="9" y="4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69" y="80"/>
                    <a:pt x="69" y="80"/>
                    <a:pt x="69" y="80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0" y="2"/>
                    <a:pt x="82" y="0"/>
                    <a:pt x="84" y="1"/>
                  </a:cubicBezTo>
                  <a:cubicBezTo>
                    <a:pt x="87" y="1"/>
                    <a:pt x="88" y="3"/>
                    <a:pt x="88" y="5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6" y="87"/>
                    <a:pt x="74" y="88"/>
                    <a:pt x="72" y="8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90" name="Freeform 884">
              <a:extLst>
                <a:ext uri="{FF2B5EF4-FFF2-40B4-BE49-F238E27FC236}">
                  <a16:creationId xmlns:a16="http://schemas.microsoft.com/office/drawing/2014/main" id="{DE242788-FCFB-40F4-A142-5B6D7A5C0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2584" y="5213961"/>
              <a:ext cx="64494" cy="51848"/>
            </a:xfrm>
            <a:custGeom>
              <a:avLst/>
              <a:gdLst>
                <a:gd name="T0" fmla="*/ 5 w 36"/>
                <a:gd name="T1" fmla="*/ 28 h 28"/>
                <a:gd name="T2" fmla="*/ 3 w 36"/>
                <a:gd name="T3" fmla="*/ 28 h 28"/>
                <a:gd name="T4" fmla="*/ 1 w 36"/>
                <a:gd name="T5" fmla="*/ 22 h 28"/>
                <a:gd name="T6" fmla="*/ 11 w 36"/>
                <a:gd name="T7" fmla="*/ 3 h 28"/>
                <a:gd name="T8" fmla="*/ 15 w 36"/>
                <a:gd name="T9" fmla="*/ 0 h 28"/>
                <a:gd name="T10" fmla="*/ 32 w 36"/>
                <a:gd name="T11" fmla="*/ 0 h 28"/>
                <a:gd name="T12" fmla="*/ 36 w 36"/>
                <a:gd name="T13" fmla="*/ 5 h 28"/>
                <a:gd name="T14" fmla="*/ 32 w 36"/>
                <a:gd name="T15" fmla="*/ 9 h 28"/>
                <a:gd name="T16" fmla="*/ 17 w 36"/>
                <a:gd name="T17" fmla="*/ 9 h 28"/>
                <a:gd name="T18" fmla="*/ 9 w 36"/>
                <a:gd name="T19" fmla="*/ 26 h 28"/>
                <a:gd name="T20" fmla="*/ 5 w 36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28">
                  <a:moveTo>
                    <a:pt x="5" y="28"/>
                  </a:moveTo>
                  <a:cubicBezTo>
                    <a:pt x="4" y="28"/>
                    <a:pt x="4" y="28"/>
                    <a:pt x="3" y="28"/>
                  </a:cubicBezTo>
                  <a:cubicBezTo>
                    <a:pt x="1" y="27"/>
                    <a:pt x="0" y="24"/>
                    <a:pt x="1" y="2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13" y="0"/>
                    <a:pt x="1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6" y="2"/>
                    <a:pt x="36" y="5"/>
                  </a:cubicBezTo>
                  <a:cubicBezTo>
                    <a:pt x="36" y="7"/>
                    <a:pt x="34" y="9"/>
                    <a:pt x="32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8" y="27"/>
                    <a:pt x="6" y="28"/>
                    <a:pt x="5" y="2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91" name="Freeform 885">
              <a:extLst>
                <a:ext uri="{FF2B5EF4-FFF2-40B4-BE49-F238E27FC236}">
                  <a16:creationId xmlns:a16="http://schemas.microsoft.com/office/drawing/2014/main" id="{5960AD33-7CB3-460C-9EA1-68A9C001E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390" y="5225343"/>
              <a:ext cx="159338" cy="87256"/>
            </a:xfrm>
            <a:custGeom>
              <a:avLst/>
              <a:gdLst>
                <a:gd name="T0" fmla="*/ 84 w 88"/>
                <a:gd name="T1" fmla="*/ 48 h 48"/>
                <a:gd name="T2" fmla="*/ 79 w 88"/>
                <a:gd name="T3" fmla="*/ 44 h 48"/>
                <a:gd name="T4" fmla="*/ 44 w 88"/>
                <a:gd name="T5" fmla="*/ 9 h 48"/>
                <a:gd name="T6" fmla="*/ 9 w 88"/>
                <a:gd name="T7" fmla="*/ 44 h 48"/>
                <a:gd name="T8" fmla="*/ 5 w 88"/>
                <a:gd name="T9" fmla="*/ 48 h 48"/>
                <a:gd name="T10" fmla="*/ 0 w 88"/>
                <a:gd name="T11" fmla="*/ 44 h 48"/>
                <a:gd name="T12" fmla="*/ 44 w 88"/>
                <a:gd name="T13" fmla="*/ 0 h 48"/>
                <a:gd name="T14" fmla="*/ 88 w 88"/>
                <a:gd name="T15" fmla="*/ 44 h 48"/>
                <a:gd name="T16" fmla="*/ 84 w 88"/>
                <a:gd name="T1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48">
                  <a:moveTo>
                    <a:pt x="84" y="48"/>
                  </a:moveTo>
                  <a:cubicBezTo>
                    <a:pt x="81" y="48"/>
                    <a:pt x="79" y="46"/>
                    <a:pt x="79" y="44"/>
                  </a:cubicBezTo>
                  <a:cubicBezTo>
                    <a:pt x="79" y="24"/>
                    <a:pt x="63" y="9"/>
                    <a:pt x="44" y="9"/>
                  </a:cubicBezTo>
                  <a:cubicBezTo>
                    <a:pt x="25" y="9"/>
                    <a:pt x="9" y="24"/>
                    <a:pt x="9" y="44"/>
                  </a:cubicBezTo>
                  <a:cubicBezTo>
                    <a:pt x="9" y="46"/>
                    <a:pt x="7" y="48"/>
                    <a:pt x="5" y="48"/>
                  </a:cubicBezTo>
                  <a:cubicBezTo>
                    <a:pt x="2" y="48"/>
                    <a:pt x="0" y="46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46"/>
                    <a:pt x="86" y="48"/>
                    <a:pt x="84" y="4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5" name="Agrupar 1694">
            <a:extLst>
              <a:ext uri="{FF2B5EF4-FFF2-40B4-BE49-F238E27FC236}">
                <a16:creationId xmlns:a16="http://schemas.microsoft.com/office/drawing/2014/main" id="{238069A8-AC02-49B3-992D-0B1BE05AB594}"/>
              </a:ext>
            </a:extLst>
          </p:cNvPr>
          <p:cNvGrpSpPr/>
          <p:nvPr/>
        </p:nvGrpSpPr>
        <p:grpSpPr>
          <a:xfrm>
            <a:off x="6413688" y="5226607"/>
            <a:ext cx="221303" cy="223832"/>
            <a:chOff x="6413688" y="5226607"/>
            <a:chExt cx="221303" cy="223832"/>
          </a:xfrm>
        </p:grpSpPr>
        <p:sp>
          <p:nvSpPr>
            <p:cNvPr id="1492" name="Freeform 886">
              <a:extLst>
                <a:ext uri="{FF2B5EF4-FFF2-40B4-BE49-F238E27FC236}">
                  <a16:creationId xmlns:a16="http://schemas.microsoft.com/office/drawing/2014/main" id="{58C83780-E470-4160-B3DF-6BA9F94316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3474" y="5226607"/>
              <a:ext cx="131517" cy="132781"/>
            </a:xfrm>
            <a:custGeom>
              <a:avLst/>
              <a:gdLst>
                <a:gd name="T0" fmla="*/ 57 w 73"/>
                <a:gd name="T1" fmla="*/ 73 h 73"/>
                <a:gd name="T2" fmla="*/ 46 w 73"/>
                <a:gd name="T3" fmla="*/ 68 h 73"/>
                <a:gd name="T4" fmla="*/ 6 w 73"/>
                <a:gd name="T5" fmla="*/ 28 h 73"/>
                <a:gd name="T6" fmla="*/ 6 w 73"/>
                <a:gd name="T7" fmla="*/ 6 h 73"/>
                <a:gd name="T8" fmla="*/ 28 w 73"/>
                <a:gd name="T9" fmla="*/ 6 h 73"/>
                <a:gd name="T10" fmla="*/ 68 w 73"/>
                <a:gd name="T11" fmla="*/ 46 h 73"/>
                <a:gd name="T12" fmla="*/ 73 w 73"/>
                <a:gd name="T13" fmla="*/ 57 h 73"/>
                <a:gd name="T14" fmla="*/ 68 w 73"/>
                <a:gd name="T15" fmla="*/ 68 h 73"/>
                <a:gd name="T16" fmla="*/ 57 w 73"/>
                <a:gd name="T17" fmla="*/ 73 h 73"/>
                <a:gd name="T18" fmla="*/ 17 w 73"/>
                <a:gd name="T19" fmla="*/ 10 h 73"/>
                <a:gd name="T20" fmla="*/ 12 w 73"/>
                <a:gd name="T21" fmla="*/ 12 h 73"/>
                <a:gd name="T22" fmla="*/ 12 w 73"/>
                <a:gd name="T23" fmla="*/ 22 h 73"/>
                <a:gd name="T24" fmla="*/ 52 w 73"/>
                <a:gd name="T25" fmla="*/ 62 h 73"/>
                <a:gd name="T26" fmla="*/ 62 w 73"/>
                <a:gd name="T27" fmla="*/ 62 h 73"/>
                <a:gd name="T28" fmla="*/ 64 w 73"/>
                <a:gd name="T29" fmla="*/ 57 h 73"/>
                <a:gd name="T30" fmla="*/ 62 w 73"/>
                <a:gd name="T31" fmla="*/ 52 h 73"/>
                <a:gd name="T32" fmla="*/ 22 w 73"/>
                <a:gd name="T33" fmla="*/ 12 h 73"/>
                <a:gd name="T34" fmla="*/ 17 w 73"/>
                <a:gd name="T35" fmla="*/ 1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3">
                  <a:moveTo>
                    <a:pt x="57" y="73"/>
                  </a:moveTo>
                  <a:cubicBezTo>
                    <a:pt x="53" y="73"/>
                    <a:pt x="49" y="71"/>
                    <a:pt x="46" y="6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71" y="49"/>
                    <a:pt x="73" y="53"/>
                    <a:pt x="73" y="57"/>
                  </a:cubicBezTo>
                  <a:cubicBezTo>
                    <a:pt x="73" y="61"/>
                    <a:pt x="71" y="65"/>
                    <a:pt x="68" y="68"/>
                  </a:cubicBezTo>
                  <a:cubicBezTo>
                    <a:pt x="65" y="71"/>
                    <a:pt x="61" y="73"/>
                    <a:pt x="57" y="73"/>
                  </a:cubicBezTo>
                  <a:close/>
                  <a:moveTo>
                    <a:pt x="17" y="10"/>
                  </a:moveTo>
                  <a:cubicBezTo>
                    <a:pt x="15" y="10"/>
                    <a:pt x="14" y="11"/>
                    <a:pt x="12" y="12"/>
                  </a:cubicBezTo>
                  <a:cubicBezTo>
                    <a:pt x="10" y="15"/>
                    <a:pt x="10" y="20"/>
                    <a:pt x="12" y="22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55" y="65"/>
                    <a:pt x="59" y="65"/>
                    <a:pt x="62" y="62"/>
                  </a:cubicBezTo>
                  <a:cubicBezTo>
                    <a:pt x="63" y="61"/>
                    <a:pt x="64" y="59"/>
                    <a:pt x="64" y="57"/>
                  </a:cubicBezTo>
                  <a:cubicBezTo>
                    <a:pt x="64" y="55"/>
                    <a:pt x="63" y="54"/>
                    <a:pt x="62" y="5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1"/>
                    <a:pt x="19" y="10"/>
                    <a:pt x="17" y="1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93" name="Freeform 887">
              <a:extLst>
                <a:ext uri="{FF2B5EF4-FFF2-40B4-BE49-F238E27FC236}">
                  <a16:creationId xmlns:a16="http://schemas.microsoft.com/office/drawing/2014/main" id="{80701D7E-0F4B-48CF-B0F2-49E321088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688" y="5301218"/>
              <a:ext cx="150486" cy="149221"/>
            </a:xfrm>
            <a:custGeom>
              <a:avLst/>
              <a:gdLst>
                <a:gd name="T0" fmla="*/ 5 w 83"/>
                <a:gd name="T1" fmla="*/ 82 h 82"/>
                <a:gd name="T2" fmla="*/ 2 w 83"/>
                <a:gd name="T3" fmla="*/ 81 h 82"/>
                <a:gd name="T4" fmla="*/ 2 w 83"/>
                <a:gd name="T5" fmla="*/ 75 h 82"/>
                <a:gd name="T6" fmla="*/ 10 w 83"/>
                <a:gd name="T7" fmla="*/ 66 h 82"/>
                <a:gd name="T8" fmla="*/ 8 w 83"/>
                <a:gd name="T9" fmla="*/ 46 h 82"/>
                <a:gd name="T10" fmla="*/ 10 w 83"/>
                <a:gd name="T11" fmla="*/ 43 h 82"/>
                <a:gd name="T12" fmla="*/ 14 w 83"/>
                <a:gd name="T13" fmla="*/ 42 h 82"/>
                <a:gd name="T14" fmla="*/ 44 w 83"/>
                <a:gd name="T15" fmla="*/ 52 h 82"/>
                <a:gd name="T16" fmla="*/ 42 w 83"/>
                <a:gd name="T17" fmla="*/ 36 h 82"/>
                <a:gd name="T18" fmla="*/ 43 w 83"/>
                <a:gd name="T19" fmla="*/ 33 h 82"/>
                <a:gd name="T20" fmla="*/ 75 w 83"/>
                <a:gd name="T21" fmla="*/ 1 h 82"/>
                <a:gd name="T22" fmla="*/ 81 w 83"/>
                <a:gd name="T23" fmla="*/ 1 h 82"/>
                <a:gd name="T24" fmla="*/ 81 w 83"/>
                <a:gd name="T25" fmla="*/ 7 h 82"/>
                <a:gd name="T26" fmla="*/ 51 w 83"/>
                <a:gd name="T27" fmla="*/ 38 h 82"/>
                <a:gd name="T28" fmla="*/ 53 w 83"/>
                <a:gd name="T29" fmla="*/ 58 h 82"/>
                <a:gd name="T30" fmla="*/ 51 w 83"/>
                <a:gd name="T31" fmla="*/ 61 h 82"/>
                <a:gd name="T32" fmla="*/ 47 w 83"/>
                <a:gd name="T33" fmla="*/ 62 h 82"/>
                <a:gd name="T34" fmla="*/ 17 w 83"/>
                <a:gd name="T35" fmla="*/ 52 h 82"/>
                <a:gd name="T36" fmla="*/ 19 w 83"/>
                <a:gd name="T37" fmla="*/ 68 h 82"/>
                <a:gd name="T38" fmla="*/ 18 w 83"/>
                <a:gd name="T39" fmla="*/ 71 h 82"/>
                <a:gd name="T40" fmla="*/ 8 w 83"/>
                <a:gd name="T41" fmla="*/ 81 h 82"/>
                <a:gd name="T42" fmla="*/ 5 w 83"/>
                <a:gd name="T4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3" h="82">
                  <a:moveTo>
                    <a:pt x="5" y="82"/>
                  </a:moveTo>
                  <a:cubicBezTo>
                    <a:pt x="3" y="82"/>
                    <a:pt x="2" y="82"/>
                    <a:pt x="2" y="81"/>
                  </a:cubicBezTo>
                  <a:cubicBezTo>
                    <a:pt x="0" y="79"/>
                    <a:pt x="0" y="77"/>
                    <a:pt x="2" y="75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5"/>
                    <a:pt x="9" y="44"/>
                    <a:pt x="10" y="43"/>
                  </a:cubicBezTo>
                  <a:cubicBezTo>
                    <a:pt x="11" y="42"/>
                    <a:pt x="13" y="41"/>
                    <a:pt x="14" y="42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5"/>
                    <a:pt x="43" y="34"/>
                    <a:pt x="43" y="33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7" y="0"/>
                    <a:pt x="80" y="0"/>
                    <a:pt x="81" y="1"/>
                  </a:cubicBezTo>
                  <a:cubicBezTo>
                    <a:pt x="83" y="3"/>
                    <a:pt x="83" y="6"/>
                    <a:pt x="81" y="7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9"/>
                    <a:pt x="52" y="60"/>
                    <a:pt x="51" y="61"/>
                  </a:cubicBezTo>
                  <a:cubicBezTo>
                    <a:pt x="50" y="62"/>
                    <a:pt x="48" y="62"/>
                    <a:pt x="47" y="6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9" y="69"/>
                    <a:pt x="18" y="70"/>
                    <a:pt x="18" y="71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7" y="82"/>
                    <a:pt x="6" y="82"/>
                    <a:pt x="5" y="8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3" name="Agrupar 1632">
            <a:extLst>
              <a:ext uri="{FF2B5EF4-FFF2-40B4-BE49-F238E27FC236}">
                <a16:creationId xmlns:a16="http://schemas.microsoft.com/office/drawing/2014/main" id="{02D8048F-9DA8-4BA6-B4CF-DB02F47B5724}"/>
              </a:ext>
            </a:extLst>
          </p:cNvPr>
          <p:cNvGrpSpPr/>
          <p:nvPr/>
        </p:nvGrpSpPr>
        <p:grpSpPr>
          <a:xfrm>
            <a:off x="6796857" y="1171082"/>
            <a:ext cx="244065" cy="236477"/>
            <a:chOff x="6796857" y="1171082"/>
            <a:chExt cx="244065" cy="236477"/>
          </a:xfrm>
        </p:grpSpPr>
        <p:sp>
          <p:nvSpPr>
            <p:cNvPr id="1494" name="Freeform 888">
              <a:extLst>
                <a:ext uri="{FF2B5EF4-FFF2-40B4-BE49-F238E27FC236}">
                  <a16:creationId xmlns:a16="http://schemas.microsoft.com/office/drawing/2014/main" id="{0DB06641-9450-4EED-ACF0-BF6CE8AACE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7441" y="1254545"/>
              <a:ext cx="58171" cy="58171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9 h 32"/>
                <a:gd name="T12" fmla="*/ 9 w 32"/>
                <a:gd name="T13" fmla="*/ 16 h 32"/>
                <a:gd name="T14" fmla="*/ 16 w 32"/>
                <a:gd name="T15" fmla="*/ 23 h 32"/>
                <a:gd name="T16" fmla="*/ 23 w 32"/>
                <a:gd name="T17" fmla="*/ 16 h 32"/>
                <a:gd name="T18" fmla="*/ 16 w 32"/>
                <a:gd name="T19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9"/>
                  </a:moveTo>
                  <a:cubicBezTo>
                    <a:pt x="12" y="9"/>
                    <a:pt x="9" y="12"/>
                    <a:pt x="9" y="16"/>
                  </a:cubicBezTo>
                  <a:cubicBezTo>
                    <a:pt x="9" y="20"/>
                    <a:pt x="12" y="23"/>
                    <a:pt x="16" y="23"/>
                  </a:cubicBezTo>
                  <a:cubicBezTo>
                    <a:pt x="20" y="23"/>
                    <a:pt x="23" y="20"/>
                    <a:pt x="23" y="16"/>
                  </a:cubicBezTo>
                  <a:cubicBezTo>
                    <a:pt x="23" y="12"/>
                    <a:pt x="20" y="9"/>
                    <a:pt x="1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95" name="Freeform 889">
              <a:extLst>
                <a:ext uri="{FF2B5EF4-FFF2-40B4-BE49-F238E27FC236}">
                  <a16:creationId xmlns:a16="http://schemas.microsoft.com/office/drawing/2014/main" id="{426EBBD7-33CB-49DE-8657-B43B8BD94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903" y="1171082"/>
              <a:ext cx="79669" cy="58171"/>
            </a:xfrm>
            <a:custGeom>
              <a:avLst/>
              <a:gdLst>
                <a:gd name="T0" fmla="*/ 5 w 44"/>
                <a:gd name="T1" fmla="*/ 32 h 32"/>
                <a:gd name="T2" fmla="*/ 3 w 44"/>
                <a:gd name="T3" fmla="*/ 31 h 32"/>
                <a:gd name="T4" fmla="*/ 1 w 44"/>
                <a:gd name="T5" fmla="*/ 26 h 32"/>
                <a:gd name="T6" fmla="*/ 12 w 44"/>
                <a:gd name="T7" fmla="*/ 3 h 32"/>
                <a:gd name="T8" fmla="*/ 16 w 44"/>
                <a:gd name="T9" fmla="*/ 0 h 32"/>
                <a:gd name="T10" fmla="*/ 39 w 44"/>
                <a:gd name="T11" fmla="*/ 0 h 32"/>
                <a:gd name="T12" fmla="*/ 44 w 44"/>
                <a:gd name="T13" fmla="*/ 4 h 32"/>
                <a:gd name="T14" fmla="*/ 39 w 44"/>
                <a:gd name="T15" fmla="*/ 9 h 32"/>
                <a:gd name="T16" fmla="*/ 19 w 44"/>
                <a:gd name="T17" fmla="*/ 9 h 32"/>
                <a:gd name="T18" fmla="*/ 9 w 44"/>
                <a:gd name="T19" fmla="*/ 29 h 32"/>
                <a:gd name="T20" fmla="*/ 5 w 44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32">
                  <a:moveTo>
                    <a:pt x="5" y="32"/>
                  </a:moveTo>
                  <a:cubicBezTo>
                    <a:pt x="4" y="32"/>
                    <a:pt x="3" y="32"/>
                    <a:pt x="3" y="31"/>
                  </a:cubicBezTo>
                  <a:cubicBezTo>
                    <a:pt x="1" y="30"/>
                    <a:pt x="0" y="28"/>
                    <a:pt x="1" y="2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1"/>
                    <a:pt x="15" y="0"/>
                    <a:pt x="1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2" y="0"/>
                    <a:pt x="44" y="2"/>
                    <a:pt x="44" y="4"/>
                  </a:cubicBezTo>
                  <a:cubicBezTo>
                    <a:pt x="44" y="7"/>
                    <a:pt x="42" y="9"/>
                    <a:pt x="3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8" y="31"/>
                    <a:pt x="6" y="32"/>
                    <a:pt x="5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96" name="Freeform 890">
              <a:extLst>
                <a:ext uri="{FF2B5EF4-FFF2-40B4-BE49-F238E27FC236}">
                  <a16:creationId xmlns:a16="http://schemas.microsoft.com/office/drawing/2014/main" id="{0BBE9B25-11AC-40F1-8A28-41289B22DD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6857" y="1212813"/>
              <a:ext cx="244065" cy="194746"/>
            </a:xfrm>
            <a:custGeom>
              <a:avLst/>
              <a:gdLst>
                <a:gd name="T0" fmla="*/ 94 w 135"/>
                <a:gd name="T1" fmla="*/ 107 h 107"/>
                <a:gd name="T2" fmla="*/ 41 w 135"/>
                <a:gd name="T3" fmla="*/ 107 h 107"/>
                <a:gd name="T4" fmla="*/ 39 w 135"/>
                <a:gd name="T5" fmla="*/ 106 h 107"/>
                <a:gd name="T6" fmla="*/ 0 w 135"/>
                <a:gd name="T7" fmla="*/ 45 h 107"/>
                <a:gd name="T8" fmla="*/ 15 w 135"/>
                <a:gd name="T9" fmla="*/ 2 h 107"/>
                <a:gd name="T10" fmla="*/ 18 w 135"/>
                <a:gd name="T11" fmla="*/ 0 h 107"/>
                <a:gd name="T12" fmla="*/ 116 w 135"/>
                <a:gd name="T13" fmla="*/ 0 h 107"/>
                <a:gd name="T14" fmla="*/ 119 w 135"/>
                <a:gd name="T15" fmla="*/ 2 h 107"/>
                <a:gd name="T16" fmla="*/ 135 w 135"/>
                <a:gd name="T17" fmla="*/ 45 h 107"/>
                <a:gd name="T18" fmla="*/ 95 w 135"/>
                <a:gd name="T19" fmla="*/ 106 h 107"/>
                <a:gd name="T20" fmla="*/ 94 w 135"/>
                <a:gd name="T21" fmla="*/ 107 h 107"/>
                <a:gd name="T22" fmla="*/ 42 w 135"/>
                <a:gd name="T23" fmla="*/ 98 h 107"/>
                <a:gd name="T24" fmla="*/ 93 w 135"/>
                <a:gd name="T25" fmla="*/ 98 h 107"/>
                <a:gd name="T26" fmla="*/ 126 w 135"/>
                <a:gd name="T27" fmla="*/ 45 h 107"/>
                <a:gd name="T28" fmla="*/ 114 w 135"/>
                <a:gd name="T29" fmla="*/ 9 h 107"/>
                <a:gd name="T30" fmla="*/ 20 w 135"/>
                <a:gd name="T31" fmla="*/ 9 h 107"/>
                <a:gd name="T32" fmla="*/ 8 w 135"/>
                <a:gd name="T33" fmla="*/ 45 h 107"/>
                <a:gd name="T34" fmla="*/ 42 w 135"/>
                <a:gd name="T35" fmla="*/ 9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5" h="107">
                  <a:moveTo>
                    <a:pt x="94" y="107"/>
                  </a:moveTo>
                  <a:cubicBezTo>
                    <a:pt x="41" y="107"/>
                    <a:pt x="41" y="107"/>
                    <a:pt x="41" y="107"/>
                  </a:cubicBezTo>
                  <a:cubicBezTo>
                    <a:pt x="40" y="107"/>
                    <a:pt x="40" y="106"/>
                    <a:pt x="39" y="106"/>
                  </a:cubicBezTo>
                  <a:cubicBezTo>
                    <a:pt x="15" y="95"/>
                    <a:pt x="0" y="71"/>
                    <a:pt x="0" y="45"/>
                  </a:cubicBezTo>
                  <a:cubicBezTo>
                    <a:pt x="0" y="29"/>
                    <a:pt x="5" y="14"/>
                    <a:pt x="15" y="2"/>
                  </a:cubicBezTo>
                  <a:cubicBezTo>
                    <a:pt x="16" y="1"/>
                    <a:pt x="17" y="0"/>
                    <a:pt x="18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7" y="0"/>
                    <a:pt x="119" y="1"/>
                    <a:pt x="119" y="2"/>
                  </a:cubicBezTo>
                  <a:cubicBezTo>
                    <a:pt x="129" y="14"/>
                    <a:pt x="135" y="29"/>
                    <a:pt x="135" y="45"/>
                  </a:cubicBezTo>
                  <a:cubicBezTo>
                    <a:pt x="135" y="71"/>
                    <a:pt x="119" y="95"/>
                    <a:pt x="95" y="106"/>
                  </a:cubicBezTo>
                  <a:cubicBezTo>
                    <a:pt x="95" y="106"/>
                    <a:pt x="94" y="107"/>
                    <a:pt x="94" y="107"/>
                  </a:cubicBezTo>
                  <a:close/>
                  <a:moveTo>
                    <a:pt x="42" y="98"/>
                  </a:moveTo>
                  <a:cubicBezTo>
                    <a:pt x="93" y="98"/>
                    <a:pt x="93" y="98"/>
                    <a:pt x="93" y="98"/>
                  </a:cubicBezTo>
                  <a:cubicBezTo>
                    <a:pt x="113" y="88"/>
                    <a:pt x="126" y="67"/>
                    <a:pt x="126" y="45"/>
                  </a:cubicBezTo>
                  <a:cubicBezTo>
                    <a:pt x="126" y="32"/>
                    <a:pt x="122" y="19"/>
                    <a:pt x="114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3" y="19"/>
                    <a:pt x="8" y="32"/>
                    <a:pt x="8" y="45"/>
                  </a:cubicBezTo>
                  <a:cubicBezTo>
                    <a:pt x="8" y="67"/>
                    <a:pt x="21" y="88"/>
                    <a:pt x="42" y="9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3" name="Agrupar 1652">
            <a:extLst>
              <a:ext uri="{FF2B5EF4-FFF2-40B4-BE49-F238E27FC236}">
                <a16:creationId xmlns:a16="http://schemas.microsoft.com/office/drawing/2014/main" id="{F707ACC5-6715-4028-93BD-B9489F69AAA1}"/>
              </a:ext>
            </a:extLst>
          </p:cNvPr>
          <p:cNvGrpSpPr/>
          <p:nvPr/>
        </p:nvGrpSpPr>
        <p:grpSpPr>
          <a:xfrm>
            <a:off x="6836060" y="2335765"/>
            <a:ext cx="165660" cy="228890"/>
            <a:chOff x="6836060" y="2335765"/>
            <a:chExt cx="165660" cy="228890"/>
          </a:xfrm>
        </p:grpSpPr>
        <p:sp>
          <p:nvSpPr>
            <p:cNvPr id="1497" name="Freeform 891">
              <a:extLst>
                <a:ext uri="{FF2B5EF4-FFF2-40B4-BE49-F238E27FC236}">
                  <a16:creationId xmlns:a16="http://schemas.microsoft.com/office/drawing/2014/main" id="{B660D44B-632D-4489-B406-D3DC61E8C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0087" y="2373703"/>
              <a:ext cx="87256" cy="85992"/>
            </a:xfrm>
            <a:custGeom>
              <a:avLst/>
              <a:gdLst>
                <a:gd name="T0" fmla="*/ 17 w 48"/>
                <a:gd name="T1" fmla="*/ 21 h 47"/>
                <a:gd name="T2" fmla="*/ 21 w 48"/>
                <a:gd name="T3" fmla="*/ 18 h 47"/>
                <a:gd name="T4" fmla="*/ 21 w 48"/>
                <a:gd name="T5" fmla="*/ 5 h 47"/>
                <a:gd name="T6" fmla="*/ 22 w 48"/>
                <a:gd name="T7" fmla="*/ 2 h 47"/>
                <a:gd name="T8" fmla="*/ 24 w 48"/>
                <a:gd name="T9" fmla="*/ 0 h 47"/>
                <a:gd name="T10" fmla="*/ 26 w 48"/>
                <a:gd name="T11" fmla="*/ 2 h 47"/>
                <a:gd name="T12" fmla="*/ 27 w 48"/>
                <a:gd name="T13" fmla="*/ 5 h 47"/>
                <a:gd name="T14" fmla="*/ 27 w 48"/>
                <a:gd name="T15" fmla="*/ 18 h 47"/>
                <a:gd name="T16" fmla="*/ 31 w 48"/>
                <a:gd name="T17" fmla="*/ 21 h 47"/>
                <a:gd name="T18" fmla="*/ 33 w 48"/>
                <a:gd name="T19" fmla="*/ 22 h 47"/>
                <a:gd name="T20" fmla="*/ 47 w 48"/>
                <a:gd name="T21" fmla="*/ 30 h 47"/>
                <a:gd name="T22" fmla="*/ 48 w 48"/>
                <a:gd name="T23" fmla="*/ 30 h 47"/>
                <a:gd name="T24" fmla="*/ 48 w 48"/>
                <a:gd name="T25" fmla="*/ 33 h 47"/>
                <a:gd name="T26" fmla="*/ 27 w 48"/>
                <a:gd name="T27" fmla="*/ 27 h 47"/>
                <a:gd name="T28" fmla="*/ 27 w 48"/>
                <a:gd name="T29" fmla="*/ 33 h 47"/>
                <a:gd name="T30" fmla="*/ 26 w 48"/>
                <a:gd name="T31" fmla="*/ 41 h 47"/>
                <a:gd name="T32" fmla="*/ 32 w 48"/>
                <a:gd name="T33" fmla="*/ 45 h 47"/>
                <a:gd name="T34" fmla="*/ 32 w 48"/>
                <a:gd name="T35" fmla="*/ 45 h 47"/>
                <a:gd name="T36" fmla="*/ 32 w 48"/>
                <a:gd name="T37" fmla="*/ 47 h 47"/>
                <a:gd name="T38" fmla="*/ 25 w 48"/>
                <a:gd name="T39" fmla="*/ 45 h 47"/>
                <a:gd name="T40" fmla="*/ 24 w 48"/>
                <a:gd name="T41" fmla="*/ 47 h 47"/>
                <a:gd name="T42" fmla="*/ 23 w 48"/>
                <a:gd name="T43" fmla="*/ 45 h 47"/>
                <a:gd name="T44" fmla="*/ 16 w 48"/>
                <a:gd name="T45" fmla="*/ 47 h 47"/>
                <a:gd name="T46" fmla="*/ 16 w 48"/>
                <a:gd name="T47" fmla="*/ 45 h 47"/>
                <a:gd name="T48" fmla="*/ 16 w 48"/>
                <a:gd name="T49" fmla="*/ 45 h 47"/>
                <a:gd name="T50" fmla="*/ 22 w 48"/>
                <a:gd name="T51" fmla="*/ 41 h 47"/>
                <a:gd name="T52" fmla="*/ 21 w 48"/>
                <a:gd name="T53" fmla="*/ 33 h 47"/>
                <a:gd name="T54" fmla="*/ 21 w 48"/>
                <a:gd name="T55" fmla="*/ 27 h 47"/>
                <a:gd name="T56" fmla="*/ 0 w 48"/>
                <a:gd name="T57" fmla="*/ 33 h 47"/>
                <a:gd name="T58" fmla="*/ 0 w 48"/>
                <a:gd name="T59" fmla="*/ 30 h 47"/>
                <a:gd name="T60" fmla="*/ 1 w 48"/>
                <a:gd name="T61" fmla="*/ 30 h 47"/>
                <a:gd name="T62" fmla="*/ 15 w 48"/>
                <a:gd name="T63" fmla="*/ 22 h 47"/>
                <a:gd name="T64" fmla="*/ 17 w 48"/>
                <a:gd name="T65" fmla="*/ 2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" h="47">
                  <a:moveTo>
                    <a:pt x="17" y="21"/>
                  </a:moveTo>
                  <a:cubicBezTo>
                    <a:pt x="21" y="18"/>
                    <a:pt x="21" y="18"/>
                    <a:pt x="21" y="18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2" y="3"/>
                    <a:pt x="22" y="2"/>
                  </a:cubicBezTo>
                  <a:cubicBezTo>
                    <a:pt x="22" y="1"/>
                    <a:pt x="24" y="0"/>
                    <a:pt x="24" y="0"/>
                  </a:cubicBezTo>
                  <a:cubicBezTo>
                    <a:pt x="24" y="0"/>
                    <a:pt x="26" y="1"/>
                    <a:pt x="26" y="2"/>
                  </a:cubicBezTo>
                  <a:cubicBezTo>
                    <a:pt x="26" y="3"/>
                    <a:pt x="27" y="5"/>
                    <a:pt x="27" y="5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7"/>
                    <a:pt x="27" y="30"/>
                    <a:pt x="27" y="33"/>
                  </a:cubicBezTo>
                  <a:cubicBezTo>
                    <a:pt x="27" y="37"/>
                    <a:pt x="26" y="41"/>
                    <a:pt x="26" y="41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5" y="47"/>
                    <a:pt x="24" y="47"/>
                    <a:pt x="24" y="47"/>
                  </a:cubicBezTo>
                  <a:cubicBezTo>
                    <a:pt x="24" y="47"/>
                    <a:pt x="23" y="47"/>
                    <a:pt x="23" y="45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1" y="37"/>
                    <a:pt x="21" y="33"/>
                  </a:cubicBezTo>
                  <a:cubicBezTo>
                    <a:pt x="21" y="30"/>
                    <a:pt x="21" y="27"/>
                    <a:pt x="21" y="2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5" y="22"/>
                    <a:pt x="15" y="22"/>
                    <a:pt x="15" y="22"/>
                  </a:cubicBezTo>
                  <a:lnTo>
                    <a:pt x="17" y="2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98" name="Freeform 892">
              <a:extLst>
                <a:ext uri="{FF2B5EF4-FFF2-40B4-BE49-F238E27FC236}">
                  <a16:creationId xmlns:a16="http://schemas.microsoft.com/office/drawing/2014/main" id="{86C8F985-ECFA-4AB9-9581-1D594FC90A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6060" y="2335765"/>
              <a:ext cx="135311" cy="228890"/>
            </a:xfrm>
            <a:custGeom>
              <a:avLst/>
              <a:gdLst>
                <a:gd name="T0" fmla="*/ 59 w 74"/>
                <a:gd name="T1" fmla="*/ 126 h 126"/>
                <a:gd name="T2" fmla="*/ 15 w 74"/>
                <a:gd name="T3" fmla="*/ 126 h 126"/>
                <a:gd name="T4" fmla="*/ 0 w 74"/>
                <a:gd name="T5" fmla="*/ 112 h 126"/>
                <a:gd name="T6" fmla="*/ 0 w 74"/>
                <a:gd name="T7" fmla="*/ 15 h 126"/>
                <a:gd name="T8" fmla="*/ 15 w 74"/>
                <a:gd name="T9" fmla="*/ 0 h 126"/>
                <a:gd name="T10" fmla="*/ 59 w 74"/>
                <a:gd name="T11" fmla="*/ 0 h 126"/>
                <a:gd name="T12" fmla="*/ 74 w 74"/>
                <a:gd name="T13" fmla="*/ 15 h 126"/>
                <a:gd name="T14" fmla="*/ 74 w 74"/>
                <a:gd name="T15" fmla="*/ 112 h 126"/>
                <a:gd name="T16" fmla="*/ 59 w 74"/>
                <a:gd name="T17" fmla="*/ 126 h 126"/>
                <a:gd name="T18" fmla="*/ 15 w 74"/>
                <a:gd name="T19" fmla="*/ 6 h 126"/>
                <a:gd name="T20" fmla="*/ 6 w 74"/>
                <a:gd name="T21" fmla="*/ 15 h 126"/>
                <a:gd name="T22" fmla="*/ 6 w 74"/>
                <a:gd name="T23" fmla="*/ 112 h 126"/>
                <a:gd name="T24" fmla="*/ 15 w 74"/>
                <a:gd name="T25" fmla="*/ 120 h 126"/>
                <a:gd name="T26" fmla="*/ 59 w 74"/>
                <a:gd name="T27" fmla="*/ 120 h 126"/>
                <a:gd name="T28" fmla="*/ 68 w 74"/>
                <a:gd name="T29" fmla="*/ 112 h 126"/>
                <a:gd name="T30" fmla="*/ 68 w 74"/>
                <a:gd name="T31" fmla="*/ 15 h 126"/>
                <a:gd name="T32" fmla="*/ 59 w 74"/>
                <a:gd name="T33" fmla="*/ 6 h 126"/>
                <a:gd name="T34" fmla="*/ 15 w 74"/>
                <a:gd name="T35" fmla="*/ 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26">
                  <a:moveTo>
                    <a:pt x="59" y="126"/>
                  </a:moveTo>
                  <a:cubicBezTo>
                    <a:pt x="15" y="126"/>
                    <a:pt x="15" y="126"/>
                    <a:pt x="15" y="126"/>
                  </a:cubicBezTo>
                  <a:cubicBezTo>
                    <a:pt x="7" y="126"/>
                    <a:pt x="0" y="120"/>
                    <a:pt x="0" y="1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7" y="0"/>
                    <a:pt x="74" y="7"/>
                    <a:pt x="74" y="15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74" y="120"/>
                    <a:pt x="67" y="126"/>
                    <a:pt x="59" y="126"/>
                  </a:cubicBezTo>
                  <a:moveTo>
                    <a:pt x="15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6"/>
                    <a:pt x="10" y="120"/>
                    <a:pt x="15" y="120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64" y="120"/>
                    <a:pt x="68" y="116"/>
                    <a:pt x="68" y="1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0"/>
                    <a:pt x="64" y="6"/>
                    <a:pt x="59" y="6"/>
                  </a:cubicBezTo>
                  <a:lnTo>
                    <a:pt x="15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99" name="Freeform 893">
              <a:extLst>
                <a:ext uri="{FF2B5EF4-FFF2-40B4-BE49-F238E27FC236}">
                  <a16:creationId xmlns:a16="http://schemas.microsoft.com/office/drawing/2014/main" id="{6DF8AB48-6898-400B-B301-74F95C0B9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7460" y="2347146"/>
              <a:ext cx="44260" cy="192217"/>
            </a:xfrm>
            <a:custGeom>
              <a:avLst/>
              <a:gdLst>
                <a:gd name="T0" fmla="*/ 4 w 24"/>
                <a:gd name="T1" fmla="*/ 106 h 106"/>
                <a:gd name="T2" fmla="*/ 3 w 24"/>
                <a:gd name="T3" fmla="*/ 106 h 106"/>
                <a:gd name="T4" fmla="*/ 1 w 24"/>
                <a:gd name="T5" fmla="*/ 102 h 106"/>
                <a:gd name="T6" fmla="*/ 17 w 24"/>
                <a:gd name="T7" fmla="*/ 16 h 106"/>
                <a:gd name="T8" fmla="*/ 16 w 24"/>
                <a:gd name="T9" fmla="*/ 11 h 106"/>
                <a:gd name="T10" fmla="*/ 12 w 24"/>
                <a:gd name="T11" fmla="*/ 8 h 106"/>
                <a:gd name="T12" fmla="*/ 3 w 24"/>
                <a:gd name="T13" fmla="*/ 7 h 106"/>
                <a:gd name="T14" fmla="*/ 1 w 24"/>
                <a:gd name="T15" fmla="*/ 3 h 106"/>
                <a:gd name="T16" fmla="*/ 4 w 24"/>
                <a:gd name="T17" fmla="*/ 0 h 106"/>
                <a:gd name="T18" fmla="*/ 13 w 24"/>
                <a:gd name="T19" fmla="*/ 2 h 106"/>
                <a:gd name="T20" fmla="*/ 21 w 24"/>
                <a:gd name="T21" fmla="*/ 7 h 106"/>
                <a:gd name="T22" fmla="*/ 23 w 24"/>
                <a:gd name="T23" fmla="*/ 17 h 106"/>
                <a:gd name="T24" fmla="*/ 7 w 24"/>
                <a:gd name="T25" fmla="*/ 103 h 106"/>
                <a:gd name="T26" fmla="*/ 4 w 24"/>
                <a:gd name="T2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106">
                  <a:moveTo>
                    <a:pt x="4" y="106"/>
                  </a:moveTo>
                  <a:cubicBezTo>
                    <a:pt x="4" y="106"/>
                    <a:pt x="4" y="106"/>
                    <a:pt x="3" y="106"/>
                  </a:cubicBezTo>
                  <a:cubicBezTo>
                    <a:pt x="2" y="105"/>
                    <a:pt x="1" y="104"/>
                    <a:pt x="1" y="10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4"/>
                    <a:pt x="17" y="12"/>
                    <a:pt x="16" y="11"/>
                  </a:cubicBezTo>
                  <a:cubicBezTo>
                    <a:pt x="15" y="10"/>
                    <a:pt x="14" y="9"/>
                    <a:pt x="12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6" y="3"/>
                    <a:pt x="19" y="5"/>
                    <a:pt x="21" y="7"/>
                  </a:cubicBezTo>
                  <a:cubicBezTo>
                    <a:pt x="23" y="10"/>
                    <a:pt x="24" y="14"/>
                    <a:pt x="23" y="17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5"/>
                    <a:pt x="6" y="106"/>
                    <a:pt x="4" y="10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00" name="Freeform 894">
              <a:extLst>
                <a:ext uri="{FF2B5EF4-FFF2-40B4-BE49-F238E27FC236}">
                  <a16:creationId xmlns:a16="http://schemas.microsoft.com/office/drawing/2014/main" id="{040D42FA-310F-4DC6-AD63-435F884BB5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5028" y="2490045"/>
              <a:ext cx="96108" cy="11381"/>
            </a:xfrm>
            <a:custGeom>
              <a:avLst/>
              <a:gdLst>
                <a:gd name="T0" fmla="*/ 50 w 53"/>
                <a:gd name="T1" fmla="*/ 6 h 6"/>
                <a:gd name="T2" fmla="*/ 50 w 53"/>
                <a:gd name="T3" fmla="*/ 6 h 6"/>
                <a:gd name="T4" fmla="*/ 41 w 53"/>
                <a:gd name="T5" fmla="*/ 6 h 6"/>
                <a:gd name="T6" fmla="*/ 37 w 53"/>
                <a:gd name="T7" fmla="*/ 3 h 6"/>
                <a:gd name="T8" fmla="*/ 41 w 53"/>
                <a:gd name="T9" fmla="*/ 0 h 6"/>
                <a:gd name="T10" fmla="*/ 50 w 53"/>
                <a:gd name="T11" fmla="*/ 0 h 6"/>
                <a:gd name="T12" fmla="*/ 53 w 53"/>
                <a:gd name="T13" fmla="*/ 3 h 6"/>
                <a:gd name="T14" fmla="*/ 50 w 53"/>
                <a:gd name="T15" fmla="*/ 6 h 6"/>
                <a:gd name="T16" fmla="*/ 31 w 53"/>
                <a:gd name="T17" fmla="*/ 6 h 6"/>
                <a:gd name="T18" fmla="*/ 31 w 53"/>
                <a:gd name="T19" fmla="*/ 6 h 6"/>
                <a:gd name="T20" fmla="*/ 22 w 53"/>
                <a:gd name="T21" fmla="*/ 6 h 6"/>
                <a:gd name="T22" fmla="*/ 19 w 53"/>
                <a:gd name="T23" fmla="*/ 3 h 6"/>
                <a:gd name="T24" fmla="*/ 22 w 53"/>
                <a:gd name="T25" fmla="*/ 0 h 6"/>
                <a:gd name="T26" fmla="*/ 31 w 53"/>
                <a:gd name="T27" fmla="*/ 0 h 6"/>
                <a:gd name="T28" fmla="*/ 34 w 53"/>
                <a:gd name="T29" fmla="*/ 3 h 6"/>
                <a:gd name="T30" fmla="*/ 31 w 53"/>
                <a:gd name="T31" fmla="*/ 6 h 6"/>
                <a:gd name="T32" fmla="*/ 12 w 53"/>
                <a:gd name="T33" fmla="*/ 6 h 6"/>
                <a:gd name="T34" fmla="*/ 12 w 53"/>
                <a:gd name="T35" fmla="*/ 6 h 6"/>
                <a:gd name="T36" fmla="*/ 3 w 53"/>
                <a:gd name="T37" fmla="*/ 6 h 6"/>
                <a:gd name="T38" fmla="*/ 0 w 53"/>
                <a:gd name="T39" fmla="*/ 3 h 6"/>
                <a:gd name="T40" fmla="*/ 3 w 53"/>
                <a:gd name="T41" fmla="*/ 0 h 6"/>
                <a:gd name="T42" fmla="*/ 12 w 53"/>
                <a:gd name="T43" fmla="*/ 0 h 6"/>
                <a:gd name="T44" fmla="*/ 15 w 53"/>
                <a:gd name="T45" fmla="*/ 3 h 6"/>
                <a:gd name="T46" fmla="*/ 12 w 53"/>
                <a:gd name="T4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" h="6">
                  <a:moveTo>
                    <a:pt x="50" y="6"/>
                  </a:moveTo>
                  <a:cubicBezTo>
                    <a:pt x="50" y="6"/>
                    <a:pt x="50" y="6"/>
                    <a:pt x="50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39" y="6"/>
                    <a:pt x="37" y="5"/>
                    <a:pt x="37" y="3"/>
                  </a:cubicBezTo>
                  <a:cubicBezTo>
                    <a:pt x="37" y="1"/>
                    <a:pt x="39" y="0"/>
                    <a:pt x="4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2" y="0"/>
                    <a:pt x="53" y="1"/>
                    <a:pt x="53" y="3"/>
                  </a:cubicBezTo>
                  <a:cubicBezTo>
                    <a:pt x="53" y="5"/>
                    <a:pt x="52" y="6"/>
                    <a:pt x="50" y="6"/>
                  </a:cubicBezTo>
                  <a:moveTo>
                    <a:pt x="31" y="6"/>
                  </a:moveTo>
                  <a:cubicBezTo>
                    <a:pt x="31" y="6"/>
                    <a:pt x="31" y="6"/>
                    <a:pt x="31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0" y="6"/>
                    <a:pt x="19" y="5"/>
                    <a:pt x="19" y="3"/>
                  </a:cubicBezTo>
                  <a:cubicBezTo>
                    <a:pt x="19" y="1"/>
                    <a:pt x="20" y="0"/>
                    <a:pt x="2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1"/>
                    <a:pt x="34" y="3"/>
                  </a:cubicBezTo>
                  <a:cubicBezTo>
                    <a:pt x="34" y="5"/>
                    <a:pt x="33" y="6"/>
                    <a:pt x="31" y="6"/>
                  </a:cubicBezTo>
                  <a:moveTo>
                    <a:pt x="12" y="6"/>
                  </a:moveTo>
                  <a:cubicBezTo>
                    <a:pt x="12" y="6"/>
                    <a:pt x="12" y="6"/>
                    <a:pt x="1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1"/>
                    <a:pt x="15" y="3"/>
                  </a:cubicBezTo>
                  <a:cubicBezTo>
                    <a:pt x="15" y="5"/>
                    <a:pt x="14" y="6"/>
                    <a:pt x="12" y="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9" name="Agrupar 1648">
            <a:extLst>
              <a:ext uri="{FF2B5EF4-FFF2-40B4-BE49-F238E27FC236}">
                <a16:creationId xmlns:a16="http://schemas.microsoft.com/office/drawing/2014/main" id="{036837DE-A29A-4DE7-A904-5CDD2AEF3F1E}"/>
              </a:ext>
            </a:extLst>
          </p:cNvPr>
          <p:cNvGrpSpPr/>
          <p:nvPr/>
        </p:nvGrpSpPr>
        <p:grpSpPr>
          <a:xfrm>
            <a:off x="4792490" y="2335765"/>
            <a:ext cx="263034" cy="254182"/>
            <a:chOff x="4792490" y="2335765"/>
            <a:chExt cx="263034" cy="254182"/>
          </a:xfrm>
        </p:grpSpPr>
        <p:sp>
          <p:nvSpPr>
            <p:cNvPr id="1501" name="Freeform 895">
              <a:extLst>
                <a:ext uri="{FF2B5EF4-FFF2-40B4-BE49-F238E27FC236}">
                  <a16:creationId xmlns:a16="http://schemas.microsoft.com/office/drawing/2014/main" id="{96BEE84F-0A79-4B08-B2EC-6EAA7EA2F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5019" y="2430609"/>
              <a:ext cx="260505" cy="63229"/>
            </a:xfrm>
            <a:custGeom>
              <a:avLst/>
              <a:gdLst>
                <a:gd name="T0" fmla="*/ 133 w 144"/>
                <a:gd name="T1" fmla="*/ 30 h 35"/>
                <a:gd name="T2" fmla="*/ 92 w 144"/>
                <a:gd name="T3" fmla="*/ 34 h 35"/>
                <a:gd name="T4" fmla="*/ 80 w 144"/>
                <a:gd name="T5" fmla="*/ 34 h 35"/>
                <a:gd name="T6" fmla="*/ 25 w 144"/>
                <a:gd name="T7" fmla="*/ 30 h 35"/>
                <a:gd name="T8" fmla="*/ 0 w 144"/>
                <a:gd name="T9" fmla="*/ 17 h 35"/>
                <a:gd name="T10" fmla="*/ 25 w 144"/>
                <a:gd name="T11" fmla="*/ 5 h 35"/>
                <a:gd name="T12" fmla="*/ 80 w 144"/>
                <a:gd name="T13" fmla="*/ 1 h 35"/>
                <a:gd name="T14" fmla="*/ 91 w 144"/>
                <a:gd name="T15" fmla="*/ 1 h 35"/>
                <a:gd name="T16" fmla="*/ 133 w 144"/>
                <a:gd name="T17" fmla="*/ 5 h 35"/>
                <a:gd name="T18" fmla="*/ 142 w 144"/>
                <a:gd name="T19" fmla="*/ 10 h 35"/>
                <a:gd name="T20" fmla="*/ 144 w 144"/>
                <a:gd name="T21" fmla="*/ 17 h 35"/>
                <a:gd name="T22" fmla="*/ 142 w 144"/>
                <a:gd name="T23" fmla="*/ 24 h 35"/>
                <a:gd name="T24" fmla="*/ 133 w 144"/>
                <a:gd name="T25" fmla="*/ 30 h 35"/>
                <a:gd name="T26" fmla="*/ 92 w 144"/>
                <a:gd name="T27" fmla="*/ 28 h 35"/>
                <a:gd name="T28" fmla="*/ 131 w 144"/>
                <a:gd name="T29" fmla="*/ 25 h 35"/>
                <a:gd name="T30" fmla="*/ 137 w 144"/>
                <a:gd name="T31" fmla="*/ 20 h 35"/>
                <a:gd name="T32" fmla="*/ 138 w 144"/>
                <a:gd name="T33" fmla="*/ 17 h 35"/>
                <a:gd name="T34" fmla="*/ 137 w 144"/>
                <a:gd name="T35" fmla="*/ 14 h 35"/>
                <a:gd name="T36" fmla="*/ 131 w 144"/>
                <a:gd name="T37" fmla="*/ 10 h 35"/>
                <a:gd name="T38" fmla="*/ 91 w 144"/>
                <a:gd name="T39" fmla="*/ 7 h 35"/>
                <a:gd name="T40" fmla="*/ 80 w 144"/>
                <a:gd name="T41" fmla="*/ 7 h 35"/>
                <a:gd name="T42" fmla="*/ 26 w 144"/>
                <a:gd name="T43" fmla="*/ 11 h 35"/>
                <a:gd name="T44" fmla="*/ 6 w 144"/>
                <a:gd name="T45" fmla="*/ 17 h 35"/>
                <a:gd name="T46" fmla="*/ 26 w 144"/>
                <a:gd name="T47" fmla="*/ 24 h 35"/>
                <a:gd name="T48" fmla="*/ 80 w 144"/>
                <a:gd name="T49" fmla="*/ 28 h 35"/>
                <a:gd name="T50" fmla="*/ 92 w 144"/>
                <a:gd name="T51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35">
                  <a:moveTo>
                    <a:pt x="133" y="30"/>
                  </a:moveTo>
                  <a:cubicBezTo>
                    <a:pt x="123" y="35"/>
                    <a:pt x="108" y="34"/>
                    <a:pt x="92" y="34"/>
                  </a:cubicBezTo>
                  <a:cubicBezTo>
                    <a:pt x="88" y="34"/>
                    <a:pt x="84" y="34"/>
                    <a:pt x="80" y="34"/>
                  </a:cubicBezTo>
                  <a:cubicBezTo>
                    <a:pt x="58" y="34"/>
                    <a:pt x="39" y="32"/>
                    <a:pt x="25" y="30"/>
                  </a:cubicBezTo>
                  <a:cubicBezTo>
                    <a:pt x="9" y="27"/>
                    <a:pt x="0" y="23"/>
                    <a:pt x="0" y="17"/>
                  </a:cubicBezTo>
                  <a:cubicBezTo>
                    <a:pt x="0" y="12"/>
                    <a:pt x="9" y="8"/>
                    <a:pt x="25" y="5"/>
                  </a:cubicBezTo>
                  <a:cubicBezTo>
                    <a:pt x="39" y="2"/>
                    <a:pt x="58" y="1"/>
                    <a:pt x="80" y="1"/>
                  </a:cubicBezTo>
                  <a:cubicBezTo>
                    <a:pt x="84" y="1"/>
                    <a:pt x="88" y="1"/>
                    <a:pt x="91" y="1"/>
                  </a:cubicBezTo>
                  <a:cubicBezTo>
                    <a:pt x="107" y="0"/>
                    <a:pt x="122" y="0"/>
                    <a:pt x="133" y="5"/>
                  </a:cubicBezTo>
                  <a:cubicBezTo>
                    <a:pt x="137" y="6"/>
                    <a:pt x="140" y="8"/>
                    <a:pt x="142" y="10"/>
                  </a:cubicBezTo>
                  <a:cubicBezTo>
                    <a:pt x="143" y="13"/>
                    <a:pt x="144" y="15"/>
                    <a:pt x="144" y="17"/>
                  </a:cubicBezTo>
                  <a:cubicBezTo>
                    <a:pt x="144" y="20"/>
                    <a:pt x="143" y="22"/>
                    <a:pt x="142" y="24"/>
                  </a:cubicBezTo>
                  <a:cubicBezTo>
                    <a:pt x="140" y="26"/>
                    <a:pt x="137" y="28"/>
                    <a:pt x="133" y="30"/>
                  </a:cubicBezTo>
                  <a:moveTo>
                    <a:pt x="92" y="28"/>
                  </a:moveTo>
                  <a:cubicBezTo>
                    <a:pt x="107" y="28"/>
                    <a:pt x="121" y="29"/>
                    <a:pt x="131" y="25"/>
                  </a:cubicBezTo>
                  <a:cubicBezTo>
                    <a:pt x="134" y="23"/>
                    <a:pt x="136" y="22"/>
                    <a:pt x="137" y="20"/>
                  </a:cubicBezTo>
                  <a:cubicBezTo>
                    <a:pt x="138" y="19"/>
                    <a:pt x="138" y="18"/>
                    <a:pt x="138" y="17"/>
                  </a:cubicBezTo>
                  <a:cubicBezTo>
                    <a:pt x="138" y="16"/>
                    <a:pt x="138" y="15"/>
                    <a:pt x="137" y="14"/>
                  </a:cubicBezTo>
                  <a:cubicBezTo>
                    <a:pt x="136" y="13"/>
                    <a:pt x="134" y="12"/>
                    <a:pt x="131" y="10"/>
                  </a:cubicBezTo>
                  <a:cubicBezTo>
                    <a:pt x="121" y="6"/>
                    <a:pt x="107" y="7"/>
                    <a:pt x="91" y="7"/>
                  </a:cubicBezTo>
                  <a:cubicBezTo>
                    <a:pt x="87" y="7"/>
                    <a:pt x="83" y="7"/>
                    <a:pt x="80" y="7"/>
                  </a:cubicBezTo>
                  <a:cubicBezTo>
                    <a:pt x="58" y="7"/>
                    <a:pt x="39" y="8"/>
                    <a:pt x="26" y="11"/>
                  </a:cubicBezTo>
                  <a:cubicBezTo>
                    <a:pt x="13" y="13"/>
                    <a:pt x="6" y="15"/>
                    <a:pt x="6" y="17"/>
                  </a:cubicBezTo>
                  <a:cubicBezTo>
                    <a:pt x="6" y="19"/>
                    <a:pt x="13" y="22"/>
                    <a:pt x="26" y="24"/>
                  </a:cubicBezTo>
                  <a:cubicBezTo>
                    <a:pt x="39" y="26"/>
                    <a:pt x="58" y="28"/>
                    <a:pt x="80" y="28"/>
                  </a:cubicBezTo>
                  <a:cubicBezTo>
                    <a:pt x="83" y="28"/>
                    <a:pt x="88" y="28"/>
                    <a:pt x="92" y="28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02" name="Freeform 896">
              <a:extLst>
                <a:ext uri="{FF2B5EF4-FFF2-40B4-BE49-F238E27FC236}">
                  <a16:creationId xmlns:a16="http://schemas.microsoft.com/office/drawing/2014/main" id="{2BE7B0A4-AEFE-4136-A1EE-DBD77F746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0894" y="2335765"/>
              <a:ext cx="93579" cy="104961"/>
            </a:xfrm>
            <a:custGeom>
              <a:avLst/>
              <a:gdLst>
                <a:gd name="T0" fmla="*/ 47 w 52"/>
                <a:gd name="T1" fmla="*/ 58 h 58"/>
                <a:gd name="T2" fmla="*/ 17 w 52"/>
                <a:gd name="T3" fmla="*/ 12 h 58"/>
                <a:gd name="T4" fmla="*/ 13 w 52"/>
                <a:gd name="T5" fmla="*/ 8 h 58"/>
                <a:gd name="T6" fmla="*/ 13 w 52"/>
                <a:gd name="T7" fmla="*/ 7 h 58"/>
                <a:gd name="T8" fmla="*/ 11 w 52"/>
                <a:gd name="T9" fmla="*/ 6 h 58"/>
                <a:gd name="T10" fmla="*/ 6 w 52"/>
                <a:gd name="T11" fmla="*/ 6 h 58"/>
                <a:gd name="T12" fmla="*/ 7 w 52"/>
                <a:gd name="T13" fmla="*/ 9 h 58"/>
                <a:gd name="T14" fmla="*/ 7 w 52"/>
                <a:gd name="T15" fmla="*/ 10 h 58"/>
                <a:gd name="T16" fmla="*/ 17 w 52"/>
                <a:gd name="T17" fmla="*/ 36 h 58"/>
                <a:gd name="T18" fmla="*/ 23 w 52"/>
                <a:gd name="T19" fmla="*/ 56 h 58"/>
                <a:gd name="T20" fmla="*/ 17 w 52"/>
                <a:gd name="T21" fmla="*/ 57 h 58"/>
                <a:gd name="T22" fmla="*/ 11 w 52"/>
                <a:gd name="T23" fmla="*/ 38 h 58"/>
                <a:gd name="T24" fmla="*/ 2 w 52"/>
                <a:gd name="T25" fmla="*/ 12 h 58"/>
                <a:gd name="T26" fmla="*/ 0 w 52"/>
                <a:gd name="T27" fmla="*/ 5 h 58"/>
                <a:gd name="T28" fmla="*/ 4 w 52"/>
                <a:gd name="T29" fmla="*/ 0 h 58"/>
                <a:gd name="T30" fmla="*/ 5 w 52"/>
                <a:gd name="T31" fmla="*/ 0 h 58"/>
                <a:gd name="T32" fmla="*/ 12 w 52"/>
                <a:gd name="T33" fmla="*/ 0 h 58"/>
                <a:gd name="T34" fmla="*/ 18 w 52"/>
                <a:gd name="T35" fmla="*/ 4 h 58"/>
                <a:gd name="T36" fmla="*/ 22 w 52"/>
                <a:gd name="T37" fmla="*/ 8 h 58"/>
                <a:gd name="T38" fmla="*/ 22 w 52"/>
                <a:gd name="T39" fmla="*/ 9 h 58"/>
                <a:gd name="T40" fmla="*/ 52 w 52"/>
                <a:gd name="T41" fmla="*/ 54 h 58"/>
                <a:gd name="T42" fmla="*/ 47 w 52"/>
                <a:gd name="T4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" h="58">
                  <a:moveTo>
                    <a:pt x="47" y="58"/>
                  </a:moveTo>
                  <a:cubicBezTo>
                    <a:pt x="17" y="12"/>
                    <a:pt x="17" y="12"/>
                    <a:pt x="17" y="12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2" y="7"/>
                    <a:pt x="11" y="6"/>
                  </a:cubicBezTo>
                  <a:cubicBezTo>
                    <a:pt x="10" y="6"/>
                    <a:pt x="8" y="6"/>
                    <a:pt x="6" y="6"/>
                  </a:cubicBezTo>
                  <a:cubicBezTo>
                    <a:pt x="6" y="7"/>
                    <a:pt x="7" y="8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1" y="19"/>
                    <a:pt x="15" y="28"/>
                    <a:pt x="17" y="36"/>
                  </a:cubicBezTo>
                  <a:cubicBezTo>
                    <a:pt x="20" y="44"/>
                    <a:pt x="21" y="51"/>
                    <a:pt x="23" y="56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6" y="52"/>
                    <a:pt x="14" y="45"/>
                    <a:pt x="11" y="38"/>
                  </a:cubicBezTo>
                  <a:cubicBezTo>
                    <a:pt x="9" y="30"/>
                    <a:pt x="6" y="21"/>
                    <a:pt x="2" y="12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3"/>
                    <a:pt x="2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5" y="1"/>
                    <a:pt x="17" y="2"/>
                    <a:pt x="18" y="4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52" y="54"/>
                    <a:pt x="52" y="54"/>
                    <a:pt x="52" y="54"/>
                  </a:cubicBezTo>
                  <a:lnTo>
                    <a:pt x="47" y="5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03" name="Freeform 897">
              <a:extLst>
                <a:ext uri="{FF2B5EF4-FFF2-40B4-BE49-F238E27FC236}">
                  <a16:creationId xmlns:a16="http://schemas.microsoft.com/office/drawing/2014/main" id="{4D36632C-357B-445E-B833-3EDF0EB4B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0894" y="2484986"/>
              <a:ext cx="93579" cy="104961"/>
            </a:xfrm>
            <a:custGeom>
              <a:avLst/>
              <a:gdLst>
                <a:gd name="T0" fmla="*/ 52 w 52"/>
                <a:gd name="T1" fmla="*/ 4 h 58"/>
                <a:gd name="T2" fmla="*/ 22 w 52"/>
                <a:gd name="T3" fmla="*/ 49 h 58"/>
                <a:gd name="T4" fmla="*/ 22 w 52"/>
                <a:gd name="T5" fmla="*/ 50 h 58"/>
                <a:gd name="T6" fmla="*/ 18 w 52"/>
                <a:gd name="T7" fmla="*/ 54 h 58"/>
                <a:gd name="T8" fmla="*/ 12 w 52"/>
                <a:gd name="T9" fmla="*/ 58 h 58"/>
                <a:gd name="T10" fmla="*/ 5 w 52"/>
                <a:gd name="T11" fmla="*/ 58 h 58"/>
                <a:gd name="T12" fmla="*/ 4 w 52"/>
                <a:gd name="T13" fmla="*/ 58 h 58"/>
                <a:gd name="T14" fmla="*/ 0 w 52"/>
                <a:gd name="T15" fmla="*/ 53 h 58"/>
                <a:gd name="T16" fmla="*/ 2 w 52"/>
                <a:gd name="T17" fmla="*/ 46 h 58"/>
                <a:gd name="T18" fmla="*/ 11 w 52"/>
                <a:gd name="T19" fmla="*/ 20 h 58"/>
                <a:gd name="T20" fmla="*/ 17 w 52"/>
                <a:gd name="T21" fmla="*/ 1 h 58"/>
                <a:gd name="T22" fmla="*/ 23 w 52"/>
                <a:gd name="T23" fmla="*/ 2 h 58"/>
                <a:gd name="T24" fmla="*/ 17 w 52"/>
                <a:gd name="T25" fmla="*/ 22 h 58"/>
                <a:gd name="T26" fmla="*/ 7 w 52"/>
                <a:gd name="T27" fmla="*/ 48 h 58"/>
                <a:gd name="T28" fmla="*/ 7 w 52"/>
                <a:gd name="T29" fmla="*/ 49 h 58"/>
                <a:gd name="T30" fmla="*/ 6 w 52"/>
                <a:gd name="T31" fmla="*/ 52 h 58"/>
                <a:gd name="T32" fmla="*/ 11 w 52"/>
                <a:gd name="T33" fmla="*/ 52 h 58"/>
                <a:gd name="T34" fmla="*/ 13 w 52"/>
                <a:gd name="T35" fmla="*/ 51 h 58"/>
                <a:gd name="T36" fmla="*/ 13 w 52"/>
                <a:gd name="T37" fmla="*/ 50 h 58"/>
                <a:gd name="T38" fmla="*/ 17 w 52"/>
                <a:gd name="T39" fmla="*/ 46 h 58"/>
                <a:gd name="T40" fmla="*/ 47 w 52"/>
                <a:gd name="T41" fmla="*/ 0 h 58"/>
                <a:gd name="T42" fmla="*/ 52 w 52"/>
                <a:gd name="T43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" h="58">
                  <a:moveTo>
                    <a:pt x="52" y="4"/>
                  </a:moveTo>
                  <a:cubicBezTo>
                    <a:pt x="22" y="49"/>
                    <a:pt x="22" y="49"/>
                    <a:pt x="22" y="49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7" y="56"/>
                    <a:pt x="15" y="57"/>
                    <a:pt x="12" y="58"/>
                  </a:cubicBezTo>
                  <a:cubicBezTo>
                    <a:pt x="10" y="58"/>
                    <a:pt x="8" y="58"/>
                    <a:pt x="5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2" y="57"/>
                    <a:pt x="0" y="55"/>
                    <a:pt x="0" y="53"/>
                  </a:cubicBezTo>
                  <a:cubicBezTo>
                    <a:pt x="0" y="51"/>
                    <a:pt x="1" y="49"/>
                    <a:pt x="2" y="46"/>
                  </a:cubicBezTo>
                  <a:cubicBezTo>
                    <a:pt x="6" y="37"/>
                    <a:pt x="9" y="28"/>
                    <a:pt x="11" y="20"/>
                  </a:cubicBezTo>
                  <a:cubicBezTo>
                    <a:pt x="14" y="13"/>
                    <a:pt x="16" y="6"/>
                    <a:pt x="17" y="1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1" y="7"/>
                    <a:pt x="20" y="14"/>
                    <a:pt x="17" y="22"/>
                  </a:cubicBezTo>
                  <a:cubicBezTo>
                    <a:pt x="15" y="30"/>
                    <a:pt x="11" y="39"/>
                    <a:pt x="7" y="48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6" y="51"/>
                    <a:pt x="6" y="52"/>
                  </a:cubicBezTo>
                  <a:cubicBezTo>
                    <a:pt x="8" y="52"/>
                    <a:pt x="10" y="52"/>
                    <a:pt x="11" y="52"/>
                  </a:cubicBezTo>
                  <a:cubicBezTo>
                    <a:pt x="12" y="52"/>
                    <a:pt x="13" y="51"/>
                    <a:pt x="13" y="51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52" y="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04" name="Freeform 898">
              <a:extLst>
                <a:ext uri="{FF2B5EF4-FFF2-40B4-BE49-F238E27FC236}">
                  <a16:creationId xmlns:a16="http://schemas.microsoft.com/office/drawing/2014/main" id="{84B63F54-6CB4-4DEA-AF8C-F2996C42D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2490" y="2411640"/>
              <a:ext cx="50583" cy="39202"/>
            </a:xfrm>
            <a:custGeom>
              <a:avLst/>
              <a:gdLst>
                <a:gd name="T0" fmla="*/ 23 w 28"/>
                <a:gd name="T1" fmla="*/ 19 h 21"/>
                <a:gd name="T2" fmla="*/ 14 w 28"/>
                <a:gd name="T3" fmla="*/ 10 h 21"/>
                <a:gd name="T4" fmla="*/ 8 w 28"/>
                <a:gd name="T5" fmla="*/ 7 h 21"/>
                <a:gd name="T6" fmla="*/ 10 w 28"/>
                <a:gd name="T7" fmla="*/ 10 h 21"/>
                <a:gd name="T8" fmla="*/ 15 w 28"/>
                <a:gd name="T9" fmla="*/ 18 h 21"/>
                <a:gd name="T10" fmla="*/ 10 w 28"/>
                <a:gd name="T11" fmla="*/ 21 h 21"/>
                <a:gd name="T12" fmla="*/ 5 w 28"/>
                <a:gd name="T13" fmla="*/ 14 h 21"/>
                <a:gd name="T14" fmla="*/ 1 w 28"/>
                <a:gd name="T15" fmla="*/ 7 h 21"/>
                <a:gd name="T16" fmla="*/ 2 w 28"/>
                <a:gd name="T17" fmla="*/ 1 h 21"/>
                <a:gd name="T18" fmla="*/ 3 w 28"/>
                <a:gd name="T19" fmla="*/ 1 h 21"/>
                <a:gd name="T20" fmla="*/ 17 w 28"/>
                <a:gd name="T21" fmla="*/ 5 h 21"/>
                <a:gd name="T22" fmla="*/ 28 w 28"/>
                <a:gd name="T23" fmla="*/ 15 h 21"/>
                <a:gd name="T24" fmla="*/ 23 w 28"/>
                <a:gd name="T25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1">
                  <a:moveTo>
                    <a:pt x="23" y="19"/>
                  </a:moveTo>
                  <a:cubicBezTo>
                    <a:pt x="21" y="16"/>
                    <a:pt x="17" y="13"/>
                    <a:pt x="14" y="10"/>
                  </a:cubicBezTo>
                  <a:cubicBezTo>
                    <a:pt x="12" y="9"/>
                    <a:pt x="10" y="8"/>
                    <a:pt x="8" y="7"/>
                  </a:cubicBezTo>
                  <a:cubicBezTo>
                    <a:pt x="9" y="8"/>
                    <a:pt x="9" y="9"/>
                    <a:pt x="10" y="10"/>
                  </a:cubicBezTo>
                  <a:cubicBezTo>
                    <a:pt x="12" y="13"/>
                    <a:pt x="15" y="16"/>
                    <a:pt x="15" y="18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9" y="19"/>
                    <a:pt x="7" y="16"/>
                    <a:pt x="5" y="14"/>
                  </a:cubicBezTo>
                  <a:cubicBezTo>
                    <a:pt x="4" y="11"/>
                    <a:pt x="2" y="9"/>
                    <a:pt x="1" y="7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7" y="0"/>
                    <a:pt x="12" y="2"/>
                    <a:pt x="17" y="5"/>
                  </a:cubicBezTo>
                  <a:cubicBezTo>
                    <a:pt x="21" y="8"/>
                    <a:pt x="25" y="12"/>
                    <a:pt x="28" y="15"/>
                  </a:cubicBezTo>
                  <a:lnTo>
                    <a:pt x="23" y="1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05" name="Freeform 899">
              <a:extLst>
                <a:ext uri="{FF2B5EF4-FFF2-40B4-BE49-F238E27FC236}">
                  <a16:creationId xmlns:a16="http://schemas.microsoft.com/office/drawing/2014/main" id="{12C35675-3187-4528-86B5-861D49952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2490" y="2472340"/>
              <a:ext cx="50583" cy="37938"/>
            </a:xfrm>
            <a:custGeom>
              <a:avLst/>
              <a:gdLst>
                <a:gd name="T0" fmla="*/ 28 w 28"/>
                <a:gd name="T1" fmla="*/ 6 h 21"/>
                <a:gd name="T2" fmla="*/ 17 w 28"/>
                <a:gd name="T3" fmla="*/ 15 h 21"/>
                <a:gd name="T4" fmla="*/ 3 w 28"/>
                <a:gd name="T5" fmla="*/ 20 h 21"/>
                <a:gd name="T6" fmla="*/ 2 w 28"/>
                <a:gd name="T7" fmla="*/ 20 h 21"/>
                <a:gd name="T8" fmla="*/ 1 w 28"/>
                <a:gd name="T9" fmla="*/ 14 h 21"/>
                <a:gd name="T10" fmla="*/ 5 w 28"/>
                <a:gd name="T11" fmla="*/ 7 h 21"/>
                <a:gd name="T12" fmla="*/ 10 w 28"/>
                <a:gd name="T13" fmla="*/ 0 h 21"/>
                <a:gd name="T14" fmla="*/ 15 w 28"/>
                <a:gd name="T15" fmla="*/ 2 h 21"/>
                <a:gd name="T16" fmla="*/ 10 w 28"/>
                <a:gd name="T17" fmla="*/ 10 h 21"/>
                <a:gd name="T18" fmla="*/ 8 w 28"/>
                <a:gd name="T19" fmla="*/ 14 h 21"/>
                <a:gd name="T20" fmla="*/ 14 w 28"/>
                <a:gd name="T21" fmla="*/ 11 h 21"/>
                <a:gd name="T22" fmla="*/ 23 w 28"/>
                <a:gd name="T23" fmla="*/ 2 h 21"/>
                <a:gd name="T24" fmla="*/ 28 w 28"/>
                <a:gd name="T25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1">
                  <a:moveTo>
                    <a:pt x="28" y="6"/>
                  </a:moveTo>
                  <a:cubicBezTo>
                    <a:pt x="25" y="9"/>
                    <a:pt x="21" y="13"/>
                    <a:pt x="17" y="15"/>
                  </a:cubicBezTo>
                  <a:cubicBezTo>
                    <a:pt x="12" y="19"/>
                    <a:pt x="7" y="21"/>
                    <a:pt x="3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1" y="14"/>
                  </a:cubicBezTo>
                  <a:cubicBezTo>
                    <a:pt x="2" y="12"/>
                    <a:pt x="4" y="9"/>
                    <a:pt x="5" y="7"/>
                  </a:cubicBezTo>
                  <a:cubicBezTo>
                    <a:pt x="7" y="4"/>
                    <a:pt x="9" y="2"/>
                    <a:pt x="10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4"/>
                    <a:pt x="12" y="7"/>
                    <a:pt x="10" y="10"/>
                  </a:cubicBezTo>
                  <a:cubicBezTo>
                    <a:pt x="9" y="11"/>
                    <a:pt x="9" y="13"/>
                    <a:pt x="8" y="14"/>
                  </a:cubicBezTo>
                  <a:cubicBezTo>
                    <a:pt x="10" y="13"/>
                    <a:pt x="12" y="12"/>
                    <a:pt x="14" y="11"/>
                  </a:cubicBezTo>
                  <a:cubicBezTo>
                    <a:pt x="17" y="8"/>
                    <a:pt x="21" y="4"/>
                    <a:pt x="23" y="2"/>
                  </a:cubicBezTo>
                  <a:lnTo>
                    <a:pt x="28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06" name="Freeform 900">
              <a:extLst>
                <a:ext uri="{FF2B5EF4-FFF2-40B4-BE49-F238E27FC236}">
                  <a16:creationId xmlns:a16="http://schemas.microsoft.com/office/drawing/2014/main" id="{0453F506-552D-4C3A-9F79-285B1B087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2527" y="2435667"/>
              <a:ext cx="17704" cy="53113"/>
            </a:xfrm>
            <a:custGeom>
              <a:avLst/>
              <a:gdLst>
                <a:gd name="T0" fmla="*/ 5 w 10"/>
                <a:gd name="T1" fmla="*/ 0 h 29"/>
                <a:gd name="T2" fmla="*/ 5 w 10"/>
                <a:gd name="T3" fmla="*/ 29 h 29"/>
                <a:gd name="T4" fmla="*/ 0 w 10"/>
                <a:gd name="T5" fmla="*/ 26 h 29"/>
                <a:gd name="T6" fmla="*/ 0 w 10"/>
                <a:gd name="T7" fmla="*/ 2 h 29"/>
                <a:gd name="T8" fmla="*/ 5 w 10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9">
                  <a:moveTo>
                    <a:pt x="5" y="0"/>
                  </a:moveTo>
                  <a:cubicBezTo>
                    <a:pt x="10" y="9"/>
                    <a:pt x="10" y="19"/>
                    <a:pt x="5" y="2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" y="18"/>
                    <a:pt x="4" y="10"/>
                    <a:pt x="0" y="2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507" name="Freeform 901">
            <a:extLst>
              <a:ext uri="{FF2B5EF4-FFF2-40B4-BE49-F238E27FC236}">
                <a16:creationId xmlns:a16="http://schemas.microsoft.com/office/drawing/2014/main" id="{4F80988C-956A-4792-BBA5-EE8BCE03FFC0}"/>
              </a:ext>
            </a:extLst>
          </p:cNvPr>
          <p:cNvSpPr>
            <a:spLocks noEditPoints="1"/>
          </p:cNvSpPr>
          <p:nvPr/>
        </p:nvSpPr>
        <p:spPr bwMode="auto">
          <a:xfrm>
            <a:off x="6762714" y="777796"/>
            <a:ext cx="313617" cy="166925"/>
          </a:xfrm>
          <a:custGeom>
            <a:avLst/>
            <a:gdLst>
              <a:gd name="T0" fmla="*/ 172 w 173"/>
              <a:gd name="T1" fmla="*/ 60 h 92"/>
              <a:gd name="T2" fmla="*/ 168 w 173"/>
              <a:gd name="T3" fmla="*/ 50 h 92"/>
              <a:gd name="T4" fmla="*/ 99 w 173"/>
              <a:gd name="T5" fmla="*/ 2 h 92"/>
              <a:gd name="T6" fmla="*/ 99 w 173"/>
              <a:gd name="T7" fmla="*/ 2 h 92"/>
              <a:gd name="T8" fmla="*/ 94 w 173"/>
              <a:gd name="T9" fmla="*/ 6 h 92"/>
              <a:gd name="T10" fmla="*/ 97 w 173"/>
              <a:gd name="T11" fmla="*/ 19 h 92"/>
              <a:gd name="T12" fmla="*/ 72 w 173"/>
              <a:gd name="T13" fmla="*/ 12 h 92"/>
              <a:gd name="T14" fmla="*/ 68 w 173"/>
              <a:gd name="T15" fmla="*/ 15 h 92"/>
              <a:gd name="T16" fmla="*/ 71 w 173"/>
              <a:gd name="T17" fmla="*/ 19 h 92"/>
              <a:gd name="T18" fmla="*/ 100 w 173"/>
              <a:gd name="T19" fmla="*/ 27 h 92"/>
              <a:gd name="T20" fmla="*/ 101 w 173"/>
              <a:gd name="T21" fmla="*/ 31 h 92"/>
              <a:gd name="T22" fmla="*/ 69 w 173"/>
              <a:gd name="T23" fmla="*/ 31 h 92"/>
              <a:gd name="T24" fmla="*/ 65 w 173"/>
              <a:gd name="T25" fmla="*/ 34 h 92"/>
              <a:gd name="T26" fmla="*/ 63 w 173"/>
              <a:gd name="T27" fmla="*/ 41 h 92"/>
              <a:gd name="T28" fmla="*/ 51 w 173"/>
              <a:gd name="T29" fmla="*/ 41 h 92"/>
              <a:gd name="T30" fmla="*/ 40 w 173"/>
              <a:gd name="T31" fmla="*/ 32 h 92"/>
              <a:gd name="T32" fmla="*/ 38 w 173"/>
              <a:gd name="T33" fmla="*/ 35 h 92"/>
              <a:gd name="T34" fmla="*/ 40 w 173"/>
              <a:gd name="T35" fmla="*/ 32 h 92"/>
              <a:gd name="T36" fmla="*/ 38 w 173"/>
              <a:gd name="T37" fmla="*/ 31 h 92"/>
              <a:gd name="T38" fmla="*/ 15 w 173"/>
              <a:gd name="T39" fmla="*/ 31 h 92"/>
              <a:gd name="T40" fmla="*/ 11 w 173"/>
              <a:gd name="T41" fmla="*/ 35 h 92"/>
              <a:gd name="T42" fmla="*/ 12 w 173"/>
              <a:gd name="T43" fmla="*/ 37 h 92"/>
              <a:gd name="T44" fmla="*/ 23 w 173"/>
              <a:gd name="T45" fmla="*/ 54 h 92"/>
              <a:gd name="T46" fmla="*/ 4 w 173"/>
              <a:gd name="T47" fmla="*/ 54 h 92"/>
              <a:gd name="T48" fmla="*/ 0 w 173"/>
              <a:gd name="T49" fmla="*/ 58 h 92"/>
              <a:gd name="T50" fmla="*/ 10 w 173"/>
              <a:gd name="T51" fmla="*/ 82 h 92"/>
              <a:gd name="T52" fmla="*/ 34 w 173"/>
              <a:gd name="T53" fmla="*/ 92 h 92"/>
              <a:gd name="T54" fmla="*/ 139 w 173"/>
              <a:gd name="T55" fmla="*/ 92 h 92"/>
              <a:gd name="T56" fmla="*/ 163 w 173"/>
              <a:gd name="T57" fmla="*/ 82 h 92"/>
              <a:gd name="T58" fmla="*/ 172 w 173"/>
              <a:gd name="T59" fmla="*/ 60 h 92"/>
              <a:gd name="T60" fmla="*/ 160 w 173"/>
              <a:gd name="T61" fmla="*/ 54 h 92"/>
              <a:gd name="T62" fmla="*/ 114 w 173"/>
              <a:gd name="T63" fmla="*/ 54 h 92"/>
              <a:gd name="T64" fmla="*/ 103 w 173"/>
              <a:gd name="T65" fmla="*/ 13 h 92"/>
              <a:gd name="T66" fmla="*/ 160 w 173"/>
              <a:gd name="T67" fmla="*/ 54 h 92"/>
              <a:gd name="T68" fmla="*/ 31 w 173"/>
              <a:gd name="T69" fmla="*/ 53 h 92"/>
              <a:gd name="T70" fmla="*/ 22 w 173"/>
              <a:gd name="T71" fmla="*/ 39 h 92"/>
              <a:gd name="T72" fmla="*/ 36 w 173"/>
              <a:gd name="T73" fmla="*/ 39 h 92"/>
              <a:gd name="T74" fmla="*/ 47 w 173"/>
              <a:gd name="T75" fmla="*/ 47 h 92"/>
              <a:gd name="T76" fmla="*/ 49 w 173"/>
              <a:gd name="T77" fmla="*/ 48 h 92"/>
              <a:gd name="T78" fmla="*/ 65 w 173"/>
              <a:gd name="T79" fmla="*/ 48 h 92"/>
              <a:gd name="T80" fmla="*/ 69 w 173"/>
              <a:gd name="T81" fmla="*/ 46 h 92"/>
              <a:gd name="T82" fmla="*/ 65 w 173"/>
              <a:gd name="T83" fmla="*/ 45 h 92"/>
              <a:gd name="T84" fmla="*/ 69 w 173"/>
              <a:gd name="T85" fmla="*/ 46 h 92"/>
              <a:gd name="T86" fmla="*/ 71 w 173"/>
              <a:gd name="T87" fmla="*/ 38 h 92"/>
              <a:gd name="T88" fmla="*/ 103 w 173"/>
              <a:gd name="T89" fmla="*/ 38 h 92"/>
              <a:gd name="T90" fmla="*/ 107 w 173"/>
              <a:gd name="T91" fmla="*/ 54 h 92"/>
              <a:gd name="T92" fmla="*/ 32 w 173"/>
              <a:gd name="T93" fmla="*/ 54 h 92"/>
              <a:gd name="T94" fmla="*/ 31 w 173"/>
              <a:gd name="T95" fmla="*/ 53 h 92"/>
              <a:gd name="T96" fmla="*/ 158 w 173"/>
              <a:gd name="T97" fmla="*/ 77 h 92"/>
              <a:gd name="T98" fmla="*/ 139 w 173"/>
              <a:gd name="T99" fmla="*/ 85 h 92"/>
              <a:gd name="T100" fmla="*/ 34 w 173"/>
              <a:gd name="T101" fmla="*/ 85 h 92"/>
              <a:gd name="T102" fmla="*/ 15 w 173"/>
              <a:gd name="T103" fmla="*/ 77 h 92"/>
              <a:gd name="T104" fmla="*/ 7 w 173"/>
              <a:gd name="T105" fmla="*/ 61 h 92"/>
              <a:gd name="T106" fmla="*/ 166 w 173"/>
              <a:gd name="T107" fmla="*/ 61 h 92"/>
              <a:gd name="T108" fmla="*/ 158 w 173"/>
              <a:gd name="T109" fmla="*/ 77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3" h="92">
                <a:moveTo>
                  <a:pt x="172" y="60"/>
                </a:moveTo>
                <a:cubicBezTo>
                  <a:pt x="173" y="57"/>
                  <a:pt x="171" y="53"/>
                  <a:pt x="168" y="50"/>
                </a:cubicBezTo>
                <a:cubicBezTo>
                  <a:pt x="99" y="2"/>
                  <a:pt x="99" y="2"/>
                  <a:pt x="99" y="2"/>
                </a:cubicBezTo>
                <a:cubicBezTo>
                  <a:pt x="99" y="2"/>
                  <a:pt x="99" y="2"/>
                  <a:pt x="99" y="2"/>
                </a:cubicBezTo>
                <a:cubicBezTo>
                  <a:pt x="97" y="0"/>
                  <a:pt x="93" y="2"/>
                  <a:pt x="94" y="6"/>
                </a:cubicBezTo>
                <a:cubicBezTo>
                  <a:pt x="97" y="19"/>
                  <a:pt x="97" y="19"/>
                  <a:pt x="97" y="19"/>
                </a:cubicBezTo>
                <a:cubicBezTo>
                  <a:pt x="72" y="12"/>
                  <a:pt x="72" y="12"/>
                  <a:pt x="72" y="12"/>
                </a:cubicBezTo>
                <a:cubicBezTo>
                  <a:pt x="71" y="12"/>
                  <a:pt x="69" y="13"/>
                  <a:pt x="68" y="15"/>
                </a:cubicBezTo>
                <a:cubicBezTo>
                  <a:pt x="67" y="17"/>
                  <a:pt x="69" y="19"/>
                  <a:pt x="71" y="19"/>
                </a:cubicBezTo>
                <a:cubicBezTo>
                  <a:pt x="100" y="27"/>
                  <a:pt x="100" y="27"/>
                  <a:pt x="100" y="27"/>
                </a:cubicBezTo>
                <a:cubicBezTo>
                  <a:pt x="101" y="31"/>
                  <a:pt x="101" y="31"/>
                  <a:pt x="101" y="31"/>
                </a:cubicBezTo>
                <a:cubicBezTo>
                  <a:pt x="69" y="31"/>
                  <a:pt x="69" y="31"/>
                  <a:pt x="69" y="31"/>
                </a:cubicBezTo>
                <a:cubicBezTo>
                  <a:pt x="67" y="31"/>
                  <a:pt x="66" y="32"/>
                  <a:pt x="65" y="34"/>
                </a:cubicBezTo>
                <a:cubicBezTo>
                  <a:pt x="63" y="41"/>
                  <a:pt x="63" y="41"/>
                  <a:pt x="63" y="41"/>
                </a:cubicBezTo>
                <a:cubicBezTo>
                  <a:pt x="51" y="41"/>
                  <a:pt x="51" y="41"/>
                  <a:pt x="51" y="41"/>
                </a:cubicBezTo>
                <a:cubicBezTo>
                  <a:pt x="40" y="32"/>
                  <a:pt x="40" y="32"/>
                  <a:pt x="40" y="32"/>
                </a:cubicBezTo>
                <a:cubicBezTo>
                  <a:pt x="38" y="35"/>
                  <a:pt x="38" y="35"/>
                  <a:pt x="38" y="35"/>
                </a:cubicBezTo>
                <a:cubicBezTo>
                  <a:pt x="40" y="32"/>
                  <a:pt x="40" y="32"/>
                  <a:pt x="40" y="32"/>
                </a:cubicBezTo>
                <a:cubicBezTo>
                  <a:pt x="39" y="32"/>
                  <a:pt x="39" y="31"/>
                  <a:pt x="38" y="31"/>
                </a:cubicBezTo>
                <a:cubicBezTo>
                  <a:pt x="15" y="31"/>
                  <a:pt x="15" y="31"/>
                  <a:pt x="15" y="31"/>
                </a:cubicBezTo>
                <a:cubicBezTo>
                  <a:pt x="13" y="31"/>
                  <a:pt x="11" y="33"/>
                  <a:pt x="11" y="35"/>
                </a:cubicBezTo>
                <a:cubicBezTo>
                  <a:pt x="11" y="36"/>
                  <a:pt x="11" y="37"/>
                  <a:pt x="12" y="37"/>
                </a:cubicBezTo>
                <a:cubicBezTo>
                  <a:pt x="23" y="54"/>
                  <a:pt x="23" y="54"/>
                  <a:pt x="23" y="54"/>
                </a:cubicBezTo>
                <a:cubicBezTo>
                  <a:pt x="4" y="54"/>
                  <a:pt x="4" y="54"/>
                  <a:pt x="4" y="54"/>
                </a:cubicBezTo>
                <a:cubicBezTo>
                  <a:pt x="1" y="54"/>
                  <a:pt x="0" y="56"/>
                  <a:pt x="0" y="58"/>
                </a:cubicBezTo>
                <a:cubicBezTo>
                  <a:pt x="1" y="64"/>
                  <a:pt x="3" y="76"/>
                  <a:pt x="10" y="82"/>
                </a:cubicBezTo>
                <a:cubicBezTo>
                  <a:pt x="16" y="88"/>
                  <a:pt x="25" y="92"/>
                  <a:pt x="34" y="92"/>
                </a:cubicBezTo>
                <a:cubicBezTo>
                  <a:pt x="139" y="92"/>
                  <a:pt x="139" y="92"/>
                  <a:pt x="139" y="92"/>
                </a:cubicBezTo>
                <a:cubicBezTo>
                  <a:pt x="148" y="92"/>
                  <a:pt x="157" y="88"/>
                  <a:pt x="163" y="82"/>
                </a:cubicBezTo>
                <a:cubicBezTo>
                  <a:pt x="169" y="76"/>
                  <a:pt x="171" y="67"/>
                  <a:pt x="172" y="60"/>
                </a:cubicBezTo>
                <a:moveTo>
                  <a:pt x="160" y="54"/>
                </a:moveTo>
                <a:cubicBezTo>
                  <a:pt x="114" y="54"/>
                  <a:pt x="114" y="54"/>
                  <a:pt x="114" y="54"/>
                </a:cubicBezTo>
                <a:cubicBezTo>
                  <a:pt x="103" y="13"/>
                  <a:pt x="103" y="13"/>
                  <a:pt x="103" y="13"/>
                </a:cubicBezTo>
                <a:lnTo>
                  <a:pt x="160" y="54"/>
                </a:lnTo>
                <a:close/>
                <a:moveTo>
                  <a:pt x="31" y="53"/>
                </a:moveTo>
                <a:cubicBezTo>
                  <a:pt x="22" y="39"/>
                  <a:pt x="22" y="39"/>
                  <a:pt x="22" y="39"/>
                </a:cubicBezTo>
                <a:cubicBezTo>
                  <a:pt x="36" y="39"/>
                  <a:pt x="36" y="39"/>
                  <a:pt x="36" y="39"/>
                </a:cubicBezTo>
                <a:cubicBezTo>
                  <a:pt x="47" y="47"/>
                  <a:pt x="47" y="47"/>
                  <a:pt x="47" y="47"/>
                </a:cubicBezTo>
                <a:cubicBezTo>
                  <a:pt x="47" y="48"/>
                  <a:pt x="48" y="48"/>
                  <a:pt x="49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7" y="48"/>
                  <a:pt x="68" y="47"/>
                  <a:pt x="69" y="46"/>
                </a:cubicBezTo>
                <a:cubicBezTo>
                  <a:pt x="65" y="45"/>
                  <a:pt x="65" y="45"/>
                  <a:pt x="65" y="45"/>
                </a:cubicBezTo>
                <a:cubicBezTo>
                  <a:pt x="69" y="46"/>
                  <a:pt x="69" y="46"/>
                  <a:pt x="69" y="46"/>
                </a:cubicBezTo>
                <a:cubicBezTo>
                  <a:pt x="71" y="38"/>
                  <a:pt x="71" y="38"/>
                  <a:pt x="71" y="38"/>
                </a:cubicBezTo>
                <a:cubicBezTo>
                  <a:pt x="103" y="38"/>
                  <a:pt x="103" y="38"/>
                  <a:pt x="103" y="38"/>
                </a:cubicBezTo>
                <a:cubicBezTo>
                  <a:pt x="107" y="54"/>
                  <a:pt x="107" y="54"/>
                  <a:pt x="107" y="54"/>
                </a:cubicBezTo>
                <a:cubicBezTo>
                  <a:pt x="32" y="54"/>
                  <a:pt x="32" y="54"/>
                  <a:pt x="32" y="54"/>
                </a:cubicBezTo>
                <a:cubicBezTo>
                  <a:pt x="32" y="54"/>
                  <a:pt x="32" y="53"/>
                  <a:pt x="31" y="53"/>
                </a:cubicBezTo>
                <a:moveTo>
                  <a:pt x="158" y="77"/>
                </a:moveTo>
                <a:cubicBezTo>
                  <a:pt x="153" y="82"/>
                  <a:pt x="146" y="85"/>
                  <a:pt x="139" y="85"/>
                </a:cubicBezTo>
                <a:cubicBezTo>
                  <a:pt x="34" y="85"/>
                  <a:pt x="34" y="85"/>
                  <a:pt x="34" y="85"/>
                </a:cubicBezTo>
                <a:cubicBezTo>
                  <a:pt x="27" y="85"/>
                  <a:pt x="20" y="82"/>
                  <a:pt x="15" y="77"/>
                </a:cubicBezTo>
                <a:cubicBezTo>
                  <a:pt x="11" y="73"/>
                  <a:pt x="8" y="67"/>
                  <a:pt x="7" y="61"/>
                </a:cubicBezTo>
                <a:cubicBezTo>
                  <a:pt x="166" y="61"/>
                  <a:pt x="166" y="61"/>
                  <a:pt x="166" y="61"/>
                </a:cubicBezTo>
                <a:cubicBezTo>
                  <a:pt x="165" y="67"/>
                  <a:pt x="162" y="73"/>
                  <a:pt x="158" y="77"/>
                </a:cubicBezTo>
              </a:path>
            </a:pathLst>
          </a:custGeom>
          <a:solidFill>
            <a:srgbClr val="2121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1668" name="Agrupar 1667">
            <a:extLst>
              <a:ext uri="{FF2B5EF4-FFF2-40B4-BE49-F238E27FC236}">
                <a16:creationId xmlns:a16="http://schemas.microsoft.com/office/drawing/2014/main" id="{C17AEACD-46CB-44CE-998E-BE75D072FA3F}"/>
              </a:ext>
            </a:extLst>
          </p:cNvPr>
          <p:cNvGrpSpPr/>
          <p:nvPr/>
        </p:nvGrpSpPr>
        <p:grpSpPr>
          <a:xfrm>
            <a:off x="4776050" y="3790038"/>
            <a:ext cx="295913" cy="160603"/>
            <a:chOff x="4776050" y="3790038"/>
            <a:chExt cx="295913" cy="160603"/>
          </a:xfrm>
        </p:grpSpPr>
        <p:sp>
          <p:nvSpPr>
            <p:cNvPr id="1508" name="Freeform 902">
              <a:extLst>
                <a:ext uri="{FF2B5EF4-FFF2-40B4-BE49-F238E27FC236}">
                  <a16:creationId xmlns:a16="http://schemas.microsoft.com/office/drawing/2014/main" id="{F0C36C5F-199D-46EF-AECE-9DA85F71DF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8929" y="3896264"/>
              <a:ext cx="54377" cy="54377"/>
            </a:xfrm>
            <a:custGeom>
              <a:avLst/>
              <a:gdLst>
                <a:gd name="T0" fmla="*/ 15 w 30"/>
                <a:gd name="T1" fmla="*/ 0 h 30"/>
                <a:gd name="T2" fmla="*/ 26 w 30"/>
                <a:gd name="T3" fmla="*/ 5 h 30"/>
                <a:gd name="T4" fmla="*/ 30 w 30"/>
                <a:gd name="T5" fmla="*/ 15 h 30"/>
                <a:gd name="T6" fmla="*/ 26 w 30"/>
                <a:gd name="T7" fmla="*/ 26 h 30"/>
                <a:gd name="T8" fmla="*/ 15 w 30"/>
                <a:gd name="T9" fmla="*/ 30 h 30"/>
                <a:gd name="T10" fmla="*/ 5 w 30"/>
                <a:gd name="T11" fmla="*/ 26 h 30"/>
                <a:gd name="T12" fmla="*/ 0 w 30"/>
                <a:gd name="T13" fmla="*/ 15 h 30"/>
                <a:gd name="T14" fmla="*/ 5 w 30"/>
                <a:gd name="T15" fmla="*/ 5 h 30"/>
                <a:gd name="T16" fmla="*/ 15 w 30"/>
                <a:gd name="T17" fmla="*/ 0 h 30"/>
                <a:gd name="T18" fmla="*/ 21 w 30"/>
                <a:gd name="T19" fmla="*/ 10 h 30"/>
                <a:gd name="T20" fmla="*/ 15 w 30"/>
                <a:gd name="T21" fmla="*/ 7 h 30"/>
                <a:gd name="T22" fmla="*/ 10 w 30"/>
                <a:gd name="T23" fmla="*/ 10 h 30"/>
                <a:gd name="T24" fmla="*/ 7 w 30"/>
                <a:gd name="T25" fmla="*/ 15 h 30"/>
                <a:gd name="T26" fmla="*/ 10 w 30"/>
                <a:gd name="T27" fmla="*/ 21 h 30"/>
                <a:gd name="T28" fmla="*/ 15 w 30"/>
                <a:gd name="T29" fmla="*/ 24 h 30"/>
                <a:gd name="T30" fmla="*/ 21 w 30"/>
                <a:gd name="T31" fmla="*/ 21 h 30"/>
                <a:gd name="T32" fmla="*/ 24 w 30"/>
                <a:gd name="T33" fmla="*/ 15 h 30"/>
                <a:gd name="T34" fmla="*/ 21 w 30"/>
                <a:gd name="T35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9" y="0"/>
                    <a:pt x="23" y="2"/>
                    <a:pt x="26" y="5"/>
                  </a:cubicBezTo>
                  <a:cubicBezTo>
                    <a:pt x="29" y="7"/>
                    <a:pt x="30" y="11"/>
                    <a:pt x="30" y="15"/>
                  </a:cubicBezTo>
                  <a:cubicBezTo>
                    <a:pt x="30" y="19"/>
                    <a:pt x="29" y="23"/>
                    <a:pt x="26" y="26"/>
                  </a:cubicBezTo>
                  <a:cubicBezTo>
                    <a:pt x="23" y="29"/>
                    <a:pt x="19" y="30"/>
                    <a:pt x="15" y="30"/>
                  </a:cubicBezTo>
                  <a:cubicBezTo>
                    <a:pt x="11" y="30"/>
                    <a:pt x="7" y="29"/>
                    <a:pt x="5" y="26"/>
                  </a:cubicBezTo>
                  <a:cubicBezTo>
                    <a:pt x="2" y="23"/>
                    <a:pt x="0" y="19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moveTo>
                    <a:pt x="21" y="10"/>
                  </a:moveTo>
                  <a:cubicBezTo>
                    <a:pt x="20" y="8"/>
                    <a:pt x="18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1"/>
                    <a:pt x="7" y="13"/>
                    <a:pt x="7" y="15"/>
                  </a:cubicBezTo>
                  <a:cubicBezTo>
                    <a:pt x="7" y="18"/>
                    <a:pt x="8" y="20"/>
                    <a:pt x="10" y="21"/>
                  </a:cubicBezTo>
                  <a:cubicBezTo>
                    <a:pt x="11" y="23"/>
                    <a:pt x="13" y="24"/>
                    <a:pt x="15" y="24"/>
                  </a:cubicBezTo>
                  <a:cubicBezTo>
                    <a:pt x="18" y="24"/>
                    <a:pt x="20" y="23"/>
                    <a:pt x="21" y="21"/>
                  </a:cubicBezTo>
                  <a:cubicBezTo>
                    <a:pt x="23" y="20"/>
                    <a:pt x="24" y="18"/>
                    <a:pt x="24" y="15"/>
                  </a:cubicBezTo>
                  <a:cubicBezTo>
                    <a:pt x="24" y="13"/>
                    <a:pt x="23" y="11"/>
                    <a:pt x="21" y="1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09" name="Freeform 903">
              <a:extLst>
                <a:ext uri="{FF2B5EF4-FFF2-40B4-BE49-F238E27FC236}">
                  <a16:creationId xmlns:a16="http://schemas.microsoft.com/office/drawing/2014/main" id="{D83946BF-8484-4E90-9569-380FA2C798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707" y="3896264"/>
              <a:ext cx="54377" cy="54377"/>
            </a:xfrm>
            <a:custGeom>
              <a:avLst/>
              <a:gdLst>
                <a:gd name="T0" fmla="*/ 15 w 30"/>
                <a:gd name="T1" fmla="*/ 0 h 30"/>
                <a:gd name="T2" fmla="*/ 26 w 30"/>
                <a:gd name="T3" fmla="*/ 5 h 30"/>
                <a:gd name="T4" fmla="*/ 30 w 30"/>
                <a:gd name="T5" fmla="*/ 15 h 30"/>
                <a:gd name="T6" fmla="*/ 26 w 30"/>
                <a:gd name="T7" fmla="*/ 26 h 30"/>
                <a:gd name="T8" fmla="*/ 15 w 30"/>
                <a:gd name="T9" fmla="*/ 30 h 30"/>
                <a:gd name="T10" fmla="*/ 4 w 30"/>
                <a:gd name="T11" fmla="*/ 26 h 30"/>
                <a:gd name="T12" fmla="*/ 0 w 30"/>
                <a:gd name="T13" fmla="*/ 15 h 30"/>
                <a:gd name="T14" fmla="*/ 4 w 30"/>
                <a:gd name="T15" fmla="*/ 5 h 30"/>
                <a:gd name="T16" fmla="*/ 15 w 30"/>
                <a:gd name="T17" fmla="*/ 0 h 30"/>
                <a:gd name="T18" fmla="*/ 21 w 30"/>
                <a:gd name="T19" fmla="*/ 10 h 30"/>
                <a:gd name="T20" fmla="*/ 15 w 30"/>
                <a:gd name="T21" fmla="*/ 7 h 30"/>
                <a:gd name="T22" fmla="*/ 9 w 30"/>
                <a:gd name="T23" fmla="*/ 10 h 30"/>
                <a:gd name="T24" fmla="*/ 7 w 30"/>
                <a:gd name="T25" fmla="*/ 15 h 30"/>
                <a:gd name="T26" fmla="*/ 9 w 30"/>
                <a:gd name="T27" fmla="*/ 21 h 30"/>
                <a:gd name="T28" fmla="*/ 15 w 30"/>
                <a:gd name="T29" fmla="*/ 24 h 30"/>
                <a:gd name="T30" fmla="*/ 21 w 30"/>
                <a:gd name="T31" fmla="*/ 21 h 30"/>
                <a:gd name="T32" fmla="*/ 23 w 30"/>
                <a:gd name="T33" fmla="*/ 15 h 30"/>
                <a:gd name="T34" fmla="*/ 21 w 30"/>
                <a:gd name="T35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9" y="0"/>
                    <a:pt x="23" y="2"/>
                    <a:pt x="26" y="5"/>
                  </a:cubicBezTo>
                  <a:cubicBezTo>
                    <a:pt x="28" y="7"/>
                    <a:pt x="30" y="11"/>
                    <a:pt x="30" y="15"/>
                  </a:cubicBezTo>
                  <a:cubicBezTo>
                    <a:pt x="30" y="19"/>
                    <a:pt x="28" y="23"/>
                    <a:pt x="26" y="26"/>
                  </a:cubicBezTo>
                  <a:cubicBezTo>
                    <a:pt x="23" y="29"/>
                    <a:pt x="19" y="30"/>
                    <a:pt x="15" y="30"/>
                  </a:cubicBezTo>
                  <a:cubicBezTo>
                    <a:pt x="11" y="30"/>
                    <a:pt x="7" y="29"/>
                    <a:pt x="4" y="26"/>
                  </a:cubicBezTo>
                  <a:cubicBezTo>
                    <a:pt x="2" y="23"/>
                    <a:pt x="0" y="19"/>
                    <a:pt x="0" y="15"/>
                  </a:cubicBezTo>
                  <a:cubicBezTo>
                    <a:pt x="0" y="11"/>
                    <a:pt x="2" y="7"/>
                    <a:pt x="4" y="5"/>
                  </a:cubicBezTo>
                  <a:cubicBezTo>
                    <a:pt x="7" y="2"/>
                    <a:pt x="11" y="0"/>
                    <a:pt x="15" y="0"/>
                  </a:cubicBezTo>
                  <a:moveTo>
                    <a:pt x="21" y="10"/>
                  </a:moveTo>
                  <a:cubicBezTo>
                    <a:pt x="19" y="8"/>
                    <a:pt x="17" y="7"/>
                    <a:pt x="15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1"/>
                    <a:pt x="7" y="13"/>
                    <a:pt x="7" y="15"/>
                  </a:cubicBezTo>
                  <a:cubicBezTo>
                    <a:pt x="7" y="18"/>
                    <a:pt x="8" y="20"/>
                    <a:pt x="9" y="21"/>
                  </a:cubicBezTo>
                  <a:cubicBezTo>
                    <a:pt x="11" y="23"/>
                    <a:pt x="13" y="24"/>
                    <a:pt x="15" y="24"/>
                  </a:cubicBezTo>
                  <a:cubicBezTo>
                    <a:pt x="17" y="24"/>
                    <a:pt x="19" y="23"/>
                    <a:pt x="21" y="21"/>
                  </a:cubicBezTo>
                  <a:cubicBezTo>
                    <a:pt x="22" y="20"/>
                    <a:pt x="23" y="18"/>
                    <a:pt x="23" y="15"/>
                  </a:cubicBezTo>
                  <a:cubicBezTo>
                    <a:pt x="23" y="13"/>
                    <a:pt x="22" y="11"/>
                    <a:pt x="21" y="1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0" name="Freeform 904">
              <a:extLst>
                <a:ext uri="{FF2B5EF4-FFF2-40B4-BE49-F238E27FC236}">
                  <a16:creationId xmlns:a16="http://schemas.microsoft.com/office/drawing/2014/main" id="{A81F31EE-7DE1-46B0-A29C-424B7B1DBD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6050" y="3846945"/>
              <a:ext cx="295913" cy="74611"/>
            </a:xfrm>
            <a:custGeom>
              <a:avLst/>
              <a:gdLst>
                <a:gd name="T0" fmla="*/ 12 w 163"/>
                <a:gd name="T1" fmla="*/ 0 h 41"/>
                <a:gd name="T2" fmla="*/ 151 w 163"/>
                <a:gd name="T3" fmla="*/ 0 h 41"/>
                <a:gd name="T4" fmla="*/ 159 w 163"/>
                <a:gd name="T5" fmla="*/ 3 h 41"/>
                <a:gd name="T6" fmla="*/ 163 w 163"/>
                <a:gd name="T7" fmla="*/ 11 h 41"/>
                <a:gd name="T8" fmla="*/ 163 w 163"/>
                <a:gd name="T9" fmla="*/ 31 h 41"/>
                <a:gd name="T10" fmla="*/ 159 w 163"/>
                <a:gd name="T11" fmla="*/ 38 h 41"/>
                <a:gd name="T12" fmla="*/ 151 w 163"/>
                <a:gd name="T13" fmla="*/ 41 h 41"/>
                <a:gd name="T14" fmla="*/ 145 w 163"/>
                <a:gd name="T15" fmla="*/ 41 h 41"/>
                <a:gd name="T16" fmla="*/ 143 w 163"/>
                <a:gd name="T17" fmla="*/ 34 h 41"/>
                <a:gd name="T18" fmla="*/ 151 w 163"/>
                <a:gd name="T19" fmla="*/ 34 h 41"/>
                <a:gd name="T20" fmla="*/ 155 w 163"/>
                <a:gd name="T21" fmla="*/ 33 h 41"/>
                <a:gd name="T22" fmla="*/ 156 w 163"/>
                <a:gd name="T23" fmla="*/ 31 h 41"/>
                <a:gd name="T24" fmla="*/ 156 w 163"/>
                <a:gd name="T25" fmla="*/ 11 h 41"/>
                <a:gd name="T26" fmla="*/ 155 w 163"/>
                <a:gd name="T27" fmla="*/ 8 h 41"/>
                <a:gd name="T28" fmla="*/ 151 w 163"/>
                <a:gd name="T29" fmla="*/ 7 h 41"/>
                <a:gd name="T30" fmla="*/ 12 w 163"/>
                <a:gd name="T31" fmla="*/ 7 h 41"/>
                <a:gd name="T32" fmla="*/ 8 w 163"/>
                <a:gd name="T33" fmla="*/ 8 h 41"/>
                <a:gd name="T34" fmla="*/ 7 w 163"/>
                <a:gd name="T35" fmla="*/ 11 h 41"/>
                <a:gd name="T36" fmla="*/ 7 w 163"/>
                <a:gd name="T37" fmla="*/ 31 h 41"/>
                <a:gd name="T38" fmla="*/ 8 w 163"/>
                <a:gd name="T39" fmla="*/ 33 h 41"/>
                <a:gd name="T40" fmla="*/ 12 w 163"/>
                <a:gd name="T41" fmla="*/ 34 h 41"/>
                <a:gd name="T42" fmla="*/ 21 w 163"/>
                <a:gd name="T43" fmla="*/ 34 h 41"/>
                <a:gd name="T44" fmla="*/ 18 w 163"/>
                <a:gd name="T45" fmla="*/ 41 h 41"/>
                <a:gd name="T46" fmla="*/ 12 w 163"/>
                <a:gd name="T47" fmla="*/ 41 h 41"/>
                <a:gd name="T48" fmla="*/ 4 w 163"/>
                <a:gd name="T49" fmla="*/ 38 h 41"/>
                <a:gd name="T50" fmla="*/ 0 w 163"/>
                <a:gd name="T51" fmla="*/ 31 h 41"/>
                <a:gd name="T52" fmla="*/ 0 w 163"/>
                <a:gd name="T53" fmla="*/ 11 h 41"/>
                <a:gd name="T54" fmla="*/ 4 w 163"/>
                <a:gd name="T55" fmla="*/ 3 h 41"/>
                <a:gd name="T56" fmla="*/ 12 w 163"/>
                <a:gd name="T57" fmla="*/ 0 h 41"/>
                <a:gd name="T58" fmla="*/ 115 w 163"/>
                <a:gd name="T59" fmla="*/ 41 h 41"/>
                <a:gd name="T60" fmla="*/ 117 w 163"/>
                <a:gd name="T61" fmla="*/ 34 h 41"/>
                <a:gd name="T62" fmla="*/ 46 w 163"/>
                <a:gd name="T63" fmla="*/ 34 h 41"/>
                <a:gd name="T64" fmla="*/ 48 w 163"/>
                <a:gd name="T65" fmla="*/ 41 h 41"/>
                <a:gd name="T66" fmla="*/ 115 w 163"/>
                <a:gd name="T6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3" h="41">
                  <a:moveTo>
                    <a:pt x="12" y="0"/>
                  </a:move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1"/>
                    <a:pt x="159" y="3"/>
                  </a:cubicBezTo>
                  <a:cubicBezTo>
                    <a:pt x="162" y="5"/>
                    <a:pt x="163" y="8"/>
                    <a:pt x="163" y="11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3" y="34"/>
                    <a:pt x="162" y="36"/>
                    <a:pt x="159" y="38"/>
                  </a:cubicBezTo>
                  <a:cubicBezTo>
                    <a:pt x="157" y="40"/>
                    <a:pt x="154" y="41"/>
                    <a:pt x="151" y="41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5" y="39"/>
                    <a:pt x="144" y="36"/>
                    <a:pt x="143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3" y="34"/>
                    <a:pt x="154" y="34"/>
                    <a:pt x="155" y="33"/>
                  </a:cubicBezTo>
                  <a:cubicBezTo>
                    <a:pt x="156" y="32"/>
                    <a:pt x="156" y="32"/>
                    <a:pt x="156" y="31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6" y="10"/>
                    <a:pt x="156" y="9"/>
                    <a:pt x="155" y="8"/>
                  </a:cubicBezTo>
                  <a:cubicBezTo>
                    <a:pt x="154" y="7"/>
                    <a:pt x="153" y="7"/>
                    <a:pt x="15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9" y="7"/>
                    <a:pt x="8" y="8"/>
                  </a:cubicBezTo>
                  <a:cubicBezTo>
                    <a:pt x="8" y="9"/>
                    <a:pt x="7" y="10"/>
                    <a:pt x="7" y="1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8" y="32"/>
                    <a:pt x="8" y="33"/>
                  </a:cubicBezTo>
                  <a:cubicBezTo>
                    <a:pt x="9" y="34"/>
                    <a:pt x="11" y="34"/>
                    <a:pt x="12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19" y="36"/>
                    <a:pt x="19" y="39"/>
                    <a:pt x="18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9" y="41"/>
                    <a:pt x="6" y="40"/>
                    <a:pt x="4" y="38"/>
                  </a:cubicBezTo>
                  <a:cubicBezTo>
                    <a:pt x="2" y="36"/>
                    <a:pt x="0" y="34"/>
                    <a:pt x="0" y="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2" y="5"/>
                    <a:pt x="4" y="3"/>
                  </a:cubicBezTo>
                  <a:cubicBezTo>
                    <a:pt x="6" y="1"/>
                    <a:pt x="9" y="0"/>
                    <a:pt x="12" y="0"/>
                  </a:cubicBezTo>
                  <a:moveTo>
                    <a:pt x="115" y="41"/>
                  </a:moveTo>
                  <a:cubicBezTo>
                    <a:pt x="115" y="39"/>
                    <a:pt x="116" y="36"/>
                    <a:pt x="117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7" y="36"/>
                    <a:pt x="48" y="39"/>
                    <a:pt x="48" y="41"/>
                  </a:cubicBezTo>
                  <a:lnTo>
                    <a:pt x="115" y="4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1" name="Freeform 905">
              <a:extLst>
                <a:ext uri="{FF2B5EF4-FFF2-40B4-BE49-F238E27FC236}">
                  <a16:creationId xmlns:a16="http://schemas.microsoft.com/office/drawing/2014/main" id="{FDA639FB-BD60-4260-816A-A339B5CE7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1342" y="3790038"/>
              <a:ext cx="217509" cy="69552"/>
            </a:xfrm>
            <a:custGeom>
              <a:avLst/>
              <a:gdLst>
                <a:gd name="T0" fmla="*/ 1 w 120"/>
                <a:gd name="T1" fmla="*/ 32 h 38"/>
                <a:gd name="T2" fmla="*/ 1 w 120"/>
                <a:gd name="T3" fmla="*/ 37 h 38"/>
                <a:gd name="T4" fmla="*/ 6 w 120"/>
                <a:gd name="T5" fmla="*/ 37 h 38"/>
                <a:gd name="T6" fmla="*/ 31 w 120"/>
                <a:gd name="T7" fmla="*/ 7 h 38"/>
                <a:gd name="T8" fmla="*/ 81 w 120"/>
                <a:gd name="T9" fmla="*/ 7 h 38"/>
                <a:gd name="T10" fmla="*/ 114 w 120"/>
                <a:gd name="T11" fmla="*/ 36 h 38"/>
                <a:gd name="T12" fmla="*/ 119 w 120"/>
                <a:gd name="T13" fmla="*/ 36 h 38"/>
                <a:gd name="T14" fmla="*/ 119 w 120"/>
                <a:gd name="T15" fmla="*/ 31 h 38"/>
                <a:gd name="T16" fmla="*/ 84 w 120"/>
                <a:gd name="T17" fmla="*/ 1 h 38"/>
                <a:gd name="T18" fmla="*/ 82 w 120"/>
                <a:gd name="T19" fmla="*/ 0 h 38"/>
                <a:gd name="T20" fmla="*/ 30 w 120"/>
                <a:gd name="T21" fmla="*/ 0 h 38"/>
                <a:gd name="T22" fmla="*/ 27 w 120"/>
                <a:gd name="T23" fmla="*/ 2 h 38"/>
                <a:gd name="T24" fmla="*/ 30 w 120"/>
                <a:gd name="T25" fmla="*/ 4 h 38"/>
                <a:gd name="T26" fmla="*/ 27 w 120"/>
                <a:gd name="T27" fmla="*/ 2 h 38"/>
                <a:gd name="T28" fmla="*/ 1 w 120"/>
                <a:gd name="T2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38">
                  <a:moveTo>
                    <a:pt x="1" y="32"/>
                  </a:moveTo>
                  <a:cubicBezTo>
                    <a:pt x="0" y="34"/>
                    <a:pt x="0" y="36"/>
                    <a:pt x="1" y="37"/>
                  </a:cubicBezTo>
                  <a:cubicBezTo>
                    <a:pt x="3" y="38"/>
                    <a:pt x="5" y="38"/>
                    <a:pt x="6" y="3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6" y="37"/>
                    <a:pt x="118" y="37"/>
                    <a:pt x="119" y="36"/>
                  </a:cubicBezTo>
                  <a:cubicBezTo>
                    <a:pt x="120" y="34"/>
                    <a:pt x="120" y="32"/>
                    <a:pt x="119" y="31"/>
                  </a:cubicBezTo>
                  <a:cubicBezTo>
                    <a:pt x="84" y="1"/>
                    <a:pt x="84" y="1"/>
                    <a:pt x="84" y="1"/>
                  </a:cubicBezTo>
                  <a:cubicBezTo>
                    <a:pt x="84" y="1"/>
                    <a:pt x="83" y="0"/>
                    <a:pt x="8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8" y="1"/>
                    <a:pt x="27" y="2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7" y="2"/>
                    <a:pt x="27" y="2"/>
                    <a:pt x="27" y="2"/>
                  </a:cubicBezTo>
                  <a:lnTo>
                    <a:pt x="1" y="3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2" name="Rectangle 906">
              <a:extLst>
                <a:ext uri="{FF2B5EF4-FFF2-40B4-BE49-F238E27FC236}">
                  <a16:creationId xmlns:a16="http://schemas.microsoft.com/office/drawing/2014/main" id="{A18C73C3-9289-4860-A25F-9A413AB0B8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5038" y="3803949"/>
              <a:ext cx="11381" cy="50583"/>
            </a:xfrm>
            <a:prstGeom prst="rect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3" name="Freeform 907">
              <a:extLst>
                <a:ext uri="{FF2B5EF4-FFF2-40B4-BE49-F238E27FC236}">
                  <a16:creationId xmlns:a16="http://schemas.microsoft.com/office/drawing/2014/main" id="{04911B3C-9565-4356-A33A-0CED649C3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290" y="3870972"/>
              <a:ext cx="31615" cy="12646"/>
            </a:xfrm>
            <a:custGeom>
              <a:avLst/>
              <a:gdLst>
                <a:gd name="T0" fmla="*/ 3 w 17"/>
                <a:gd name="T1" fmla="*/ 0 h 7"/>
                <a:gd name="T2" fmla="*/ 0 w 17"/>
                <a:gd name="T3" fmla="*/ 4 h 7"/>
                <a:gd name="T4" fmla="*/ 3 w 17"/>
                <a:gd name="T5" fmla="*/ 7 h 7"/>
                <a:gd name="T6" fmla="*/ 13 w 17"/>
                <a:gd name="T7" fmla="*/ 7 h 7"/>
                <a:gd name="T8" fmla="*/ 17 w 17"/>
                <a:gd name="T9" fmla="*/ 4 h 7"/>
                <a:gd name="T10" fmla="*/ 13 w 17"/>
                <a:gd name="T11" fmla="*/ 0 h 7"/>
                <a:gd name="T12" fmla="*/ 3 w 17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7">
                  <a:moveTo>
                    <a:pt x="3" y="0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7"/>
                    <a:pt x="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7"/>
                    <a:pt x="17" y="6"/>
                    <a:pt x="17" y="4"/>
                  </a:cubicBezTo>
                  <a:cubicBezTo>
                    <a:pt x="17" y="2"/>
                    <a:pt x="15" y="0"/>
                    <a:pt x="13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4" name="Freeform 908">
              <a:extLst>
                <a:ext uri="{FF2B5EF4-FFF2-40B4-BE49-F238E27FC236}">
                  <a16:creationId xmlns:a16="http://schemas.microsoft.com/office/drawing/2014/main" id="{EA0844A9-AF62-4460-BD5C-AEE4F4D3E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637" y="3870972"/>
              <a:ext cx="30350" cy="12646"/>
            </a:xfrm>
            <a:custGeom>
              <a:avLst/>
              <a:gdLst>
                <a:gd name="T0" fmla="*/ 3 w 17"/>
                <a:gd name="T1" fmla="*/ 0 h 7"/>
                <a:gd name="T2" fmla="*/ 0 w 17"/>
                <a:gd name="T3" fmla="*/ 4 h 7"/>
                <a:gd name="T4" fmla="*/ 3 w 17"/>
                <a:gd name="T5" fmla="*/ 7 h 7"/>
                <a:gd name="T6" fmla="*/ 13 w 17"/>
                <a:gd name="T7" fmla="*/ 7 h 7"/>
                <a:gd name="T8" fmla="*/ 17 w 17"/>
                <a:gd name="T9" fmla="*/ 4 h 7"/>
                <a:gd name="T10" fmla="*/ 13 w 17"/>
                <a:gd name="T11" fmla="*/ 0 h 7"/>
                <a:gd name="T12" fmla="*/ 3 w 17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7">
                  <a:moveTo>
                    <a:pt x="3" y="0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7"/>
                    <a:pt x="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7"/>
                    <a:pt x="17" y="6"/>
                    <a:pt x="17" y="4"/>
                  </a:cubicBezTo>
                  <a:cubicBezTo>
                    <a:pt x="17" y="2"/>
                    <a:pt x="15" y="0"/>
                    <a:pt x="13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62" name="Agrupar 1661">
            <a:extLst>
              <a:ext uri="{FF2B5EF4-FFF2-40B4-BE49-F238E27FC236}">
                <a16:creationId xmlns:a16="http://schemas.microsoft.com/office/drawing/2014/main" id="{A8CEF1CB-E266-40F7-8E6A-43E586532393}"/>
              </a:ext>
            </a:extLst>
          </p:cNvPr>
          <p:cNvGrpSpPr/>
          <p:nvPr/>
        </p:nvGrpSpPr>
        <p:grpSpPr>
          <a:xfrm>
            <a:off x="4444729" y="3315819"/>
            <a:ext cx="177042" cy="263033"/>
            <a:chOff x="4444729" y="3315819"/>
            <a:chExt cx="177042" cy="263033"/>
          </a:xfrm>
        </p:grpSpPr>
        <p:sp>
          <p:nvSpPr>
            <p:cNvPr id="1515" name="Freeform 909">
              <a:extLst>
                <a:ext uri="{FF2B5EF4-FFF2-40B4-BE49-F238E27FC236}">
                  <a16:creationId xmlns:a16="http://schemas.microsoft.com/office/drawing/2014/main" id="{197E2F5A-6BD9-4BDE-AE54-34BC8A04F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4729" y="3315819"/>
              <a:ext cx="177042" cy="154279"/>
            </a:xfrm>
            <a:custGeom>
              <a:avLst/>
              <a:gdLst>
                <a:gd name="T0" fmla="*/ 18 w 98"/>
                <a:gd name="T1" fmla="*/ 72 h 85"/>
                <a:gd name="T2" fmla="*/ 49 w 98"/>
                <a:gd name="T3" fmla="*/ 79 h 85"/>
                <a:gd name="T4" fmla="*/ 80 w 98"/>
                <a:gd name="T5" fmla="*/ 72 h 85"/>
                <a:gd name="T6" fmla="*/ 89 w 98"/>
                <a:gd name="T7" fmla="*/ 60 h 85"/>
                <a:gd name="T8" fmla="*/ 92 w 98"/>
                <a:gd name="T9" fmla="*/ 46 h 85"/>
                <a:gd name="T10" fmla="*/ 79 w 98"/>
                <a:gd name="T11" fmla="*/ 18 h 85"/>
                <a:gd name="T12" fmla="*/ 49 w 98"/>
                <a:gd name="T13" fmla="*/ 6 h 85"/>
                <a:gd name="T14" fmla="*/ 19 w 98"/>
                <a:gd name="T15" fmla="*/ 18 h 85"/>
                <a:gd name="T16" fmla="*/ 6 w 98"/>
                <a:gd name="T17" fmla="*/ 46 h 85"/>
                <a:gd name="T18" fmla="*/ 9 w 98"/>
                <a:gd name="T19" fmla="*/ 60 h 85"/>
                <a:gd name="T20" fmla="*/ 18 w 98"/>
                <a:gd name="T21" fmla="*/ 72 h 85"/>
                <a:gd name="T22" fmla="*/ 49 w 98"/>
                <a:gd name="T23" fmla="*/ 85 h 85"/>
                <a:gd name="T24" fmla="*/ 15 w 98"/>
                <a:gd name="T25" fmla="*/ 77 h 85"/>
                <a:gd name="T26" fmla="*/ 14 w 98"/>
                <a:gd name="T27" fmla="*/ 77 h 85"/>
                <a:gd name="T28" fmla="*/ 4 w 98"/>
                <a:gd name="T29" fmla="*/ 62 h 85"/>
                <a:gd name="T30" fmla="*/ 0 w 98"/>
                <a:gd name="T31" fmla="*/ 46 h 85"/>
                <a:gd name="T32" fmla="*/ 15 w 98"/>
                <a:gd name="T33" fmla="*/ 13 h 85"/>
                <a:gd name="T34" fmla="*/ 49 w 98"/>
                <a:gd name="T35" fmla="*/ 0 h 85"/>
                <a:gd name="T36" fmla="*/ 83 w 98"/>
                <a:gd name="T37" fmla="*/ 13 h 85"/>
                <a:gd name="T38" fmla="*/ 98 w 98"/>
                <a:gd name="T39" fmla="*/ 46 h 85"/>
                <a:gd name="T40" fmla="*/ 94 w 98"/>
                <a:gd name="T41" fmla="*/ 62 h 85"/>
                <a:gd name="T42" fmla="*/ 84 w 98"/>
                <a:gd name="T43" fmla="*/ 77 h 85"/>
                <a:gd name="T44" fmla="*/ 83 w 98"/>
                <a:gd name="T45" fmla="*/ 77 h 85"/>
                <a:gd name="T46" fmla="*/ 49 w 98"/>
                <a:gd name="T4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8" h="85">
                  <a:moveTo>
                    <a:pt x="18" y="72"/>
                  </a:moveTo>
                  <a:cubicBezTo>
                    <a:pt x="28" y="77"/>
                    <a:pt x="39" y="79"/>
                    <a:pt x="49" y="79"/>
                  </a:cubicBezTo>
                  <a:cubicBezTo>
                    <a:pt x="59" y="79"/>
                    <a:pt x="70" y="77"/>
                    <a:pt x="80" y="72"/>
                  </a:cubicBezTo>
                  <a:cubicBezTo>
                    <a:pt x="84" y="69"/>
                    <a:pt x="87" y="65"/>
                    <a:pt x="89" y="60"/>
                  </a:cubicBezTo>
                  <a:cubicBezTo>
                    <a:pt x="90" y="56"/>
                    <a:pt x="92" y="51"/>
                    <a:pt x="92" y="46"/>
                  </a:cubicBezTo>
                  <a:cubicBezTo>
                    <a:pt x="92" y="35"/>
                    <a:pt x="87" y="25"/>
                    <a:pt x="79" y="18"/>
                  </a:cubicBezTo>
                  <a:cubicBezTo>
                    <a:pt x="71" y="11"/>
                    <a:pt x="61" y="6"/>
                    <a:pt x="49" y="6"/>
                  </a:cubicBezTo>
                  <a:cubicBezTo>
                    <a:pt x="37" y="6"/>
                    <a:pt x="26" y="11"/>
                    <a:pt x="19" y="18"/>
                  </a:cubicBezTo>
                  <a:cubicBezTo>
                    <a:pt x="11" y="25"/>
                    <a:pt x="6" y="35"/>
                    <a:pt x="6" y="46"/>
                  </a:cubicBezTo>
                  <a:cubicBezTo>
                    <a:pt x="6" y="51"/>
                    <a:pt x="7" y="56"/>
                    <a:pt x="9" y="60"/>
                  </a:cubicBezTo>
                  <a:cubicBezTo>
                    <a:pt x="11" y="65"/>
                    <a:pt x="14" y="69"/>
                    <a:pt x="18" y="72"/>
                  </a:cubicBezTo>
                  <a:moveTo>
                    <a:pt x="49" y="85"/>
                  </a:moveTo>
                  <a:cubicBezTo>
                    <a:pt x="38" y="85"/>
                    <a:pt x="26" y="83"/>
                    <a:pt x="15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9" y="73"/>
                    <a:pt x="6" y="68"/>
                    <a:pt x="4" y="62"/>
                  </a:cubicBezTo>
                  <a:cubicBezTo>
                    <a:pt x="2" y="57"/>
                    <a:pt x="0" y="52"/>
                    <a:pt x="0" y="46"/>
                  </a:cubicBezTo>
                  <a:cubicBezTo>
                    <a:pt x="0" y="33"/>
                    <a:pt x="6" y="22"/>
                    <a:pt x="15" y="13"/>
                  </a:cubicBezTo>
                  <a:cubicBezTo>
                    <a:pt x="23" y="5"/>
                    <a:pt x="36" y="0"/>
                    <a:pt x="49" y="0"/>
                  </a:cubicBezTo>
                  <a:cubicBezTo>
                    <a:pt x="62" y="0"/>
                    <a:pt x="74" y="5"/>
                    <a:pt x="83" y="13"/>
                  </a:cubicBezTo>
                  <a:cubicBezTo>
                    <a:pt x="92" y="22"/>
                    <a:pt x="98" y="33"/>
                    <a:pt x="98" y="46"/>
                  </a:cubicBezTo>
                  <a:cubicBezTo>
                    <a:pt x="98" y="52"/>
                    <a:pt x="96" y="57"/>
                    <a:pt x="94" y="62"/>
                  </a:cubicBezTo>
                  <a:cubicBezTo>
                    <a:pt x="92" y="68"/>
                    <a:pt x="88" y="73"/>
                    <a:pt x="84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72" y="82"/>
                    <a:pt x="60" y="85"/>
                    <a:pt x="49" y="85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6" name="Freeform 910">
              <a:extLst>
                <a:ext uri="{FF2B5EF4-FFF2-40B4-BE49-F238E27FC236}">
                  <a16:creationId xmlns:a16="http://schemas.microsoft.com/office/drawing/2014/main" id="{9F519E83-95E7-479A-86BB-951AE188C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3931" y="3524475"/>
              <a:ext cx="96108" cy="54377"/>
            </a:xfrm>
            <a:custGeom>
              <a:avLst/>
              <a:gdLst>
                <a:gd name="T0" fmla="*/ 5 w 53"/>
                <a:gd name="T1" fmla="*/ 0 h 30"/>
                <a:gd name="T2" fmla="*/ 49 w 53"/>
                <a:gd name="T3" fmla="*/ 0 h 30"/>
                <a:gd name="T4" fmla="*/ 50 w 53"/>
                <a:gd name="T5" fmla="*/ 0 h 30"/>
                <a:gd name="T6" fmla="*/ 52 w 53"/>
                <a:gd name="T7" fmla="*/ 2 h 30"/>
                <a:gd name="T8" fmla="*/ 53 w 53"/>
                <a:gd name="T9" fmla="*/ 5 h 30"/>
                <a:gd name="T10" fmla="*/ 53 w 53"/>
                <a:gd name="T11" fmla="*/ 6 h 30"/>
                <a:gd name="T12" fmla="*/ 47 w 53"/>
                <a:gd name="T13" fmla="*/ 26 h 30"/>
                <a:gd name="T14" fmla="*/ 46 w 53"/>
                <a:gd name="T15" fmla="*/ 29 h 30"/>
                <a:gd name="T16" fmla="*/ 42 w 53"/>
                <a:gd name="T17" fmla="*/ 30 h 30"/>
                <a:gd name="T18" fmla="*/ 12 w 53"/>
                <a:gd name="T19" fmla="*/ 30 h 30"/>
                <a:gd name="T20" fmla="*/ 8 w 53"/>
                <a:gd name="T21" fmla="*/ 29 h 30"/>
                <a:gd name="T22" fmla="*/ 7 w 53"/>
                <a:gd name="T23" fmla="*/ 26 h 30"/>
                <a:gd name="T24" fmla="*/ 1 w 53"/>
                <a:gd name="T25" fmla="*/ 6 h 30"/>
                <a:gd name="T26" fmla="*/ 0 w 53"/>
                <a:gd name="T27" fmla="*/ 5 h 30"/>
                <a:gd name="T28" fmla="*/ 2 w 53"/>
                <a:gd name="T29" fmla="*/ 2 h 30"/>
                <a:gd name="T30" fmla="*/ 4 w 53"/>
                <a:gd name="T31" fmla="*/ 0 h 30"/>
                <a:gd name="T32" fmla="*/ 5 w 53"/>
                <a:gd name="T33" fmla="*/ 0 h 30"/>
                <a:gd name="T34" fmla="*/ 47 w 53"/>
                <a:gd name="T35" fmla="*/ 6 h 30"/>
                <a:gd name="T36" fmla="*/ 7 w 53"/>
                <a:gd name="T37" fmla="*/ 6 h 30"/>
                <a:gd name="T38" fmla="*/ 13 w 53"/>
                <a:gd name="T39" fmla="*/ 24 h 30"/>
                <a:gd name="T40" fmla="*/ 41 w 53"/>
                <a:gd name="T41" fmla="*/ 24 h 30"/>
                <a:gd name="T42" fmla="*/ 47 w 53"/>
                <a:gd name="T43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30">
                  <a:moveTo>
                    <a:pt x="5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50" y="0"/>
                    <a:pt x="50" y="0"/>
                  </a:cubicBezTo>
                  <a:cubicBezTo>
                    <a:pt x="51" y="1"/>
                    <a:pt x="52" y="1"/>
                    <a:pt x="52" y="2"/>
                  </a:cubicBezTo>
                  <a:cubicBezTo>
                    <a:pt x="53" y="3"/>
                    <a:pt x="53" y="4"/>
                    <a:pt x="53" y="5"/>
                  </a:cubicBezTo>
                  <a:cubicBezTo>
                    <a:pt x="53" y="5"/>
                    <a:pt x="53" y="6"/>
                    <a:pt x="53" y="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6" y="27"/>
                    <a:pt x="46" y="28"/>
                    <a:pt x="46" y="29"/>
                  </a:cubicBezTo>
                  <a:cubicBezTo>
                    <a:pt x="45" y="30"/>
                    <a:pt x="44" y="30"/>
                    <a:pt x="4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0" y="30"/>
                    <a:pt x="9" y="30"/>
                    <a:pt x="8" y="29"/>
                  </a:cubicBezTo>
                  <a:cubicBezTo>
                    <a:pt x="8" y="28"/>
                    <a:pt x="7" y="27"/>
                    <a:pt x="7" y="2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5"/>
                    <a:pt x="0" y="5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moveTo>
                    <a:pt x="47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41" y="24"/>
                    <a:pt x="41" y="24"/>
                    <a:pt x="41" y="24"/>
                  </a:cubicBezTo>
                  <a:lnTo>
                    <a:pt x="47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7" name="Freeform 911">
              <a:extLst>
                <a:ext uri="{FF2B5EF4-FFF2-40B4-BE49-F238E27FC236}">
                  <a16:creationId xmlns:a16="http://schemas.microsoft.com/office/drawing/2014/main" id="{4182B7CB-7C8F-439F-B88D-4FE9CE2CB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6226" y="3451129"/>
              <a:ext cx="30350" cy="83463"/>
            </a:xfrm>
            <a:custGeom>
              <a:avLst/>
              <a:gdLst>
                <a:gd name="T0" fmla="*/ 9 w 24"/>
                <a:gd name="T1" fmla="*/ 0 h 66"/>
                <a:gd name="T2" fmla="*/ 24 w 24"/>
                <a:gd name="T3" fmla="*/ 63 h 66"/>
                <a:gd name="T4" fmla="*/ 16 w 24"/>
                <a:gd name="T5" fmla="*/ 66 h 66"/>
                <a:gd name="T6" fmla="*/ 0 w 24"/>
                <a:gd name="T7" fmla="*/ 2 h 66"/>
                <a:gd name="T8" fmla="*/ 9 w 2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6">
                  <a:moveTo>
                    <a:pt x="9" y="0"/>
                  </a:moveTo>
                  <a:lnTo>
                    <a:pt x="24" y="63"/>
                  </a:lnTo>
                  <a:lnTo>
                    <a:pt x="16" y="66"/>
                  </a:lnTo>
                  <a:lnTo>
                    <a:pt x="0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8" name="Freeform 912">
              <a:extLst>
                <a:ext uri="{FF2B5EF4-FFF2-40B4-BE49-F238E27FC236}">
                  <a16:creationId xmlns:a16="http://schemas.microsoft.com/office/drawing/2014/main" id="{F6AD2D04-AF29-4E23-8004-2ED52470B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922" y="3447336"/>
              <a:ext cx="30350" cy="85992"/>
            </a:xfrm>
            <a:custGeom>
              <a:avLst/>
              <a:gdLst>
                <a:gd name="T0" fmla="*/ 24 w 24"/>
                <a:gd name="T1" fmla="*/ 2 h 68"/>
                <a:gd name="T2" fmla="*/ 8 w 24"/>
                <a:gd name="T3" fmla="*/ 68 h 68"/>
                <a:gd name="T4" fmla="*/ 0 w 24"/>
                <a:gd name="T5" fmla="*/ 66 h 68"/>
                <a:gd name="T6" fmla="*/ 15 w 24"/>
                <a:gd name="T7" fmla="*/ 0 h 68"/>
                <a:gd name="T8" fmla="*/ 24 w 24"/>
                <a:gd name="T9" fmla="*/ 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8">
                  <a:moveTo>
                    <a:pt x="24" y="2"/>
                  </a:moveTo>
                  <a:lnTo>
                    <a:pt x="8" y="68"/>
                  </a:lnTo>
                  <a:lnTo>
                    <a:pt x="0" y="66"/>
                  </a:lnTo>
                  <a:lnTo>
                    <a:pt x="15" y="0"/>
                  </a:lnTo>
                  <a:lnTo>
                    <a:pt x="24" y="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19" name="Rectangle 913">
              <a:extLst>
                <a:ext uri="{FF2B5EF4-FFF2-40B4-BE49-F238E27FC236}">
                  <a16:creationId xmlns:a16="http://schemas.microsoft.com/office/drawing/2014/main" id="{04DFC75E-D804-4426-8660-509F2DA08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8191" y="3463775"/>
              <a:ext cx="10117" cy="65758"/>
            </a:xfrm>
            <a:prstGeom prst="rect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3" name="Agrupar 1722">
            <a:extLst>
              <a:ext uri="{FF2B5EF4-FFF2-40B4-BE49-F238E27FC236}">
                <a16:creationId xmlns:a16="http://schemas.microsoft.com/office/drawing/2014/main" id="{031C41DE-8259-4F63-88D9-0CEC1CECA38E}"/>
              </a:ext>
            </a:extLst>
          </p:cNvPr>
          <p:cNvGrpSpPr/>
          <p:nvPr/>
        </p:nvGrpSpPr>
        <p:grpSpPr>
          <a:xfrm>
            <a:off x="9610560" y="4405891"/>
            <a:ext cx="409726" cy="409726"/>
            <a:chOff x="10292172" y="4405891"/>
            <a:chExt cx="409726" cy="409726"/>
          </a:xfrm>
        </p:grpSpPr>
        <p:sp>
          <p:nvSpPr>
            <p:cNvPr id="1520" name="Freeform 914">
              <a:extLst>
                <a:ext uri="{FF2B5EF4-FFF2-40B4-BE49-F238E27FC236}">
                  <a16:creationId xmlns:a16="http://schemas.microsoft.com/office/drawing/2014/main" id="{715DE15D-5F2C-4B31-A7DC-B21B6A9880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8397" y="4405891"/>
              <a:ext cx="174513" cy="318676"/>
            </a:xfrm>
            <a:custGeom>
              <a:avLst/>
              <a:gdLst>
                <a:gd name="T0" fmla="*/ 50 w 96"/>
                <a:gd name="T1" fmla="*/ 176 h 176"/>
                <a:gd name="T2" fmla="*/ 44 w 96"/>
                <a:gd name="T3" fmla="*/ 176 h 176"/>
                <a:gd name="T4" fmla="*/ 7 w 96"/>
                <a:gd name="T5" fmla="*/ 154 h 176"/>
                <a:gd name="T6" fmla="*/ 7 w 96"/>
                <a:gd name="T7" fmla="*/ 151 h 176"/>
                <a:gd name="T8" fmla="*/ 9 w 96"/>
                <a:gd name="T9" fmla="*/ 139 h 176"/>
                <a:gd name="T10" fmla="*/ 3 w 96"/>
                <a:gd name="T11" fmla="*/ 120 h 176"/>
                <a:gd name="T12" fmla="*/ 0 w 96"/>
                <a:gd name="T13" fmla="*/ 110 h 176"/>
                <a:gd name="T14" fmla="*/ 1 w 96"/>
                <a:gd name="T15" fmla="*/ 106 h 176"/>
                <a:gd name="T16" fmla="*/ 1 w 96"/>
                <a:gd name="T17" fmla="*/ 103 h 176"/>
                <a:gd name="T18" fmla="*/ 1 w 96"/>
                <a:gd name="T19" fmla="*/ 101 h 176"/>
                <a:gd name="T20" fmla="*/ 8 w 96"/>
                <a:gd name="T21" fmla="*/ 89 h 176"/>
                <a:gd name="T22" fmla="*/ 10 w 96"/>
                <a:gd name="T23" fmla="*/ 81 h 176"/>
                <a:gd name="T24" fmla="*/ 9 w 96"/>
                <a:gd name="T25" fmla="*/ 72 h 176"/>
                <a:gd name="T26" fmla="*/ 20 w 96"/>
                <a:gd name="T27" fmla="*/ 44 h 176"/>
                <a:gd name="T28" fmla="*/ 22 w 96"/>
                <a:gd name="T29" fmla="*/ 36 h 176"/>
                <a:gd name="T30" fmla="*/ 22 w 96"/>
                <a:gd name="T31" fmla="*/ 30 h 176"/>
                <a:gd name="T32" fmla="*/ 54 w 96"/>
                <a:gd name="T33" fmla="*/ 2 h 176"/>
                <a:gd name="T34" fmla="*/ 78 w 96"/>
                <a:gd name="T35" fmla="*/ 25 h 176"/>
                <a:gd name="T36" fmla="*/ 78 w 96"/>
                <a:gd name="T37" fmla="*/ 36 h 176"/>
                <a:gd name="T38" fmla="*/ 81 w 96"/>
                <a:gd name="T39" fmla="*/ 44 h 176"/>
                <a:gd name="T40" fmla="*/ 92 w 96"/>
                <a:gd name="T41" fmla="*/ 72 h 176"/>
                <a:gd name="T42" fmla="*/ 91 w 96"/>
                <a:gd name="T43" fmla="*/ 81 h 176"/>
                <a:gd name="T44" fmla="*/ 92 w 96"/>
                <a:gd name="T45" fmla="*/ 89 h 176"/>
                <a:gd name="T46" fmla="*/ 94 w 96"/>
                <a:gd name="T47" fmla="*/ 91 h 176"/>
                <a:gd name="T48" fmla="*/ 95 w 96"/>
                <a:gd name="T49" fmla="*/ 93 h 176"/>
                <a:gd name="T50" fmla="*/ 95 w 96"/>
                <a:gd name="T51" fmla="*/ 96 h 176"/>
                <a:gd name="T52" fmla="*/ 92 w 96"/>
                <a:gd name="T53" fmla="*/ 107 h 176"/>
                <a:gd name="T54" fmla="*/ 84 w 96"/>
                <a:gd name="T55" fmla="*/ 136 h 176"/>
                <a:gd name="T56" fmla="*/ 91 w 96"/>
                <a:gd name="T57" fmla="*/ 153 h 176"/>
                <a:gd name="T58" fmla="*/ 91 w 96"/>
                <a:gd name="T59" fmla="*/ 157 h 176"/>
                <a:gd name="T60" fmla="*/ 50 w 96"/>
                <a:gd name="T61" fmla="*/ 176 h 176"/>
                <a:gd name="T62" fmla="*/ 14 w 96"/>
                <a:gd name="T63" fmla="*/ 152 h 176"/>
                <a:gd name="T64" fmla="*/ 45 w 96"/>
                <a:gd name="T65" fmla="*/ 169 h 176"/>
                <a:gd name="T66" fmla="*/ 84 w 96"/>
                <a:gd name="T67" fmla="*/ 155 h 176"/>
                <a:gd name="T68" fmla="*/ 78 w 96"/>
                <a:gd name="T69" fmla="*/ 137 h 176"/>
                <a:gd name="T70" fmla="*/ 87 w 96"/>
                <a:gd name="T71" fmla="*/ 103 h 176"/>
                <a:gd name="T72" fmla="*/ 88 w 96"/>
                <a:gd name="T73" fmla="*/ 98 h 176"/>
                <a:gd name="T74" fmla="*/ 88 w 96"/>
                <a:gd name="T75" fmla="*/ 94 h 176"/>
                <a:gd name="T76" fmla="*/ 87 w 96"/>
                <a:gd name="T77" fmla="*/ 93 h 176"/>
                <a:gd name="T78" fmla="*/ 84 w 96"/>
                <a:gd name="T79" fmla="*/ 79 h 176"/>
                <a:gd name="T80" fmla="*/ 85 w 96"/>
                <a:gd name="T81" fmla="*/ 72 h 176"/>
                <a:gd name="T82" fmla="*/ 76 w 96"/>
                <a:gd name="T83" fmla="*/ 49 h 176"/>
                <a:gd name="T84" fmla="*/ 72 w 96"/>
                <a:gd name="T85" fmla="*/ 34 h 176"/>
                <a:gd name="T86" fmla="*/ 72 w 96"/>
                <a:gd name="T87" fmla="*/ 26 h 176"/>
                <a:gd name="T88" fmla="*/ 53 w 96"/>
                <a:gd name="T89" fmla="*/ 9 h 176"/>
                <a:gd name="T90" fmla="*/ 29 w 96"/>
                <a:gd name="T91" fmla="*/ 30 h 176"/>
                <a:gd name="T92" fmla="*/ 29 w 96"/>
                <a:gd name="T93" fmla="*/ 34 h 176"/>
                <a:gd name="T94" fmla="*/ 25 w 96"/>
                <a:gd name="T95" fmla="*/ 49 h 176"/>
                <a:gd name="T96" fmla="*/ 16 w 96"/>
                <a:gd name="T97" fmla="*/ 72 h 176"/>
                <a:gd name="T98" fmla="*/ 17 w 96"/>
                <a:gd name="T99" fmla="*/ 80 h 176"/>
                <a:gd name="T100" fmla="*/ 14 w 96"/>
                <a:gd name="T101" fmla="*/ 93 h 176"/>
                <a:gd name="T102" fmla="*/ 8 w 96"/>
                <a:gd name="T103" fmla="*/ 103 h 176"/>
                <a:gd name="T104" fmla="*/ 8 w 96"/>
                <a:gd name="T105" fmla="*/ 106 h 176"/>
                <a:gd name="T106" fmla="*/ 7 w 96"/>
                <a:gd name="T107" fmla="*/ 111 h 176"/>
                <a:gd name="T108" fmla="*/ 8 w 96"/>
                <a:gd name="T109" fmla="*/ 116 h 176"/>
                <a:gd name="T110" fmla="*/ 16 w 96"/>
                <a:gd name="T111" fmla="*/ 139 h 176"/>
                <a:gd name="T112" fmla="*/ 14 w 96"/>
                <a:gd name="T113" fmla="*/ 15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" h="176">
                  <a:moveTo>
                    <a:pt x="50" y="176"/>
                  </a:moveTo>
                  <a:cubicBezTo>
                    <a:pt x="48" y="176"/>
                    <a:pt x="46" y="176"/>
                    <a:pt x="44" y="176"/>
                  </a:cubicBezTo>
                  <a:cubicBezTo>
                    <a:pt x="30" y="174"/>
                    <a:pt x="16" y="166"/>
                    <a:pt x="7" y="154"/>
                  </a:cubicBezTo>
                  <a:cubicBezTo>
                    <a:pt x="7" y="153"/>
                    <a:pt x="6" y="152"/>
                    <a:pt x="7" y="151"/>
                  </a:cubicBezTo>
                  <a:cubicBezTo>
                    <a:pt x="8" y="147"/>
                    <a:pt x="9" y="143"/>
                    <a:pt x="9" y="139"/>
                  </a:cubicBezTo>
                  <a:cubicBezTo>
                    <a:pt x="9" y="132"/>
                    <a:pt x="7" y="126"/>
                    <a:pt x="3" y="120"/>
                  </a:cubicBezTo>
                  <a:cubicBezTo>
                    <a:pt x="0" y="117"/>
                    <a:pt x="0" y="114"/>
                    <a:pt x="0" y="110"/>
                  </a:cubicBezTo>
                  <a:cubicBezTo>
                    <a:pt x="1" y="108"/>
                    <a:pt x="1" y="107"/>
                    <a:pt x="1" y="106"/>
                  </a:cubicBezTo>
                  <a:cubicBezTo>
                    <a:pt x="1" y="105"/>
                    <a:pt x="1" y="104"/>
                    <a:pt x="1" y="103"/>
                  </a:cubicBezTo>
                  <a:cubicBezTo>
                    <a:pt x="1" y="102"/>
                    <a:pt x="1" y="102"/>
                    <a:pt x="1" y="101"/>
                  </a:cubicBezTo>
                  <a:cubicBezTo>
                    <a:pt x="3" y="97"/>
                    <a:pt x="5" y="93"/>
                    <a:pt x="8" y="89"/>
                  </a:cubicBezTo>
                  <a:cubicBezTo>
                    <a:pt x="10" y="87"/>
                    <a:pt x="11" y="84"/>
                    <a:pt x="10" y="81"/>
                  </a:cubicBezTo>
                  <a:cubicBezTo>
                    <a:pt x="10" y="78"/>
                    <a:pt x="9" y="75"/>
                    <a:pt x="9" y="72"/>
                  </a:cubicBezTo>
                  <a:cubicBezTo>
                    <a:pt x="9" y="62"/>
                    <a:pt x="13" y="52"/>
                    <a:pt x="20" y="44"/>
                  </a:cubicBezTo>
                  <a:cubicBezTo>
                    <a:pt x="22" y="42"/>
                    <a:pt x="23" y="39"/>
                    <a:pt x="22" y="36"/>
                  </a:cubicBezTo>
                  <a:cubicBezTo>
                    <a:pt x="22" y="34"/>
                    <a:pt x="22" y="32"/>
                    <a:pt x="22" y="30"/>
                  </a:cubicBezTo>
                  <a:cubicBezTo>
                    <a:pt x="22" y="13"/>
                    <a:pt x="37" y="0"/>
                    <a:pt x="54" y="2"/>
                  </a:cubicBezTo>
                  <a:cubicBezTo>
                    <a:pt x="66" y="3"/>
                    <a:pt x="76" y="13"/>
                    <a:pt x="78" y="25"/>
                  </a:cubicBezTo>
                  <a:cubicBezTo>
                    <a:pt x="79" y="28"/>
                    <a:pt x="79" y="32"/>
                    <a:pt x="78" y="36"/>
                  </a:cubicBezTo>
                  <a:cubicBezTo>
                    <a:pt x="78" y="39"/>
                    <a:pt x="79" y="42"/>
                    <a:pt x="81" y="44"/>
                  </a:cubicBezTo>
                  <a:cubicBezTo>
                    <a:pt x="88" y="52"/>
                    <a:pt x="92" y="62"/>
                    <a:pt x="92" y="72"/>
                  </a:cubicBezTo>
                  <a:cubicBezTo>
                    <a:pt x="92" y="75"/>
                    <a:pt x="91" y="78"/>
                    <a:pt x="91" y="81"/>
                  </a:cubicBezTo>
                  <a:cubicBezTo>
                    <a:pt x="90" y="84"/>
                    <a:pt x="91" y="87"/>
                    <a:pt x="92" y="89"/>
                  </a:cubicBezTo>
                  <a:cubicBezTo>
                    <a:pt x="93" y="90"/>
                    <a:pt x="94" y="90"/>
                    <a:pt x="94" y="91"/>
                  </a:cubicBezTo>
                  <a:cubicBezTo>
                    <a:pt x="94" y="92"/>
                    <a:pt x="94" y="92"/>
                    <a:pt x="95" y="93"/>
                  </a:cubicBezTo>
                  <a:cubicBezTo>
                    <a:pt x="95" y="94"/>
                    <a:pt x="95" y="95"/>
                    <a:pt x="95" y="96"/>
                  </a:cubicBezTo>
                  <a:cubicBezTo>
                    <a:pt x="96" y="100"/>
                    <a:pt x="95" y="104"/>
                    <a:pt x="92" y="107"/>
                  </a:cubicBezTo>
                  <a:cubicBezTo>
                    <a:pt x="86" y="115"/>
                    <a:pt x="83" y="126"/>
                    <a:pt x="84" y="136"/>
                  </a:cubicBezTo>
                  <a:cubicBezTo>
                    <a:pt x="85" y="142"/>
                    <a:pt x="87" y="148"/>
                    <a:pt x="91" y="153"/>
                  </a:cubicBezTo>
                  <a:cubicBezTo>
                    <a:pt x="92" y="155"/>
                    <a:pt x="92" y="156"/>
                    <a:pt x="91" y="157"/>
                  </a:cubicBezTo>
                  <a:cubicBezTo>
                    <a:pt x="81" y="169"/>
                    <a:pt x="66" y="176"/>
                    <a:pt x="50" y="176"/>
                  </a:cubicBezTo>
                  <a:close/>
                  <a:moveTo>
                    <a:pt x="14" y="152"/>
                  </a:moveTo>
                  <a:cubicBezTo>
                    <a:pt x="22" y="161"/>
                    <a:pt x="33" y="168"/>
                    <a:pt x="45" y="169"/>
                  </a:cubicBezTo>
                  <a:cubicBezTo>
                    <a:pt x="60" y="171"/>
                    <a:pt x="74" y="165"/>
                    <a:pt x="84" y="155"/>
                  </a:cubicBezTo>
                  <a:cubicBezTo>
                    <a:pt x="81" y="149"/>
                    <a:pt x="78" y="143"/>
                    <a:pt x="78" y="137"/>
                  </a:cubicBezTo>
                  <a:cubicBezTo>
                    <a:pt x="76" y="124"/>
                    <a:pt x="79" y="113"/>
                    <a:pt x="87" y="103"/>
                  </a:cubicBezTo>
                  <a:cubicBezTo>
                    <a:pt x="88" y="101"/>
                    <a:pt x="89" y="99"/>
                    <a:pt x="88" y="98"/>
                  </a:cubicBezTo>
                  <a:cubicBezTo>
                    <a:pt x="88" y="96"/>
                    <a:pt x="88" y="95"/>
                    <a:pt x="88" y="94"/>
                  </a:cubicBezTo>
                  <a:cubicBezTo>
                    <a:pt x="88" y="94"/>
                    <a:pt x="87" y="93"/>
                    <a:pt x="87" y="93"/>
                  </a:cubicBezTo>
                  <a:cubicBezTo>
                    <a:pt x="84" y="89"/>
                    <a:pt x="83" y="84"/>
                    <a:pt x="84" y="79"/>
                  </a:cubicBezTo>
                  <a:cubicBezTo>
                    <a:pt x="84" y="77"/>
                    <a:pt x="85" y="74"/>
                    <a:pt x="85" y="72"/>
                  </a:cubicBezTo>
                  <a:cubicBezTo>
                    <a:pt x="85" y="63"/>
                    <a:pt x="81" y="55"/>
                    <a:pt x="76" y="49"/>
                  </a:cubicBezTo>
                  <a:cubicBezTo>
                    <a:pt x="72" y="45"/>
                    <a:pt x="71" y="40"/>
                    <a:pt x="72" y="34"/>
                  </a:cubicBezTo>
                  <a:cubicBezTo>
                    <a:pt x="72" y="32"/>
                    <a:pt x="72" y="29"/>
                    <a:pt x="72" y="26"/>
                  </a:cubicBezTo>
                  <a:cubicBezTo>
                    <a:pt x="70" y="17"/>
                    <a:pt x="62" y="10"/>
                    <a:pt x="53" y="9"/>
                  </a:cubicBezTo>
                  <a:cubicBezTo>
                    <a:pt x="40" y="7"/>
                    <a:pt x="29" y="17"/>
                    <a:pt x="29" y="30"/>
                  </a:cubicBezTo>
                  <a:cubicBezTo>
                    <a:pt x="29" y="31"/>
                    <a:pt x="29" y="33"/>
                    <a:pt x="29" y="34"/>
                  </a:cubicBezTo>
                  <a:cubicBezTo>
                    <a:pt x="30" y="40"/>
                    <a:pt x="29" y="45"/>
                    <a:pt x="25" y="49"/>
                  </a:cubicBezTo>
                  <a:cubicBezTo>
                    <a:pt x="19" y="55"/>
                    <a:pt x="16" y="63"/>
                    <a:pt x="16" y="72"/>
                  </a:cubicBezTo>
                  <a:cubicBezTo>
                    <a:pt x="16" y="75"/>
                    <a:pt x="16" y="77"/>
                    <a:pt x="17" y="80"/>
                  </a:cubicBezTo>
                  <a:cubicBezTo>
                    <a:pt x="18" y="84"/>
                    <a:pt x="17" y="89"/>
                    <a:pt x="14" y="93"/>
                  </a:cubicBezTo>
                  <a:cubicBezTo>
                    <a:pt x="11" y="96"/>
                    <a:pt x="9" y="100"/>
                    <a:pt x="8" y="103"/>
                  </a:cubicBezTo>
                  <a:cubicBezTo>
                    <a:pt x="8" y="104"/>
                    <a:pt x="8" y="105"/>
                    <a:pt x="8" y="106"/>
                  </a:cubicBezTo>
                  <a:cubicBezTo>
                    <a:pt x="8" y="107"/>
                    <a:pt x="8" y="109"/>
                    <a:pt x="7" y="111"/>
                  </a:cubicBezTo>
                  <a:cubicBezTo>
                    <a:pt x="7" y="113"/>
                    <a:pt x="7" y="115"/>
                    <a:pt x="8" y="116"/>
                  </a:cubicBezTo>
                  <a:cubicBezTo>
                    <a:pt x="13" y="123"/>
                    <a:pt x="16" y="131"/>
                    <a:pt x="16" y="139"/>
                  </a:cubicBezTo>
                  <a:cubicBezTo>
                    <a:pt x="16" y="143"/>
                    <a:pt x="15" y="148"/>
                    <a:pt x="14" y="15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1" name="Freeform 915">
              <a:extLst>
                <a:ext uri="{FF2B5EF4-FFF2-40B4-BE49-F238E27FC236}">
                  <a16:creationId xmlns:a16="http://schemas.microsoft.com/office/drawing/2014/main" id="{B434732A-1EF3-4CFD-AA3A-8CB61381BF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36237" y="4457739"/>
              <a:ext cx="165661" cy="266828"/>
            </a:xfrm>
            <a:custGeom>
              <a:avLst/>
              <a:gdLst>
                <a:gd name="T0" fmla="*/ 46 w 91"/>
                <a:gd name="T1" fmla="*/ 147 h 147"/>
                <a:gd name="T2" fmla="*/ 41 w 91"/>
                <a:gd name="T3" fmla="*/ 147 h 147"/>
                <a:gd name="T4" fmla="*/ 10 w 91"/>
                <a:gd name="T5" fmla="*/ 128 h 147"/>
                <a:gd name="T6" fmla="*/ 2 w 91"/>
                <a:gd name="T7" fmla="*/ 108 h 147"/>
                <a:gd name="T8" fmla="*/ 11 w 91"/>
                <a:gd name="T9" fmla="*/ 74 h 147"/>
                <a:gd name="T10" fmla="*/ 12 w 91"/>
                <a:gd name="T11" fmla="*/ 69 h 147"/>
                <a:gd name="T12" fmla="*/ 12 w 91"/>
                <a:gd name="T13" fmla="*/ 64 h 147"/>
                <a:gd name="T14" fmla="*/ 12 w 91"/>
                <a:gd name="T15" fmla="*/ 61 h 147"/>
                <a:gd name="T16" fmla="*/ 21 w 91"/>
                <a:gd name="T17" fmla="*/ 37 h 147"/>
                <a:gd name="T18" fmla="*/ 22 w 91"/>
                <a:gd name="T19" fmla="*/ 31 h 147"/>
                <a:gd name="T20" fmla="*/ 22 w 91"/>
                <a:gd name="T21" fmla="*/ 26 h 147"/>
                <a:gd name="T22" fmla="*/ 49 w 91"/>
                <a:gd name="T23" fmla="*/ 2 h 147"/>
                <a:gd name="T24" fmla="*/ 70 w 91"/>
                <a:gd name="T25" fmla="*/ 21 h 147"/>
                <a:gd name="T26" fmla="*/ 70 w 91"/>
                <a:gd name="T27" fmla="*/ 31 h 147"/>
                <a:gd name="T28" fmla="*/ 71 w 91"/>
                <a:gd name="T29" fmla="*/ 37 h 147"/>
                <a:gd name="T30" fmla="*/ 81 w 91"/>
                <a:gd name="T31" fmla="*/ 61 h 147"/>
                <a:gd name="T32" fmla="*/ 80 w 91"/>
                <a:gd name="T33" fmla="*/ 68 h 147"/>
                <a:gd name="T34" fmla="*/ 81 w 91"/>
                <a:gd name="T35" fmla="*/ 74 h 147"/>
                <a:gd name="T36" fmla="*/ 91 w 91"/>
                <a:gd name="T37" fmla="*/ 102 h 147"/>
                <a:gd name="T38" fmla="*/ 46 w 91"/>
                <a:gd name="T39" fmla="*/ 147 h 147"/>
                <a:gd name="T40" fmla="*/ 46 w 91"/>
                <a:gd name="T41" fmla="*/ 9 h 147"/>
                <a:gd name="T42" fmla="*/ 29 w 91"/>
                <a:gd name="T43" fmla="*/ 26 h 147"/>
                <a:gd name="T44" fmla="*/ 29 w 91"/>
                <a:gd name="T45" fmla="*/ 29 h 147"/>
                <a:gd name="T46" fmla="*/ 26 w 91"/>
                <a:gd name="T47" fmla="*/ 42 h 147"/>
                <a:gd name="T48" fmla="*/ 18 w 91"/>
                <a:gd name="T49" fmla="*/ 61 h 147"/>
                <a:gd name="T50" fmla="*/ 19 w 91"/>
                <a:gd name="T51" fmla="*/ 63 h 147"/>
                <a:gd name="T52" fmla="*/ 19 w 91"/>
                <a:gd name="T53" fmla="*/ 67 h 147"/>
                <a:gd name="T54" fmla="*/ 16 w 91"/>
                <a:gd name="T55" fmla="*/ 78 h 147"/>
                <a:gd name="T56" fmla="*/ 8 w 91"/>
                <a:gd name="T57" fmla="*/ 107 h 147"/>
                <a:gd name="T58" fmla="*/ 15 w 91"/>
                <a:gd name="T59" fmla="*/ 124 h 147"/>
                <a:gd name="T60" fmla="*/ 42 w 91"/>
                <a:gd name="T61" fmla="*/ 140 h 147"/>
                <a:gd name="T62" fmla="*/ 84 w 91"/>
                <a:gd name="T63" fmla="*/ 102 h 147"/>
                <a:gd name="T64" fmla="*/ 76 w 91"/>
                <a:gd name="T65" fmla="*/ 78 h 147"/>
                <a:gd name="T66" fmla="*/ 73 w 91"/>
                <a:gd name="T67" fmla="*/ 66 h 147"/>
                <a:gd name="T68" fmla="*/ 74 w 91"/>
                <a:gd name="T69" fmla="*/ 61 h 147"/>
                <a:gd name="T70" fmla="*/ 66 w 91"/>
                <a:gd name="T71" fmla="*/ 42 h 147"/>
                <a:gd name="T72" fmla="*/ 63 w 91"/>
                <a:gd name="T73" fmla="*/ 29 h 147"/>
                <a:gd name="T74" fmla="*/ 63 w 91"/>
                <a:gd name="T75" fmla="*/ 23 h 147"/>
                <a:gd name="T76" fmla="*/ 48 w 91"/>
                <a:gd name="T77" fmla="*/ 9 h 147"/>
                <a:gd name="T78" fmla="*/ 46 w 91"/>
                <a:gd name="T79" fmla="*/ 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1" h="147">
                  <a:moveTo>
                    <a:pt x="46" y="147"/>
                  </a:moveTo>
                  <a:cubicBezTo>
                    <a:pt x="44" y="147"/>
                    <a:pt x="43" y="147"/>
                    <a:pt x="41" y="147"/>
                  </a:cubicBezTo>
                  <a:cubicBezTo>
                    <a:pt x="29" y="145"/>
                    <a:pt x="17" y="139"/>
                    <a:pt x="10" y="128"/>
                  </a:cubicBezTo>
                  <a:cubicBezTo>
                    <a:pt x="5" y="122"/>
                    <a:pt x="2" y="115"/>
                    <a:pt x="2" y="108"/>
                  </a:cubicBezTo>
                  <a:cubicBezTo>
                    <a:pt x="0" y="95"/>
                    <a:pt x="3" y="84"/>
                    <a:pt x="11" y="74"/>
                  </a:cubicBezTo>
                  <a:cubicBezTo>
                    <a:pt x="12" y="72"/>
                    <a:pt x="13" y="70"/>
                    <a:pt x="12" y="69"/>
                  </a:cubicBezTo>
                  <a:cubicBezTo>
                    <a:pt x="12" y="67"/>
                    <a:pt x="12" y="66"/>
                    <a:pt x="12" y="64"/>
                  </a:cubicBezTo>
                  <a:cubicBezTo>
                    <a:pt x="12" y="63"/>
                    <a:pt x="12" y="62"/>
                    <a:pt x="12" y="61"/>
                  </a:cubicBezTo>
                  <a:cubicBezTo>
                    <a:pt x="12" y="52"/>
                    <a:pt x="15" y="44"/>
                    <a:pt x="21" y="37"/>
                  </a:cubicBezTo>
                  <a:cubicBezTo>
                    <a:pt x="22" y="36"/>
                    <a:pt x="23" y="33"/>
                    <a:pt x="22" y="31"/>
                  </a:cubicBezTo>
                  <a:cubicBezTo>
                    <a:pt x="22" y="29"/>
                    <a:pt x="22" y="28"/>
                    <a:pt x="22" y="26"/>
                  </a:cubicBezTo>
                  <a:cubicBezTo>
                    <a:pt x="22" y="12"/>
                    <a:pt x="34" y="0"/>
                    <a:pt x="49" y="2"/>
                  </a:cubicBezTo>
                  <a:cubicBezTo>
                    <a:pt x="59" y="3"/>
                    <a:pt x="68" y="11"/>
                    <a:pt x="70" y="21"/>
                  </a:cubicBezTo>
                  <a:cubicBezTo>
                    <a:pt x="70" y="25"/>
                    <a:pt x="70" y="28"/>
                    <a:pt x="70" y="31"/>
                  </a:cubicBezTo>
                  <a:cubicBezTo>
                    <a:pt x="69" y="33"/>
                    <a:pt x="70" y="35"/>
                    <a:pt x="71" y="37"/>
                  </a:cubicBezTo>
                  <a:cubicBezTo>
                    <a:pt x="77" y="44"/>
                    <a:pt x="81" y="52"/>
                    <a:pt x="81" y="61"/>
                  </a:cubicBezTo>
                  <a:cubicBezTo>
                    <a:pt x="81" y="63"/>
                    <a:pt x="80" y="66"/>
                    <a:pt x="80" y="68"/>
                  </a:cubicBezTo>
                  <a:cubicBezTo>
                    <a:pt x="79" y="70"/>
                    <a:pt x="80" y="72"/>
                    <a:pt x="81" y="74"/>
                  </a:cubicBezTo>
                  <a:cubicBezTo>
                    <a:pt x="88" y="82"/>
                    <a:pt x="91" y="92"/>
                    <a:pt x="91" y="102"/>
                  </a:cubicBezTo>
                  <a:cubicBezTo>
                    <a:pt x="91" y="127"/>
                    <a:pt x="71" y="147"/>
                    <a:pt x="46" y="147"/>
                  </a:cubicBezTo>
                  <a:close/>
                  <a:moveTo>
                    <a:pt x="46" y="9"/>
                  </a:moveTo>
                  <a:cubicBezTo>
                    <a:pt x="37" y="9"/>
                    <a:pt x="29" y="16"/>
                    <a:pt x="29" y="26"/>
                  </a:cubicBezTo>
                  <a:cubicBezTo>
                    <a:pt x="29" y="27"/>
                    <a:pt x="29" y="28"/>
                    <a:pt x="29" y="29"/>
                  </a:cubicBezTo>
                  <a:cubicBezTo>
                    <a:pt x="30" y="34"/>
                    <a:pt x="29" y="39"/>
                    <a:pt x="26" y="42"/>
                  </a:cubicBezTo>
                  <a:cubicBezTo>
                    <a:pt x="21" y="47"/>
                    <a:pt x="18" y="54"/>
                    <a:pt x="18" y="61"/>
                  </a:cubicBezTo>
                  <a:cubicBezTo>
                    <a:pt x="18" y="62"/>
                    <a:pt x="18" y="63"/>
                    <a:pt x="19" y="63"/>
                  </a:cubicBezTo>
                  <a:cubicBezTo>
                    <a:pt x="19" y="65"/>
                    <a:pt x="19" y="66"/>
                    <a:pt x="19" y="67"/>
                  </a:cubicBezTo>
                  <a:cubicBezTo>
                    <a:pt x="20" y="71"/>
                    <a:pt x="19" y="75"/>
                    <a:pt x="16" y="78"/>
                  </a:cubicBezTo>
                  <a:cubicBezTo>
                    <a:pt x="10" y="86"/>
                    <a:pt x="7" y="97"/>
                    <a:pt x="8" y="107"/>
                  </a:cubicBezTo>
                  <a:cubicBezTo>
                    <a:pt x="9" y="113"/>
                    <a:pt x="11" y="119"/>
                    <a:pt x="15" y="124"/>
                  </a:cubicBezTo>
                  <a:cubicBezTo>
                    <a:pt x="22" y="133"/>
                    <a:pt x="31" y="139"/>
                    <a:pt x="42" y="140"/>
                  </a:cubicBezTo>
                  <a:cubicBezTo>
                    <a:pt x="65" y="143"/>
                    <a:pt x="84" y="125"/>
                    <a:pt x="84" y="102"/>
                  </a:cubicBezTo>
                  <a:cubicBezTo>
                    <a:pt x="84" y="93"/>
                    <a:pt x="81" y="85"/>
                    <a:pt x="76" y="78"/>
                  </a:cubicBezTo>
                  <a:cubicBezTo>
                    <a:pt x="73" y="75"/>
                    <a:pt x="72" y="71"/>
                    <a:pt x="73" y="66"/>
                  </a:cubicBezTo>
                  <a:cubicBezTo>
                    <a:pt x="74" y="65"/>
                    <a:pt x="74" y="63"/>
                    <a:pt x="74" y="61"/>
                  </a:cubicBezTo>
                  <a:cubicBezTo>
                    <a:pt x="74" y="54"/>
                    <a:pt x="71" y="47"/>
                    <a:pt x="66" y="42"/>
                  </a:cubicBezTo>
                  <a:cubicBezTo>
                    <a:pt x="63" y="39"/>
                    <a:pt x="62" y="34"/>
                    <a:pt x="63" y="29"/>
                  </a:cubicBezTo>
                  <a:cubicBezTo>
                    <a:pt x="64" y="27"/>
                    <a:pt x="64" y="25"/>
                    <a:pt x="63" y="23"/>
                  </a:cubicBezTo>
                  <a:cubicBezTo>
                    <a:pt x="62" y="15"/>
                    <a:pt x="56" y="10"/>
                    <a:pt x="48" y="9"/>
                  </a:cubicBezTo>
                  <a:cubicBezTo>
                    <a:pt x="47" y="9"/>
                    <a:pt x="47" y="9"/>
                    <a:pt x="4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2" name="Freeform 916">
              <a:extLst>
                <a:ext uri="{FF2B5EF4-FFF2-40B4-BE49-F238E27FC236}">
                  <a16:creationId xmlns:a16="http://schemas.microsoft.com/office/drawing/2014/main" id="{2A58A86B-D262-4275-889A-EB495C901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2172" y="4507058"/>
              <a:ext cx="135311" cy="217509"/>
            </a:xfrm>
            <a:custGeom>
              <a:avLst/>
              <a:gdLst>
                <a:gd name="T0" fmla="*/ 38 w 75"/>
                <a:gd name="T1" fmla="*/ 120 h 120"/>
                <a:gd name="T2" fmla="*/ 34 w 75"/>
                <a:gd name="T3" fmla="*/ 120 h 120"/>
                <a:gd name="T4" fmla="*/ 2 w 75"/>
                <a:gd name="T5" fmla="*/ 88 h 120"/>
                <a:gd name="T6" fmla="*/ 9 w 75"/>
                <a:gd name="T7" fmla="*/ 60 h 120"/>
                <a:gd name="T8" fmla="*/ 10 w 75"/>
                <a:gd name="T9" fmla="*/ 56 h 120"/>
                <a:gd name="T10" fmla="*/ 10 w 75"/>
                <a:gd name="T11" fmla="*/ 50 h 120"/>
                <a:gd name="T12" fmla="*/ 17 w 75"/>
                <a:gd name="T13" fmla="*/ 30 h 120"/>
                <a:gd name="T14" fmla="*/ 18 w 75"/>
                <a:gd name="T15" fmla="*/ 26 h 120"/>
                <a:gd name="T16" fmla="*/ 18 w 75"/>
                <a:gd name="T17" fmla="*/ 22 h 120"/>
                <a:gd name="T18" fmla="*/ 40 w 75"/>
                <a:gd name="T19" fmla="*/ 2 h 120"/>
                <a:gd name="T20" fmla="*/ 58 w 75"/>
                <a:gd name="T21" fmla="*/ 18 h 120"/>
                <a:gd name="T22" fmla="*/ 58 w 75"/>
                <a:gd name="T23" fmla="*/ 26 h 120"/>
                <a:gd name="T24" fmla="*/ 59 w 75"/>
                <a:gd name="T25" fmla="*/ 30 h 120"/>
                <a:gd name="T26" fmla="*/ 67 w 75"/>
                <a:gd name="T27" fmla="*/ 46 h 120"/>
                <a:gd name="T28" fmla="*/ 67 w 75"/>
                <a:gd name="T29" fmla="*/ 50 h 120"/>
                <a:gd name="T30" fmla="*/ 66 w 75"/>
                <a:gd name="T31" fmla="*/ 55 h 120"/>
                <a:gd name="T32" fmla="*/ 67 w 75"/>
                <a:gd name="T33" fmla="*/ 60 h 120"/>
                <a:gd name="T34" fmla="*/ 75 w 75"/>
                <a:gd name="T35" fmla="*/ 83 h 120"/>
                <a:gd name="T36" fmla="*/ 72 w 75"/>
                <a:gd name="T37" fmla="*/ 98 h 120"/>
                <a:gd name="T38" fmla="*/ 38 w 75"/>
                <a:gd name="T39" fmla="*/ 120 h 120"/>
                <a:gd name="T40" fmla="*/ 38 w 75"/>
                <a:gd name="T41" fmla="*/ 8 h 120"/>
                <a:gd name="T42" fmla="*/ 25 w 75"/>
                <a:gd name="T43" fmla="*/ 22 h 120"/>
                <a:gd name="T44" fmla="*/ 25 w 75"/>
                <a:gd name="T45" fmla="*/ 24 h 120"/>
                <a:gd name="T46" fmla="*/ 22 w 75"/>
                <a:gd name="T47" fmla="*/ 35 h 120"/>
                <a:gd name="T48" fmla="*/ 16 w 75"/>
                <a:gd name="T49" fmla="*/ 50 h 120"/>
                <a:gd name="T50" fmla="*/ 17 w 75"/>
                <a:gd name="T51" fmla="*/ 55 h 120"/>
                <a:gd name="T52" fmla="*/ 15 w 75"/>
                <a:gd name="T53" fmla="*/ 64 h 120"/>
                <a:gd name="T54" fmla="*/ 8 w 75"/>
                <a:gd name="T55" fmla="*/ 87 h 120"/>
                <a:gd name="T56" fmla="*/ 35 w 75"/>
                <a:gd name="T57" fmla="*/ 113 h 120"/>
                <a:gd name="T58" fmla="*/ 66 w 75"/>
                <a:gd name="T59" fmla="*/ 95 h 120"/>
                <a:gd name="T60" fmla="*/ 68 w 75"/>
                <a:gd name="T61" fmla="*/ 83 h 120"/>
                <a:gd name="T62" fmla="*/ 62 w 75"/>
                <a:gd name="T63" fmla="*/ 64 h 120"/>
                <a:gd name="T64" fmla="*/ 59 w 75"/>
                <a:gd name="T65" fmla="*/ 54 h 120"/>
                <a:gd name="T66" fmla="*/ 60 w 75"/>
                <a:gd name="T67" fmla="*/ 50 h 120"/>
                <a:gd name="T68" fmla="*/ 60 w 75"/>
                <a:gd name="T69" fmla="*/ 47 h 120"/>
                <a:gd name="T70" fmla="*/ 54 w 75"/>
                <a:gd name="T71" fmla="*/ 35 h 120"/>
                <a:gd name="T72" fmla="*/ 51 w 75"/>
                <a:gd name="T73" fmla="*/ 24 h 120"/>
                <a:gd name="T74" fmla="*/ 51 w 75"/>
                <a:gd name="T75" fmla="*/ 19 h 120"/>
                <a:gd name="T76" fmla="*/ 40 w 75"/>
                <a:gd name="T77" fmla="*/ 8 h 120"/>
                <a:gd name="T78" fmla="*/ 38 w 75"/>
                <a:gd name="T79" fmla="*/ 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" h="120">
                  <a:moveTo>
                    <a:pt x="38" y="120"/>
                  </a:moveTo>
                  <a:cubicBezTo>
                    <a:pt x="37" y="120"/>
                    <a:pt x="35" y="120"/>
                    <a:pt x="34" y="120"/>
                  </a:cubicBezTo>
                  <a:cubicBezTo>
                    <a:pt x="17" y="118"/>
                    <a:pt x="4" y="104"/>
                    <a:pt x="2" y="88"/>
                  </a:cubicBezTo>
                  <a:cubicBezTo>
                    <a:pt x="0" y="78"/>
                    <a:pt x="3" y="68"/>
                    <a:pt x="9" y="60"/>
                  </a:cubicBezTo>
                  <a:cubicBezTo>
                    <a:pt x="10" y="59"/>
                    <a:pt x="11" y="57"/>
                    <a:pt x="10" y="56"/>
                  </a:cubicBezTo>
                  <a:cubicBezTo>
                    <a:pt x="10" y="54"/>
                    <a:pt x="10" y="52"/>
                    <a:pt x="10" y="50"/>
                  </a:cubicBezTo>
                  <a:cubicBezTo>
                    <a:pt x="10" y="42"/>
                    <a:pt x="12" y="35"/>
                    <a:pt x="17" y="30"/>
                  </a:cubicBezTo>
                  <a:cubicBezTo>
                    <a:pt x="18" y="29"/>
                    <a:pt x="19" y="27"/>
                    <a:pt x="18" y="26"/>
                  </a:cubicBezTo>
                  <a:cubicBezTo>
                    <a:pt x="18" y="24"/>
                    <a:pt x="18" y="23"/>
                    <a:pt x="18" y="22"/>
                  </a:cubicBezTo>
                  <a:cubicBezTo>
                    <a:pt x="18" y="10"/>
                    <a:pt x="28" y="0"/>
                    <a:pt x="40" y="2"/>
                  </a:cubicBezTo>
                  <a:cubicBezTo>
                    <a:pt x="49" y="3"/>
                    <a:pt x="56" y="9"/>
                    <a:pt x="58" y="18"/>
                  </a:cubicBezTo>
                  <a:cubicBezTo>
                    <a:pt x="59" y="20"/>
                    <a:pt x="58" y="23"/>
                    <a:pt x="58" y="26"/>
                  </a:cubicBezTo>
                  <a:cubicBezTo>
                    <a:pt x="58" y="27"/>
                    <a:pt x="58" y="29"/>
                    <a:pt x="59" y="30"/>
                  </a:cubicBezTo>
                  <a:cubicBezTo>
                    <a:pt x="63" y="35"/>
                    <a:pt x="66" y="40"/>
                    <a:pt x="67" y="46"/>
                  </a:cubicBezTo>
                  <a:cubicBezTo>
                    <a:pt x="67" y="47"/>
                    <a:pt x="67" y="48"/>
                    <a:pt x="67" y="50"/>
                  </a:cubicBezTo>
                  <a:cubicBezTo>
                    <a:pt x="67" y="51"/>
                    <a:pt x="67" y="53"/>
                    <a:pt x="66" y="55"/>
                  </a:cubicBezTo>
                  <a:cubicBezTo>
                    <a:pt x="66" y="57"/>
                    <a:pt x="66" y="59"/>
                    <a:pt x="67" y="60"/>
                  </a:cubicBezTo>
                  <a:cubicBezTo>
                    <a:pt x="72" y="67"/>
                    <a:pt x="75" y="75"/>
                    <a:pt x="75" y="83"/>
                  </a:cubicBezTo>
                  <a:cubicBezTo>
                    <a:pt x="75" y="88"/>
                    <a:pt x="74" y="93"/>
                    <a:pt x="72" y="98"/>
                  </a:cubicBezTo>
                  <a:cubicBezTo>
                    <a:pt x="66" y="111"/>
                    <a:pt x="53" y="120"/>
                    <a:pt x="38" y="120"/>
                  </a:cubicBezTo>
                  <a:close/>
                  <a:moveTo>
                    <a:pt x="38" y="8"/>
                  </a:moveTo>
                  <a:cubicBezTo>
                    <a:pt x="31" y="8"/>
                    <a:pt x="25" y="14"/>
                    <a:pt x="25" y="22"/>
                  </a:cubicBezTo>
                  <a:cubicBezTo>
                    <a:pt x="25" y="22"/>
                    <a:pt x="25" y="23"/>
                    <a:pt x="25" y="24"/>
                  </a:cubicBezTo>
                  <a:cubicBezTo>
                    <a:pt x="26" y="28"/>
                    <a:pt x="25" y="32"/>
                    <a:pt x="22" y="35"/>
                  </a:cubicBezTo>
                  <a:cubicBezTo>
                    <a:pt x="19" y="39"/>
                    <a:pt x="16" y="44"/>
                    <a:pt x="16" y="50"/>
                  </a:cubicBezTo>
                  <a:cubicBezTo>
                    <a:pt x="16" y="51"/>
                    <a:pt x="17" y="53"/>
                    <a:pt x="17" y="55"/>
                  </a:cubicBezTo>
                  <a:cubicBezTo>
                    <a:pt x="18" y="58"/>
                    <a:pt x="17" y="61"/>
                    <a:pt x="15" y="64"/>
                  </a:cubicBezTo>
                  <a:cubicBezTo>
                    <a:pt x="10" y="71"/>
                    <a:pt x="7" y="79"/>
                    <a:pt x="8" y="87"/>
                  </a:cubicBezTo>
                  <a:cubicBezTo>
                    <a:pt x="10" y="100"/>
                    <a:pt x="21" y="111"/>
                    <a:pt x="35" y="113"/>
                  </a:cubicBezTo>
                  <a:cubicBezTo>
                    <a:pt x="48" y="115"/>
                    <a:pt x="61" y="107"/>
                    <a:pt x="66" y="95"/>
                  </a:cubicBezTo>
                  <a:cubicBezTo>
                    <a:pt x="67" y="91"/>
                    <a:pt x="68" y="87"/>
                    <a:pt x="68" y="83"/>
                  </a:cubicBezTo>
                  <a:cubicBezTo>
                    <a:pt x="68" y="76"/>
                    <a:pt x="66" y="70"/>
                    <a:pt x="62" y="64"/>
                  </a:cubicBezTo>
                  <a:cubicBezTo>
                    <a:pt x="59" y="61"/>
                    <a:pt x="59" y="58"/>
                    <a:pt x="59" y="54"/>
                  </a:cubicBezTo>
                  <a:cubicBezTo>
                    <a:pt x="60" y="52"/>
                    <a:pt x="60" y="51"/>
                    <a:pt x="60" y="50"/>
                  </a:cubicBezTo>
                  <a:cubicBezTo>
                    <a:pt x="60" y="49"/>
                    <a:pt x="60" y="48"/>
                    <a:pt x="60" y="47"/>
                  </a:cubicBezTo>
                  <a:cubicBezTo>
                    <a:pt x="59" y="42"/>
                    <a:pt x="57" y="38"/>
                    <a:pt x="54" y="35"/>
                  </a:cubicBezTo>
                  <a:cubicBezTo>
                    <a:pt x="52" y="32"/>
                    <a:pt x="50" y="28"/>
                    <a:pt x="51" y="24"/>
                  </a:cubicBezTo>
                  <a:cubicBezTo>
                    <a:pt x="52" y="22"/>
                    <a:pt x="52" y="21"/>
                    <a:pt x="51" y="19"/>
                  </a:cubicBezTo>
                  <a:cubicBezTo>
                    <a:pt x="50" y="13"/>
                    <a:pt x="45" y="9"/>
                    <a:pt x="40" y="8"/>
                  </a:cubicBezTo>
                  <a:cubicBezTo>
                    <a:pt x="39" y="8"/>
                    <a:pt x="39" y="8"/>
                    <a:pt x="38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3" name="Freeform 917">
              <a:extLst>
                <a:ext uri="{FF2B5EF4-FFF2-40B4-BE49-F238E27FC236}">
                  <a16:creationId xmlns:a16="http://schemas.microsoft.com/office/drawing/2014/main" id="{8A87C572-4954-4CCD-99DA-A9F28D8C9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4389" y="4461533"/>
              <a:ext cx="12646" cy="354084"/>
            </a:xfrm>
            <a:custGeom>
              <a:avLst/>
              <a:gdLst>
                <a:gd name="T0" fmla="*/ 3 w 7"/>
                <a:gd name="T1" fmla="*/ 195 h 195"/>
                <a:gd name="T2" fmla="*/ 0 w 7"/>
                <a:gd name="T3" fmla="*/ 192 h 195"/>
                <a:gd name="T4" fmla="*/ 0 w 7"/>
                <a:gd name="T5" fmla="*/ 3 h 195"/>
                <a:gd name="T6" fmla="*/ 3 w 7"/>
                <a:gd name="T7" fmla="*/ 0 h 195"/>
                <a:gd name="T8" fmla="*/ 7 w 7"/>
                <a:gd name="T9" fmla="*/ 3 h 195"/>
                <a:gd name="T10" fmla="*/ 7 w 7"/>
                <a:gd name="T11" fmla="*/ 192 h 195"/>
                <a:gd name="T12" fmla="*/ 3 w 7"/>
                <a:gd name="T13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5">
                  <a:moveTo>
                    <a:pt x="3" y="195"/>
                  </a:moveTo>
                  <a:cubicBezTo>
                    <a:pt x="2" y="195"/>
                    <a:pt x="0" y="194"/>
                    <a:pt x="0" y="19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92"/>
                    <a:pt x="7" y="192"/>
                    <a:pt x="7" y="192"/>
                  </a:cubicBezTo>
                  <a:cubicBezTo>
                    <a:pt x="7" y="194"/>
                    <a:pt x="5" y="195"/>
                    <a:pt x="3" y="19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4" name="Freeform 918">
              <a:extLst>
                <a:ext uri="{FF2B5EF4-FFF2-40B4-BE49-F238E27FC236}">
                  <a16:creationId xmlns:a16="http://schemas.microsoft.com/office/drawing/2014/main" id="{57984553-81CC-4522-9507-DDD163D69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0011" y="4628458"/>
              <a:ext cx="67023" cy="65758"/>
            </a:xfrm>
            <a:custGeom>
              <a:avLst/>
              <a:gdLst>
                <a:gd name="T0" fmla="*/ 33 w 37"/>
                <a:gd name="T1" fmla="*/ 36 h 36"/>
                <a:gd name="T2" fmla="*/ 31 w 37"/>
                <a:gd name="T3" fmla="*/ 35 h 36"/>
                <a:gd name="T4" fmla="*/ 2 w 37"/>
                <a:gd name="T5" fmla="*/ 6 h 36"/>
                <a:gd name="T6" fmla="*/ 2 w 37"/>
                <a:gd name="T7" fmla="*/ 1 h 36"/>
                <a:gd name="T8" fmla="*/ 7 w 37"/>
                <a:gd name="T9" fmla="*/ 1 h 36"/>
                <a:gd name="T10" fmla="*/ 36 w 37"/>
                <a:gd name="T11" fmla="*/ 30 h 36"/>
                <a:gd name="T12" fmla="*/ 36 w 37"/>
                <a:gd name="T13" fmla="*/ 35 h 36"/>
                <a:gd name="T14" fmla="*/ 33 w 37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6">
                  <a:moveTo>
                    <a:pt x="33" y="36"/>
                  </a:moveTo>
                  <a:cubicBezTo>
                    <a:pt x="33" y="36"/>
                    <a:pt x="32" y="36"/>
                    <a:pt x="31" y="3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7" y="32"/>
                    <a:pt x="37" y="34"/>
                    <a:pt x="36" y="35"/>
                  </a:cubicBezTo>
                  <a:cubicBezTo>
                    <a:pt x="35" y="36"/>
                    <a:pt x="34" y="36"/>
                    <a:pt x="33" y="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5" name="Freeform 919">
              <a:extLst>
                <a:ext uri="{FF2B5EF4-FFF2-40B4-BE49-F238E27FC236}">
                  <a16:creationId xmlns:a16="http://schemas.microsoft.com/office/drawing/2014/main" id="{6381F974-6EF5-4783-998A-DE12432D8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4389" y="4590521"/>
              <a:ext cx="42996" cy="42996"/>
            </a:xfrm>
            <a:custGeom>
              <a:avLst/>
              <a:gdLst>
                <a:gd name="T0" fmla="*/ 3 w 24"/>
                <a:gd name="T1" fmla="*/ 24 h 24"/>
                <a:gd name="T2" fmla="*/ 1 w 24"/>
                <a:gd name="T3" fmla="*/ 23 h 24"/>
                <a:gd name="T4" fmla="*/ 1 w 24"/>
                <a:gd name="T5" fmla="*/ 18 h 24"/>
                <a:gd name="T6" fmla="*/ 18 w 24"/>
                <a:gd name="T7" fmla="*/ 1 h 24"/>
                <a:gd name="T8" fmla="*/ 23 w 24"/>
                <a:gd name="T9" fmla="*/ 1 h 24"/>
                <a:gd name="T10" fmla="*/ 23 w 24"/>
                <a:gd name="T11" fmla="*/ 6 h 24"/>
                <a:gd name="T12" fmla="*/ 6 w 24"/>
                <a:gd name="T13" fmla="*/ 23 h 24"/>
                <a:gd name="T14" fmla="*/ 3 w 24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3" y="24"/>
                  </a:moveTo>
                  <a:cubicBezTo>
                    <a:pt x="3" y="24"/>
                    <a:pt x="2" y="23"/>
                    <a:pt x="1" y="23"/>
                  </a:cubicBezTo>
                  <a:cubicBezTo>
                    <a:pt x="0" y="21"/>
                    <a:pt x="0" y="19"/>
                    <a:pt x="1" y="18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2"/>
                    <a:pt x="24" y="5"/>
                    <a:pt x="23" y="6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5" y="23"/>
                    <a:pt x="4" y="24"/>
                    <a:pt x="3" y="2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6" name="Freeform 920">
              <a:extLst>
                <a:ext uri="{FF2B5EF4-FFF2-40B4-BE49-F238E27FC236}">
                  <a16:creationId xmlns:a16="http://schemas.microsoft.com/office/drawing/2014/main" id="{34B1E26C-BFFC-490B-92F7-734B2B936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0361" y="4514646"/>
              <a:ext cx="36673" cy="35408"/>
            </a:xfrm>
            <a:custGeom>
              <a:avLst/>
              <a:gdLst>
                <a:gd name="T0" fmla="*/ 16 w 20"/>
                <a:gd name="T1" fmla="*/ 20 h 20"/>
                <a:gd name="T2" fmla="*/ 14 w 20"/>
                <a:gd name="T3" fmla="*/ 19 h 20"/>
                <a:gd name="T4" fmla="*/ 1 w 20"/>
                <a:gd name="T5" fmla="*/ 6 h 20"/>
                <a:gd name="T6" fmla="*/ 1 w 20"/>
                <a:gd name="T7" fmla="*/ 1 h 20"/>
                <a:gd name="T8" fmla="*/ 6 w 20"/>
                <a:gd name="T9" fmla="*/ 1 h 20"/>
                <a:gd name="T10" fmla="*/ 19 w 20"/>
                <a:gd name="T11" fmla="*/ 14 h 20"/>
                <a:gd name="T12" fmla="*/ 19 w 20"/>
                <a:gd name="T13" fmla="*/ 19 h 20"/>
                <a:gd name="T14" fmla="*/ 16 w 2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6" y="20"/>
                  </a:moveTo>
                  <a:cubicBezTo>
                    <a:pt x="16" y="20"/>
                    <a:pt x="15" y="19"/>
                    <a:pt x="14" y="1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5"/>
                    <a:pt x="20" y="17"/>
                    <a:pt x="19" y="19"/>
                  </a:cubicBezTo>
                  <a:cubicBezTo>
                    <a:pt x="18" y="19"/>
                    <a:pt x="17" y="20"/>
                    <a:pt x="16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7" name="Freeform 921">
              <a:extLst>
                <a:ext uri="{FF2B5EF4-FFF2-40B4-BE49-F238E27FC236}">
                  <a16:creationId xmlns:a16="http://schemas.microsoft.com/office/drawing/2014/main" id="{D375377A-CA6B-421A-8D00-2287739A6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5401" y="4560171"/>
              <a:ext cx="12646" cy="255446"/>
            </a:xfrm>
            <a:custGeom>
              <a:avLst/>
              <a:gdLst>
                <a:gd name="T0" fmla="*/ 3 w 7"/>
                <a:gd name="T1" fmla="*/ 141 h 141"/>
                <a:gd name="T2" fmla="*/ 0 w 7"/>
                <a:gd name="T3" fmla="*/ 138 h 141"/>
                <a:gd name="T4" fmla="*/ 0 w 7"/>
                <a:gd name="T5" fmla="*/ 4 h 141"/>
                <a:gd name="T6" fmla="*/ 3 w 7"/>
                <a:gd name="T7" fmla="*/ 0 h 141"/>
                <a:gd name="T8" fmla="*/ 7 w 7"/>
                <a:gd name="T9" fmla="*/ 4 h 141"/>
                <a:gd name="T10" fmla="*/ 7 w 7"/>
                <a:gd name="T11" fmla="*/ 138 h 141"/>
                <a:gd name="T12" fmla="*/ 3 w 7"/>
                <a:gd name="T13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1">
                  <a:moveTo>
                    <a:pt x="3" y="141"/>
                  </a:moveTo>
                  <a:cubicBezTo>
                    <a:pt x="1" y="141"/>
                    <a:pt x="0" y="140"/>
                    <a:pt x="0" y="13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40"/>
                    <a:pt x="5" y="141"/>
                    <a:pt x="3" y="14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8" name="Freeform 922">
              <a:extLst>
                <a:ext uri="{FF2B5EF4-FFF2-40B4-BE49-F238E27FC236}">
                  <a16:creationId xmlns:a16="http://schemas.microsoft.com/office/drawing/2014/main" id="{792C97DC-AF3C-43F8-88F7-6A08B94AD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2112" y="4537408"/>
              <a:ext cx="12646" cy="278209"/>
            </a:xfrm>
            <a:custGeom>
              <a:avLst/>
              <a:gdLst>
                <a:gd name="T0" fmla="*/ 4 w 7"/>
                <a:gd name="T1" fmla="*/ 153 h 153"/>
                <a:gd name="T2" fmla="*/ 0 w 7"/>
                <a:gd name="T3" fmla="*/ 150 h 153"/>
                <a:gd name="T4" fmla="*/ 0 w 7"/>
                <a:gd name="T5" fmla="*/ 3 h 153"/>
                <a:gd name="T6" fmla="*/ 4 w 7"/>
                <a:gd name="T7" fmla="*/ 0 h 153"/>
                <a:gd name="T8" fmla="*/ 7 w 7"/>
                <a:gd name="T9" fmla="*/ 3 h 153"/>
                <a:gd name="T10" fmla="*/ 7 w 7"/>
                <a:gd name="T11" fmla="*/ 150 h 153"/>
                <a:gd name="T12" fmla="*/ 4 w 7"/>
                <a:gd name="T1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3">
                  <a:moveTo>
                    <a:pt x="4" y="153"/>
                  </a:moveTo>
                  <a:cubicBezTo>
                    <a:pt x="2" y="153"/>
                    <a:pt x="0" y="152"/>
                    <a:pt x="0" y="15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7" y="152"/>
                    <a:pt x="6" y="153"/>
                    <a:pt x="4" y="15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29" name="Freeform 923">
              <a:extLst>
                <a:ext uri="{FF2B5EF4-FFF2-40B4-BE49-F238E27FC236}">
                  <a16:creationId xmlns:a16="http://schemas.microsoft.com/office/drawing/2014/main" id="{47102FCF-FB11-492A-AA21-DDEDB0078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8201" y="4566494"/>
              <a:ext cx="26556" cy="29085"/>
            </a:xfrm>
            <a:custGeom>
              <a:avLst/>
              <a:gdLst>
                <a:gd name="T0" fmla="*/ 12 w 15"/>
                <a:gd name="T1" fmla="*/ 16 h 16"/>
                <a:gd name="T2" fmla="*/ 9 w 15"/>
                <a:gd name="T3" fmla="*/ 15 h 16"/>
                <a:gd name="T4" fmla="*/ 1 w 15"/>
                <a:gd name="T5" fmla="*/ 6 h 16"/>
                <a:gd name="T6" fmla="*/ 1 w 15"/>
                <a:gd name="T7" fmla="*/ 2 h 16"/>
                <a:gd name="T8" fmla="*/ 6 w 15"/>
                <a:gd name="T9" fmla="*/ 2 h 16"/>
                <a:gd name="T10" fmla="*/ 14 w 15"/>
                <a:gd name="T11" fmla="*/ 10 h 16"/>
                <a:gd name="T12" fmla="*/ 14 w 15"/>
                <a:gd name="T13" fmla="*/ 15 h 16"/>
                <a:gd name="T14" fmla="*/ 12 w 15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6">
                  <a:moveTo>
                    <a:pt x="12" y="16"/>
                  </a:moveTo>
                  <a:cubicBezTo>
                    <a:pt x="11" y="16"/>
                    <a:pt x="10" y="15"/>
                    <a:pt x="9" y="1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4" y="0"/>
                    <a:pt x="6" y="2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5" y="11"/>
                    <a:pt x="15" y="13"/>
                    <a:pt x="14" y="15"/>
                  </a:cubicBezTo>
                  <a:cubicBezTo>
                    <a:pt x="13" y="15"/>
                    <a:pt x="13" y="16"/>
                    <a:pt x="12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0" name="Freeform 924">
              <a:extLst>
                <a:ext uri="{FF2B5EF4-FFF2-40B4-BE49-F238E27FC236}">
                  <a16:creationId xmlns:a16="http://schemas.microsoft.com/office/drawing/2014/main" id="{93C966EE-A597-424E-9BAC-D247C3A91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2112" y="4628458"/>
              <a:ext cx="44260" cy="44260"/>
            </a:xfrm>
            <a:custGeom>
              <a:avLst/>
              <a:gdLst>
                <a:gd name="T0" fmla="*/ 4 w 24"/>
                <a:gd name="T1" fmla="*/ 24 h 24"/>
                <a:gd name="T2" fmla="*/ 1 w 24"/>
                <a:gd name="T3" fmla="*/ 23 h 24"/>
                <a:gd name="T4" fmla="*/ 1 w 24"/>
                <a:gd name="T5" fmla="*/ 18 h 24"/>
                <a:gd name="T6" fmla="*/ 18 w 24"/>
                <a:gd name="T7" fmla="*/ 1 h 24"/>
                <a:gd name="T8" fmla="*/ 23 w 24"/>
                <a:gd name="T9" fmla="*/ 1 h 24"/>
                <a:gd name="T10" fmla="*/ 23 w 24"/>
                <a:gd name="T11" fmla="*/ 6 h 24"/>
                <a:gd name="T12" fmla="*/ 6 w 24"/>
                <a:gd name="T13" fmla="*/ 23 h 24"/>
                <a:gd name="T14" fmla="*/ 4 w 24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4" y="24"/>
                  </a:moveTo>
                  <a:cubicBezTo>
                    <a:pt x="3" y="24"/>
                    <a:pt x="2" y="23"/>
                    <a:pt x="1" y="23"/>
                  </a:cubicBezTo>
                  <a:cubicBezTo>
                    <a:pt x="0" y="21"/>
                    <a:pt x="0" y="19"/>
                    <a:pt x="1" y="18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2" y="0"/>
                    <a:pt x="23" y="1"/>
                  </a:cubicBezTo>
                  <a:cubicBezTo>
                    <a:pt x="24" y="2"/>
                    <a:pt x="24" y="5"/>
                    <a:pt x="23" y="6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5" y="23"/>
                    <a:pt x="5" y="24"/>
                    <a:pt x="4" y="2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1" name="Freeform 925">
              <a:extLst>
                <a:ext uri="{FF2B5EF4-FFF2-40B4-BE49-F238E27FC236}">
                  <a16:creationId xmlns:a16="http://schemas.microsoft.com/office/drawing/2014/main" id="{F017BCAF-3807-4DCE-863A-B09DAC24F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1374" y="4658809"/>
              <a:ext cx="32879" cy="31615"/>
            </a:xfrm>
            <a:custGeom>
              <a:avLst/>
              <a:gdLst>
                <a:gd name="T0" fmla="*/ 14 w 18"/>
                <a:gd name="T1" fmla="*/ 17 h 17"/>
                <a:gd name="T2" fmla="*/ 12 w 18"/>
                <a:gd name="T3" fmla="*/ 16 h 17"/>
                <a:gd name="T4" fmla="*/ 1 w 18"/>
                <a:gd name="T5" fmla="*/ 6 h 17"/>
                <a:gd name="T6" fmla="*/ 1 w 18"/>
                <a:gd name="T7" fmla="*/ 1 h 17"/>
                <a:gd name="T8" fmla="*/ 6 w 18"/>
                <a:gd name="T9" fmla="*/ 1 h 17"/>
                <a:gd name="T10" fmla="*/ 17 w 18"/>
                <a:gd name="T11" fmla="*/ 11 h 17"/>
                <a:gd name="T12" fmla="*/ 17 w 18"/>
                <a:gd name="T13" fmla="*/ 16 h 17"/>
                <a:gd name="T14" fmla="*/ 14 w 18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14" y="17"/>
                  </a:moveTo>
                  <a:cubicBezTo>
                    <a:pt x="13" y="17"/>
                    <a:pt x="12" y="17"/>
                    <a:pt x="12" y="1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3"/>
                    <a:pt x="18" y="15"/>
                    <a:pt x="17" y="16"/>
                  </a:cubicBezTo>
                  <a:cubicBezTo>
                    <a:pt x="16" y="17"/>
                    <a:pt x="15" y="17"/>
                    <a:pt x="14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2" name="Freeform 926">
              <a:extLst>
                <a:ext uri="{FF2B5EF4-FFF2-40B4-BE49-F238E27FC236}">
                  <a16:creationId xmlns:a16="http://schemas.microsoft.com/office/drawing/2014/main" id="{E20A1298-F1DE-48F3-A0FA-3D39D3B7D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2872" y="4612019"/>
              <a:ext cx="29085" cy="29085"/>
            </a:xfrm>
            <a:custGeom>
              <a:avLst/>
              <a:gdLst>
                <a:gd name="T0" fmla="*/ 4 w 16"/>
                <a:gd name="T1" fmla="*/ 16 h 16"/>
                <a:gd name="T2" fmla="*/ 2 w 16"/>
                <a:gd name="T3" fmla="*/ 15 h 16"/>
                <a:gd name="T4" fmla="*/ 2 w 16"/>
                <a:gd name="T5" fmla="*/ 10 h 16"/>
                <a:gd name="T6" fmla="*/ 10 w 16"/>
                <a:gd name="T7" fmla="*/ 2 h 16"/>
                <a:gd name="T8" fmla="*/ 15 w 16"/>
                <a:gd name="T9" fmla="*/ 2 h 16"/>
                <a:gd name="T10" fmla="*/ 15 w 16"/>
                <a:gd name="T11" fmla="*/ 7 h 16"/>
                <a:gd name="T12" fmla="*/ 7 w 16"/>
                <a:gd name="T13" fmla="*/ 15 h 16"/>
                <a:gd name="T14" fmla="*/ 4 w 16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6">
                  <a:moveTo>
                    <a:pt x="4" y="16"/>
                  </a:moveTo>
                  <a:cubicBezTo>
                    <a:pt x="3" y="16"/>
                    <a:pt x="2" y="16"/>
                    <a:pt x="2" y="15"/>
                  </a:cubicBezTo>
                  <a:cubicBezTo>
                    <a:pt x="0" y="14"/>
                    <a:pt x="0" y="11"/>
                    <a:pt x="2" y="10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0"/>
                    <a:pt x="14" y="0"/>
                    <a:pt x="15" y="2"/>
                  </a:cubicBezTo>
                  <a:cubicBezTo>
                    <a:pt x="16" y="3"/>
                    <a:pt x="16" y="5"/>
                    <a:pt x="15" y="7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6"/>
                    <a:pt x="5" y="16"/>
                    <a:pt x="4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3" name="Freeform 927">
              <a:extLst>
                <a:ext uri="{FF2B5EF4-FFF2-40B4-BE49-F238E27FC236}">
                  <a16:creationId xmlns:a16="http://schemas.microsoft.com/office/drawing/2014/main" id="{CA3952F6-5900-4400-9F56-E96EBDF03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3436" y="4802971"/>
              <a:ext cx="408461" cy="12646"/>
            </a:xfrm>
            <a:custGeom>
              <a:avLst/>
              <a:gdLst>
                <a:gd name="T0" fmla="*/ 222 w 225"/>
                <a:gd name="T1" fmla="*/ 7 h 7"/>
                <a:gd name="T2" fmla="*/ 4 w 225"/>
                <a:gd name="T3" fmla="*/ 7 h 7"/>
                <a:gd name="T4" fmla="*/ 0 w 225"/>
                <a:gd name="T5" fmla="*/ 4 h 7"/>
                <a:gd name="T6" fmla="*/ 4 w 225"/>
                <a:gd name="T7" fmla="*/ 0 h 7"/>
                <a:gd name="T8" fmla="*/ 222 w 225"/>
                <a:gd name="T9" fmla="*/ 0 h 7"/>
                <a:gd name="T10" fmla="*/ 225 w 225"/>
                <a:gd name="T11" fmla="*/ 4 h 7"/>
                <a:gd name="T12" fmla="*/ 222 w 22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7">
                  <a:moveTo>
                    <a:pt x="222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3" y="0"/>
                    <a:pt x="225" y="2"/>
                    <a:pt x="225" y="4"/>
                  </a:cubicBezTo>
                  <a:cubicBezTo>
                    <a:pt x="225" y="6"/>
                    <a:pt x="223" y="7"/>
                    <a:pt x="222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4" name="Freeform 928">
              <a:extLst>
                <a:ext uri="{FF2B5EF4-FFF2-40B4-BE49-F238E27FC236}">
                  <a16:creationId xmlns:a16="http://schemas.microsoft.com/office/drawing/2014/main" id="{0E3F8C99-2CB0-4DF1-9D70-1497B9BFE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7249" y="4757446"/>
              <a:ext cx="12646" cy="58171"/>
            </a:xfrm>
            <a:custGeom>
              <a:avLst/>
              <a:gdLst>
                <a:gd name="T0" fmla="*/ 4 w 7"/>
                <a:gd name="T1" fmla="*/ 32 h 32"/>
                <a:gd name="T2" fmla="*/ 0 w 7"/>
                <a:gd name="T3" fmla="*/ 29 h 32"/>
                <a:gd name="T4" fmla="*/ 0 w 7"/>
                <a:gd name="T5" fmla="*/ 4 h 32"/>
                <a:gd name="T6" fmla="*/ 4 w 7"/>
                <a:gd name="T7" fmla="*/ 0 h 32"/>
                <a:gd name="T8" fmla="*/ 7 w 7"/>
                <a:gd name="T9" fmla="*/ 4 h 32"/>
                <a:gd name="T10" fmla="*/ 7 w 7"/>
                <a:gd name="T11" fmla="*/ 29 h 32"/>
                <a:gd name="T12" fmla="*/ 4 w 7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2">
                  <a:moveTo>
                    <a:pt x="4" y="32"/>
                  </a:moveTo>
                  <a:cubicBezTo>
                    <a:pt x="2" y="32"/>
                    <a:pt x="0" y="31"/>
                    <a:pt x="0" y="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1"/>
                    <a:pt x="5" y="32"/>
                    <a:pt x="4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5" name="Freeform 929">
              <a:extLst>
                <a:ext uri="{FF2B5EF4-FFF2-40B4-BE49-F238E27FC236}">
                  <a16:creationId xmlns:a16="http://schemas.microsoft.com/office/drawing/2014/main" id="{16DEE823-A635-4E21-9674-124AFEAB8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1276" y="4773886"/>
              <a:ext cx="12646" cy="41731"/>
            </a:xfrm>
            <a:custGeom>
              <a:avLst/>
              <a:gdLst>
                <a:gd name="T0" fmla="*/ 3 w 7"/>
                <a:gd name="T1" fmla="*/ 23 h 23"/>
                <a:gd name="T2" fmla="*/ 0 w 7"/>
                <a:gd name="T3" fmla="*/ 20 h 23"/>
                <a:gd name="T4" fmla="*/ 0 w 7"/>
                <a:gd name="T5" fmla="*/ 3 h 23"/>
                <a:gd name="T6" fmla="*/ 3 w 7"/>
                <a:gd name="T7" fmla="*/ 0 h 23"/>
                <a:gd name="T8" fmla="*/ 7 w 7"/>
                <a:gd name="T9" fmla="*/ 3 h 23"/>
                <a:gd name="T10" fmla="*/ 7 w 7"/>
                <a:gd name="T11" fmla="*/ 20 h 23"/>
                <a:gd name="T12" fmla="*/ 3 w 7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3" y="23"/>
                  </a:moveTo>
                  <a:cubicBezTo>
                    <a:pt x="1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2"/>
                    <a:pt x="5" y="23"/>
                    <a:pt x="3" y="2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6" name="Freeform 930">
              <a:extLst>
                <a:ext uri="{FF2B5EF4-FFF2-40B4-BE49-F238E27FC236}">
                  <a16:creationId xmlns:a16="http://schemas.microsoft.com/office/drawing/2014/main" id="{4F834D1C-0B23-4672-A66A-0FA608D4D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5751" y="4781473"/>
              <a:ext cx="11381" cy="34144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1" y="19"/>
                    <a:pt x="0" y="18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8"/>
                    <a:pt x="5" y="19"/>
                    <a:pt x="3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7" name="Freeform 931">
              <a:extLst>
                <a:ext uri="{FF2B5EF4-FFF2-40B4-BE49-F238E27FC236}">
                  <a16:creationId xmlns:a16="http://schemas.microsoft.com/office/drawing/2014/main" id="{F2E0B445-F17D-4F5D-B9A2-4DFE02EF6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7851" y="4773886"/>
              <a:ext cx="12646" cy="41731"/>
            </a:xfrm>
            <a:custGeom>
              <a:avLst/>
              <a:gdLst>
                <a:gd name="T0" fmla="*/ 4 w 7"/>
                <a:gd name="T1" fmla="*/ 23 h 23"/>
                <a:gd name="T2" fmla="*/ 0 w 7"/>
                <a:gd name="T3" fmla="*/ 20 h 23"/>
                <a:gd name="T4" fmla="*/ 0 w 7"/>
                <a:gd name="T5" fmla="*/ 3 h 23"/>
                <a:gd name="T6" fmla="*/ 4 w 7"/>
                <a:gd name="T7" fmla="*/ 0 h 23"/>
                <a:gd name="T8" fmla="*/ 7 w 7"/>
                <a:gd name="T9" fmla="*/ 3 h 23"/>
                <a:gd name="T10" fmla="*/ 7 w 7"/>
                <a:gd name="T11" fmla="*/ 20 h 23"/>
                <a:gd name="T12" fmla="*/ 4 w 7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4" y="23"/>
                  </a:moveTo>
                  <a:cubicBezTo>
                    <a:pt x="2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2"/>
                    <a:pt x="5" y="23"/>
                    <a:pt x="4" y="2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38" name="Freeform 932">
              <a:extLst>
                <a:ext uri="{FF2B5EF4-FFF2-40B4-BE49-F238E27FC236}">
                  <a16:creationId xmlns:a16="http://schemas.microsoft.com/office/drawing/2014/main" id="{D3908F79-AEAB-4AD4-BBD5-1B593A5AF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614" y="4787796"/>
              <a:ext cx="12646" cy="27821"/>
            </a:xfrm>
            <a:custGeom>
              <a:avLst/>
              <a:gdLst>
                <a:gd name="T0" fmla="*/ 3 w 7"/>
                <a:gd name="T1" fmla="*/ 15 h 15"/>
                <a:gd name="T2" fmla="*/ 0 w 7"/>
                <a:gd name="T3" fmla="*/ 12 h 15"/>
                <a:gd name="T4" fmla="*/ 0 w 7"/>
                <a:gd name="T5" fmla="*/ 4 h 15"/>
                <a:gd name="T6" fmla="*/ 3 w 7"/>
                <a:gd name="T7" fmla="*/ 0 h 15"/>
                <a:gd name="T8" fmla="*/ 7 w 7"/>
                <a:gd name="T9" fmla="*/ 4 h 15"/>
                <a:gd name="T10" fmla="*/ 7 w 7"/>
                <a:gd name="T11" fmla="*/ 12 h 15"/>
                <a:gd name="T12" fmla="*/ 3 w 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3" y="15"/>
                  </a:moveTo>
                  <a:cubicBezTo>
                    <a:pt x="1" y="15"/>
                    <a:pt x="0" y="14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5" y="15"/>
                    <a:pt x="3" y="1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4" name="Agrupar 1723">
            <a:extLst>
              <a:ext uri="{FF2B5EF4-FFF2-40B4-BE49-F238E27FC236}">
                <a16:creationId xmlns:a16="http://schemas.microsoft.com/office/drawing/2014/main" id="{8920B3DB-A67B-4555-BDC2-3FF5AABB8EBA}"/>
              </a:ext>
            </a:extLst>
          </p:cNvPr>
          <p:cNvGrpSpPr/>
          <p:nvPr/>
        </p:nvGrpSpPr>
        <p:grpSpPr>
          <a:xfrm>
            <a:off x="8700058" y="4381864"/>
            <a:ext cx="347761" cy="460309"/>
            <a:chOff x="9381670" y="4381864"/>
            <a:chExt cx="347761" cy="460309"/>
          </a:xfrm>
        </p:grpSpPr>
        <p:sp>
          <p:nvSpPr>
            <p:cNvPr id="1539" name="Freeform 933">
              <a:extLst>
                <a:ext uri="{FF2B5EF4-FFF2-40B4-BE49-F238E27FC236}">
                  <a16:creationId xmlns:a16="http://schemas.microsoft.com/office/drawing/2014/main" id="{11867803-0466-419A-B141-9694A1E66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1670" y="4409685"/>
              <a:ext cx="347761" cy="332586"/>
            </a:xfrm>
            <a:custGeom>
              <a:avLst/>
              <a:gdLst>
                <a:gd name="T0" fmla="*/ 71 w 192"/>
                <a:gd name="T1" fmla="*/ 184 h 184"/>
                <a:gd name="T2" fmla="*/ 43 w 192"/>
                <a:gd name="T3" fmla="*/ 179 h 184"/>
                <a:gd name="T4" fmla="*/ 0 w 192"/>
                <a:gd name="T5" fmla="*/ 39 h 184"/>
                <a:gd name="T6" fmla="*/ 31 w 192"/>
                <a:gd name="T7" fmla="*/ 1 h 184"/>
                <a:gd name="T8" fmla="*/ 28 w 192"/>
                <a:gd name="T9" fmla="*/ 18 h 184"/>
                <a:gd name="T10" fmla="*/ 49 w 192"/>
                <a:gd name="T11" fmla="*/ 128 h 184"/>
                <a:gd name="T12" fmla="*/ 47 w 192"/>
                <a:gd name="T13" fmla="*/ 134 h 184"/>
                <a:gd name="T14" fmla="*/ 43 w 192"/>
                <a:gd name="T15" fmla="*/ 134 h 184"/>
                <a:gd name="T16" fmla="*/ 36 w 192"/>
                <a:gd name="T17" fmla="*/ 141 h 184"/>
                <a:gd name="T18" fmla="*/ 60 w 192"/>
                <a:gd name="T19" fmla="*/ 148 h 184"/>
                <a:gd name="T20" fmla="*/ 65 w 192"/>
                <a:gd name="T21" fmla="*/ 146 h 184"/>
                <a:gd name="T22" fmla="*/ 69 w 192"/>
                <a:gd name="T23" fmla="*/ 139 h 184"/>
                <a:gd name="T24" fmla="*/ 83 w 192"/>
                <a:gd name="T25" fmla="*/ 140 h 184"/>
                <a:gd name="T26" fmla="*/ 120 w 192"/>
                <a:gd name="T27" fmla="*/ 139 h 184"/>
                <a:gd name="T28" fmla="*/ 125 w 192"/>
                <a:gd name="T29" fmla="*/ 142 h 184"/>
                <a:gd name="T30" fmla="*/ 132 w 192"/>
                <a:gd name="T31" fmla="*/ 148 h 184"/>
                <a:gd name="T32" fmla="*/ 153 w 192"/>
                <a:gd name="T33" fmla="*/ 146 h 184"/>
                <a:gd name="T34" fmla="*/ 149 w 192"/>
                <a:gd name="T35" fmla="*/ 134 h 184"/>
                <a:gd name="T36" fmla="*/ 145 w 192"/>
                <a:gd name="T37" fmla="*/ 134 h 184"/>
                <a:gd name="T38" fmla="*/ 143 w 192"/>
                <a:gd name="T39" fmla="*/ 128 h 184"/>
                <a:gd name="T40" fmla="*/ 164 w 192"/>
                <a:gd name="T41" fmla="*/ 18 h 184"/>
                <a:gd name="T42" fmla="*/ 161 w 192"/>
                <a:gd name="T43" fmla="*/ 1 h 184"/>
                <a:gd name="T44" fmla="*/ 192 w 192"/>
                <a:gd name="T45" fmla="*/ 39 h 184"/>
                <a:gd name="T46" fmla="*/ 149 w 192"/>
                <a:gd name="T47" fmla="*/ 179 h 184"/>
                <a:gd name="T48" fmla="*/ 121 w 192"/>
                <a:gd name="T49" fmla="*/ 184 h 184"/>
                <a:gd name="T50" fmla="*/ 7 w 192"/>
                <a:gd name="T51" fmla="*/ 39 h 184"/>
                <a:gd name="T52" fmla="*/ 45 w 192"/>
                <a:gd name="T53" fmla="*/ 172 h 184"/>
                <a:gd name="T54" fmla="*/ 71 w 192"/>
                <a:gd name="T55" fmla="*/ 178 h 184"/>
                <a:gd name="T56" fmla="*/ 131 w 192"/>
                <a:gd name="T57" fmla="*/ 177 h 184"/>
                <a:gd name="T58" fmla="*/ 185 w 192"/>
                <a:gd name="T59" fmla="*/ 114 h 184"/>
                <a:gd name="T60" fmla="*/ 170 w 192"/>
                <a:gd name="T61" fmla="*/ 10 h 184"/>
                <a:gd name="T62" fmla="*/ 171 w 192"/>
                <a:gd name="T63" fmla="*/ 85 h 184"/>
                <a:gd name="T64" fmla="*/ 162 w 192"/>
                <a:gd name="T65" fmla="*/ 141 h 184"/>
                <a:gd name="T66" fmla="*/ 148 w 192"/>
                <a:gd name="T67" fmla="*/ 155 h 184"/>
                <a:gd name="T68" fmla="*/ 127 w 192"/>
                <a:gd name="T69" fmla="*/ 154 h 184"/>
                <a:gd name="T70" fmla="*/ 109 w 192"/>
                <a:gd name="T71" fmla="*/ 147 h 184"/>
                <a:gd name="T72" fmla="*/ 73 w 192"/>
                <a:gd name="T73" fmla="*/ 146 h 184"/>
                <a:gd name="T74" fmla="*/ 65 w 192"/>
                <a:gd name="T75" fmla="*/ 154 h 184"/>
                <a:gd name="T76" fmla="*/ 44 w 192"/>
                <a:gd name="T77" fmla="*/ 155 h 184"/>
                <a:gd name="T78" fmla="*/ 34 w 192"/>
                <a:gd name="T79" fmla="*/ 131 h 184"/>
                <a:gd name="T80" fmla="*/ 21 w 192"/>
                <a:gd name="T81" fmla="*/ 85 h 184"/>
                <a:gd name="T82" fmla="*/ 22 w 192"/>
                <a:gd name="T83" fmla="*/ 1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2" h="184">
                  <a:moveTo>
                    <a:pt x="121" y="184"/>
                  </a:moveTo>
                  <a:cubicBezTo>
                    <a:pt x="71" y="184"/>
                    <a:pt x="71" y="184"/>
                    <a:pt x="71" y="184"/>
                  </a:cubicBezTo>
                  <a:cubicBezTo>
                    <a:pt x="67" y="184"/>
                    <a:pt x="64" y="184"/>
                    <a:pt x="60" y="184"/>
                  </a:cubicBezTo>
                  <a:cubicBezTo>
                    <a:pt x="54" y="183"/>
                    <a:pt x="48" y="181"/>
                    <a:pt x="43" y="179"/>
                  </a:cubicBezTo>
                  <a:cubicBezTo>
                    <a:pt x="17" y="167"/>
                    <a:pt x="0" y="142"/>
                    <a:pt x="0" y="11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1"/>
                    <a:pt x="11" y="6"/>
                    <a:pt x="27" y="0"/>
                  </a:cubicBezTo>
                  <a:cubicBezTo>
                    <a:pt x="29" y="0"/>
                    <a:pt x="30" y="0"/>
                    <a:pt x="31" y="1"/>
                  </a:cubicBezTo>
                  <a:cubicBezTo>
                    <a:pt x="32" y="2"/>
                    <a:pt x="32" y="4"/>
                    <a:pt x="31" y="5"/>
                  </a:cubicBezTo>
                  <a:cubicBezTo>
                    <a:pt x="29" y="9"/>
                    <a:pt x="28" y="13"/>
                    <a:pt x="28" y="18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02"/>
                    <a:pt x="36" y="118"/>
                    <a:pt x="49" y="128"/>
                  </a:cubicBezTo>
                  <a:cubicBezTo>
                    <a:pt x="50" y="129"/>
                    <a:pt x="51" y="131"/>
                    <a:pt x="50" y="132"/>
                  </a:cubicBezTo>
                  <a:cubicBezTo>
                    <a:pt x="50" y="133"/>
                    <a:pt x="49" y="134"/>
                    <a:pt x="47" y="134"/>
                  </a:cubicBezTo>
                  <a:cubicBezTo>
                    <a:pt x="44" y="134"/>
                    <a:pt x="44" y="134"/>
                    <a:pt x="44" y="134"/>
                  </a:cubicBezTo>
                  <a:cubicBezTo>
                    <a:pt x="43" y="134"/>
                    <a:pt x="43" y="134"/>
                    <a:pt x="43" y="134"/>
                  </a:cubicBezTo>
                  <a:cubicBezTo>
                    <a:pt x="41" y="134"/>
                    <a:pt x="40" y="135"/>
                    <a:pt x="39" y="136"/>
                  </a:cubicBezTo>
                  <a:cubicBezTo>
                    <a:pt x="37" y="138"/>
                    <a:pt x="36" y="139"/>
                    <a:pt x="36" y="141"/>
                  </a:cubicBezTo>
                  <a:cubicBezTo>
                    <a:pt x="36" y="145"/>
                    <a:pt x="40" y="148"/>
                    <a:pt x="44" y="148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1" y="148"/>
                    <a:pt x="62" y="148"/>
                    <a:pt x="63" y="148"/>
                  </a:cubicBezTo>
                  <a:cubicBezTo>
                    <a:pt x="64" y="148"/>
                    <a:pt x="65" y="147"/>
                    <a:pt x="65" y="146"/>
                  </a:cubicBezTo>
                  <a:cubicBezTo>
                    <a:pt x="67" y="145"/>
                    <a:pt x="67" y="143"/>
                    <a:pt x="67" y="142"/>
                  </a:cubicBezTo>
                  <a:cubicBezTo>
                    <a:pt x="67" y="141"/>
                    <a:pt x="68" y="140"/>
                    <a:pt x="69" y="139"/>
                  </a:cubicBezTo>
                  <a:cubicBezTo>
                    <a:pt x="69" y="139"/>
                    <a:pt x="70" y="138"/>
                    <a:pt x="71" y="139"/>
                  </a:cubicBezTo>
                  <a:cubicBezTo>
                    <a:pt x="75" y="140"/>
                    <a:pt x="79" y="140"/>
                    <a:pt x="83" y="140"/>
                  </a:cubicBezTo>
                  <a:cubicBezTo>
                    <a:pt x="109" y="140"/>
                    <a:pt x="109" y="140"/>
                    <a:pt x="109" y="140"/>
                  </a:cubicBezTo>
                  <a:cubicBezTo>
                    <a:pt x="113" y="140"/>
                    <a:pt x="117" y="140"/>
                    <a:pt x="120" y="139"/>
                  </a:cubicBezTo>
                  <a:cubicBezTo>
                    <a:pt x="121" y="138"/>
                    <a:pt x="122" y="139"/>
                    <a:pt x="123" y="139"/>
                  </a:cubicBezTo>
                  <a:cubicBezTo>
                    <a:pt x="124" y="140"/>
                    <a:pt x="124" y="141"/>
                    <a:pt x="125" y="142"/>
                  </a:cubicBezTo>
                  <a:cubicBezTo>
                    <a:pt x="125" y="145"/>
                    <a:pt x="127" y="147"/>
                    <a:pt x="129" y="148"/>
                  </a:cubicBezTo>
                  <a:cubicBezTo>
                    <a:pt x="130" y="148"/>
                    <a:pt x="131" y="148"/>
                    <a:pt x="132" y="148"/>
                  </a:cubicBezTo>
                  <a:cubicBezTo>
                    <a:pt x="148" y="148"/>
                    <a:pt x="148" y="148"/>
                    <a:pt x="148" y="148"/>
                  </a:cubicBezTo>
                  <a:cubicBezTo>
                    <a:pt x="150" y="148"/>
                    <a:pt x="152" y="148"/>
                    <a:pt x="153" y="146"/>
                  </a:cubicBezTo>
                  <a:cubicBezTo>
                    <a:pt x="155" y="145"/>
                    <a:pt x="155" y="143"/>
                    <a:pt x="155" y="141"/>
                  </a:cubicBezTo>
                  <a:cubicBezTo>
                    <a:pt x="155" y="138"/>
                    <a:pt x="153" y="134"/>
                    <a:pt x="149" y="134"/>
                  </a:cubicBezTo>
                  <a:cubicBezTo>
                    <a:pt x="148" y="134"/>
                    <a:pt x="148" y="134"/>
                    <a:pt x="148" y="13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3" y="134"/>
                    <a:pt x="142" y="133"/>
                    <a:pt x="142" y="132"/>
                  </a:cubicBezTo>
                  <a:cubicBezTo>
                    <a:pt x="141" y="131"/>
                    <a:pt x="142" y="129"/>
                    <a:pt x="143" y="128"/>
                  </a:cubicBezTo>
                  <a:cubicBezTo>
                    <a:pt x="156" y="118"/>
                    <a:pt x="164" y="102"/>
                    <a:pt x="164" y="85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13"/>
                    <a:pt x="163" y="9"/>
                    <a:pt x="160" y="5"/>
                  </a:cubicBezTo>
                  <a:cubicBezTo>
                    <a:pt x="160" y="4"/>
                    <a:pt x="160" y="2"/>
                    <a:pt x="161" y="1"/>
                  </a:cubicBezTo>
                  <a:cubicBezTo>
                    <a:pt x="162" y="0"/>
                    <a:pt x="163" y="0"/>
                    <a:pt x="165" y="0"/>
                  </a:cubicBezTo>
                  <a:cubicBezTo>
                    <a:pt x="181" y="6"/>
                    <a:pt x="192" y="21"/>
                    <a:pt x="192" y="39"/>
                  </a:cubicBezTo>
                  <a:cubicBezTo>
                    <a:pt x="192" y="114"/>
                    <a:pt x="192" y="114"/>
                    <a:pt x="192" y="114"/>
                  </a:cubicBezTo>
                  <a:cubicBezTo>
                    <a:pt x="192" y="142"/>
                    <a:pt x="175" y="167"/>
                    <a:pt x="149" y="179"/>
                  </a:cubicBezTo>
                  <a:cubicBezTo>
                    <a:pt x="144" y="181"/>
                    <a:pt x="138" y="183"/>
                    <a:pt x="132" y="184"/>
                  </a:cubicBezTo>
                  <a:cubicBezTo>
                    <a:pt x="128" y="184"/>
                    <a:pt x="125" y="184"/>
                    <a:pt x="121" y="184"/>
                  </a:cubicBezTo>
                  <a:close/>
                  <a:moveTo>
                    <a:pt x="22" y="10"/>
                  </a:moveTo>
                  <a:cubicBezTo>
                    <a:pt x="13" y="17"/>
                    <a:pt x="7" y="27"/>
                    <a:pt x="7" y="39"/>
                  </a:cubicBezTo>
                  <a:cubicBezTo>
                    <a:pt x="7" y="114"/>
                    <a:pt x="7" y="114"/>
                    <a:pt x="7" y="114"/>
                  </a:cubicBezTo>
                  <a:cubicBezTo>
                    <a:pt x="7" y="139"/>
                    <a:pt x="22" y="162"/>
                    <a:pt x="45" y="172"/>
                  </a:cubicBezTo>
                  <a:cubicBezTo>
                    <a:pt x="50" y="175"/>
                    <a:pt x="56" y="176"/>
                    <a:pt x="61" y="177"/>
                  </a:cubicBezTo>
                  <a:cubicBezTo>
                    <a:pt x="64" y="177"/>
                    <a:pt x="67" y="178"/>
                    <a:pt x="71" y="178"/>
                  </a:cubicBezTo>
                  <a:cubicBezTo>
                    <a:pt x="121" y="178"/>
                    <a:pt x="121" y="178"/>
                    <a:pt x="121" y="178"/>
                  </a:cubicBezTo>
                  <a:cubicBezTo>
                    <a:pt x="124" y="178"/>
                    <a:pt x="128" y="177"/>
                    <a:pt x="131" y="177"/>
                  </a:cubicBezTo>
                  <a:cubicBezTo>
                    <a:pt x="136" y="176"/>
                    <a:pt x="141" y="175"/>
                    <a:pt x="146" y="172"/>
                  </a:cubicBezTo>
                  <a:cubicBezTo>
                    <a:pt x="170" y="162"/>
                    <a:pt x="185" y="139"/>
                    <a:pt x="185" y="114"/>
                  </a:cubicBezTo>
                  <a:cubicBezTo>
                    <a:pt x="185" y="39"/>
                    <a:pt x="185" y="39"/>
                    <a:pt x="185" y="39"/>
                  </a:cubicBezTo>
                  <a:cubicBezTo>
                    <a:pt x="185" y="27"/>
                    <a:pt x="179" y="17"/>
                    <a:pt x="170" y="10"/>
                  </a:cubicBezTo>
                  <a:cubicBezTo>
                    <a:pt x="170" y="13"/>
                    <a:pt x="171" y="15"/>
                    <a:pt x="171" y="18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71" y="101"/>
                    <a:pt x="164" y="117"/>
                    <a:pt x="153" y="128"/>
                  </a:cubicBezTo>
                  <a:cubicBezTo>
                    <a:pt x="158" y="130"/>
                    <a:pt x="162" y="135"/>
                    <a:pt x="162" y="141"/>
                  </a:cubicBezTo>
                  <a:cubicBezTo>
                    <a:pt x="162" y="145"/>
                    <a:pt x="161" y="148"/>
                    <a:pt x="158" y="151"/>
                  </a:cubicBezTo>
                  <a:cubicBezTo>
                    <a:pt x="156" y="154"/>
                    <a:pt x="152" y="155"/>
                    <a:pt x="148" y="155"/>
                  </a:cubicBezTo>
                  <a:cubicBezTo>
                    <a:pt x="132" y="155"/>
                    <a:pt x="132" y="155"/>
                    <a:pt x="132" y="155"/>
                  </a:cubicBezTo>
                  <a:cubicBezTo>
                    <a:pt x="130" y="155"/>
                    <a:pt x="129" y="155"/>
                    <a:pt x="127" y="154"/>
                  </a:cubicBezTo>
                  <a:cubicBezTo>
                    <a:pt x="123" y="153"/>
                    <a:pt x="120" y="150"/>
                    <a:pt x="118" y="146"/>
                  </a:cubicBezTo>
                  <a:cubicBezTo>
                    <a:pt x="115" y="147"/>
                    <a:pt x="112" y="147"/>
                    <a:pt x="109" y="147"/>
                  </a:cubicBezTo>
                  <a:cubicBezTo>
                    <a:pt x="83" y="147"/>
                    <a:pt x="83" y="147"/>
                    <a:pt x="83" y="147"/>
                  </a:cubicBezTo>
                  <a:cubicBezTo>
                    <a:pt x="80" y="147"/>
                    <a:pt x="77" y="147"/>
                    <a:pt x="73" y="146"/>
                  </a:cubicBezTo>
                  <a:cubicBezTo>
                    <a:pt x="73" y="148"/>
                    <a:pt x="72" y="150"/>
                    <a:pt x="70" y="151"/>
                  </a:cubicBezTo>
                  <a:cubicBezTo>
                    <a:pt x="69" y="153"/>
                    <a:pt x="67" y="154"/>
                    <a:pt x="65" y="154"/>
                  </a:cubicBezTo>
                  <a:cubicBezTo>
                    <a:pt x="63" y="155"/>
                    <a:pt x="62" y="155"/>
                    <a:pt x="60" y="155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36" y="155"/>
                    <a:pt x="30" y="149"/>
                    <a:pt x="30" y="141"/>
                  </a:cubicBezTo>
                  <a:cubicBezTo>
                    <a:pt x="30" y="138"/>
                    <a:pt x="31" y="134"/>
                    <a:pt x="34" y="131"/>
                  </a:cubicBezTo>
                  <a:cubicBezTo>
                    <a:pt x="35" y="130"/>
                    <a:pt x="37" y="129"/>
                    <a:pt x="39" y="128"/>
                  </a:cubicBezTo>
                  <a:cubicBezTo>
                    <a:pt x="28" y="117"/>
                    <a:pt x="21" y="101"/>
                    <a:pt x="21" y="85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5"/>
                    <a:pt x="22" y="13"/>
                    <a:pt x="22" y="1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0" name="Freeform 934">
              <a:extLst>
                <a:ext uri="{FF2B5EF4-FFF2-40B4-BE49-F238E27FC236}">
                  <a16:creationId xmlns:a16="http://schemas.microsoft.com/office/drawing/2014/main" id="{34989331-0B2E-41DC-B23C-362ED09C06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36047" y="4639840"/>
              <a:ext cx="79669" cy="50583"/>
            </a:xfrm>
            <a:custGeom>
              <a:avLst/>
              <a:gdLst>
                <a:gd name="T0" fmla="*/ 30 w 44"/>
                <a:gd name="T1" fmla="*/ 28 h 28"/>
                <a:gd name="T2" fmla="*/ 14 w 44"/>
                <a:gd name="T3" fmla="*/ 28 h 28"/>
                <a:gd name="T4" fmla="*/ 0 w 44"/>
                <a:gd name="T5" fmla="*/ 14 h 28"/>
                <a:gd name="T6" fmla="*/ 4 w 44"/>
                <a:gd name="T7" fmla="*/ 4 h 28"/>
                <a:gd name="T8" fmla="*/ 13 w 44"/>
                <a:gd name="T9" fmla="*/ 0 h 28"/>
                <a:gd name="T10" fmla="*/ 14 w 44"/>
                <a:gd name="T11" fmla="*/ 0 h 28"/>
                <a:gd name="T12" fmla="*/ 30 w 44"/>
                <a:gd name="T13" fmla="*/ 0 h 28"/>
                <a:gd name="T14" fmla="*/ 44 w 44"/>
                <a:gd name="T15" fmla="*/ 14 h 28"/>
                <a:gd name="T16" fmla="*/ 44 w 44"/>
                <a:gd name="T17" fmla="*/ 15 h 28"/>
                <a:gd name="T18" fmla="*/ 44 w 44"/>
                <a:gd name="T19" fmla="*/ 15 h 28"/>
                <a:gd name="T20" fmla="*/ 40 w 44"/>
                <a:gd name="T21" fmla="*/ 24 h 28"/>
                <a:gd name="T22" fmla="*/ 35 w 44"/>
                <a:gd name="T23" fmla="*/ 27 h 28"/>
                <a:gd name="T24" fmla="*/ 30 w 44"/>
                <a:gd name="T25" fmla="*/ 28 h 28"/>
                <a:gd name="T26" fmla="*/ 14 w 44"/>
                <a:gd name="T27" fmla="*/ 7 h 28"/>
                <a:gd name="T28" fmla="*/ 13 w 44"/>
                <a:gd name="T29" fmla="*/ 7 h 28"/>
                <a:gd name="T30" fmla="*/ 9 w 44"/>
                <a:gd name="T31" fmla="*/ 9 h 28"/>
                <a:gd name="T32" fmla="*/ 6 w 44"/>
                <a:gd name="T33" fmla="*/ 14 h 28"/>
                <a:gd name="T34" fmla="*/ 14 w 44"/>
                <a:gd name="T35" fmla="*/ 21 h 28"/>
                <a:gd name="T36" fmla="*/ 30 w 44"/>
                <a:gd name="T37" fmla="*/ 21 h 28"/>
                <a:gd name="T38" fmla="*/ 33 w 44"/>
                <a:gd name="T39" fmla="*/ 21 h 28"/>
                <a:gd name="T40" fmla="*/ 35 w 44"/>
                <a:gd name="T41" fmla="*/ 19 h 28"/>
                <a:gd name="T42" fmla="*/ 37 w 44"/>
                <a:gd name="T43" fmla="*/ 15 h 28"/>
                <a:gd name="T44" fmla="*/ 37 w 44"/>
                <a:gd name="T45" fmla="*/ 14 h 28"/>
                <a:gd name="T46" fmla="*/ 30 w 44"/>
                <a:gd name="T47" fmla="*/ 7 h 28"/>
                <a:gd name="T48" fmla="*/ 14 w 44"/>
                <a:gd name="T4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28">
                  <a:moveTo>
                    <a:pt x="30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6" y="28"/>
                    <a:pt x="0" y="22"/>
                    <a:pt x="0" y="14"/>
                  </a:cubicBezTo>
                  <a:cubicBezTo>
                    <a:pt x="0" y="11"/>
                    <a:pt x="1" y="7"/>
                    <a:pt x="4" y="4"/>
                  </a:cubicBezTo>
                  <a:cubicBezTo>
                    <a:pt x="6" y="2"/>
                    <a:pt x="9" y="1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8" y="0"/>
                    <a:pt x="44" y="7"/>
                    <a:pt x="44" y="1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9"/>
                    <a:pt x="42" y="22"/>
                    <a:pt x="40" y="24"/>
                  </a:cubicBezTo>
                  <a:cubicBezTo>
                    <a:pt x="39" y="26"/>
                    <a:pt x="37" y="27"/>
                    <a:pt x="35" y="27"/>
                  </a:cubicBezTo>
                  <a:cubicBezTo>
                    <a:pt x="33" y="28"/>
                    <a:pt x="32" y="28"/>
                    <a:pt x="30" y="28"/>
                  </a:cubicBezTo>
                  <a:close/>
                  <a:moveTo>
                    <a:pt x="14" y="7"/>
                  </a:moveTo>
                  <a:cubicBezTo>
                    <a:pt x="13" y="7"/>
                    <a:pt x="13" y="7"/>
                    <a:pt x="13" y="7"/>
                  </a:cubicBezTo>
                  <a:cubicBezTo>
                    <a:pt x="11" y="7"/>
                    <a:pt x="10" y="8"/>
                    <a:pt x="9" y="9"/>
                  </a:cubicBezTo>
                  <a:cubicBezTo>
                    <a:pt x="7" y="11"/>
                    <a:pt x="6" y="12"/>
                    <a:pt x="6" y="14"/>
                  </a:cubicBezTo>
                  <a:cubicBezTo>
                    <a:pt x="6" y="18"/>
                    <a:pt x="10" y="21"/>
                    <a:pt x="14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1"/>
                    <a:pt x="35" y="20"/>
                    <a:pt x="35" y="19"/>
                  </a:cubicBezTo>
                  <a:cubicBezTo>
                    <a:pt x="37" y="18"/>
                    <a:pt x="37" y="16"/>
                    <a:pt x="37" y="15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0"/>
                    <a:pt x="34" y="7"/>
                    <a:pt x="30" y="7"/>
                  </a:cubicBezTo>
                  <a:lnTo>
                    <a:pt x="14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1" name="Freeform 935">
              <a:extLst>
                <a:ext uri="{FF2B5EF4-FFF2-40B4-BE49-F238E27FC236}">
                  <a16:creationId xmlns:a16="http://schemas.microsoft.com/office/drawing/2014/main" id="{EBCAA055-3F55-4959-B788-00AC23ECCE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5385" y="4639840"/>
              <a:ext cx="79669" cy="50583"/>
            </a:xfrm>
            <a:custGeom>
              <a:avLst/>
              <a:gdLst>
                <a:gd name="T0" fmla="*/ 30 w 44"/>
                <a:gd name="T1" fmla="*/ 28 h 28"/>
                <a:gd name="T2" fmla="*/ 14 w 44"/>
                <a:gd name="T3" fmla="*/ 28 h 28"/>
                <a:gd name="T4" fmla="*/ 9 w 44"/>
                <a:gd name="T5" fmla="*/ 27 h 28"/>
                <a:gd name="T6" fmla="*/ 0 w 44"/>
                <a:gd name="T7" fmla="*/ 15 h 28"/>
                <a:gd name="T8" fmla="*/ 0 w 44"/>
                <a:gd name="T9" fmla="*/ 14 h 28"/>
                <a:gd name="T10" fmla="*/ 4 w 44"/>
                <a:gd name="T11" fmla="*/ 4 h 28"/>
                <a:gd name="T12" fmla="*/ 14 w 44"/>
                <a:gd name="T13" fmla="*/ 0 h 28"/>
                <a:gd name="T14" fmla="*/ 30 w 44"/>
                <a:gd name="T15" fmla="*/ 0 h 28"/>
                <a:gd name="T16" fmla="*/ 32 w 44"/>
                <a:gd name="T17" fmla="*/ 0 h 28"/>
                <a:gd name="T18" fmla="*/ 44 w 44"/>
                <a:gd name="T19" fmla="*/ 14 h 28"/>
                <a:gd name="T20" fmla="*/ 40 w 44"/>
                <a:gd name="T21" fmla="*/ 24 h 28"/>
                <a:gd name="T22" fmla="*/ 30 w 44"/>
                <a:gd name="T23" fmla="*/ 28 h 28"/>
                <a:gd name="T24" fmla="*/ 14 w 44"/>
                <a:gd name="T25" fmla="*/ 7 h 28"/>
                <a:gd name="T26" fmla="*/ 9 w 44"/>
                <a:gd name="T27" fmla="*/ 9 h 28"/>
                <a:gd name="T28" fmla="*/ 7 w 44"/>
                <a:gd name="T29" fmla="*/ 14 h 28"/>
                <a:gd name="T30" fmla="*/ 7 w 44"/>
                <a:gd name="T31" fmla="*/ 15 h 28"/>
                <a:gd name="T32" fmla="*/ 11 w 44"/>
                <a:gd name="T33" fmla="*/ 21 h 28"/>
                <a:gd name="T34" fmla="*/ 14 w 44"/>
                <a:gd name="T35" fmla="*/ 21 h 28"/>
                <a:gd name="T36" fmla="*/ 30 w 44"/>
                <a:gd name="T37" fmla="*/ 21 h 28"/>
                <a:gd name="T38" fmla="*/ 35 w 44"/>
                <a:gd name="T39" fmla="*/ 19 h 28"/>
                <a:gd name="T40" fmla="*/ 37 w 44"/>
                <a:gd name="T41" fmla="*/ 14 h 28"/>
                <a:gd name="T42" fmla="*/ 31 w 44"/>
                <a:gd name="T43" fmla="*/ 7 h 28"/>
                <a:gd name="T44" fmla="*/ 30 w 44"/>
                <a:gd name="T45" fmla="*/ 7 h 28"/>
                <a:gd name="T46" fmla="*/ 14 w 44"/>
                <a:gd name="T47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28">
                  <a:moveTo>
                    <a:pt x="30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12" y="28"/>
                    <a:pt x="11" y="28"/>
                    <a:pt x="9" y="27"/>
                  </a:cubicBezTo>
                  <a:cubicBezTo>
                    <a:pt x="4" y="26"/>
                    <a:pt x="0" y="21"/>
                    <a:pt x="0" y="15"/>
                  </a:cubicBezTo>
                  <a:cubicBezTo>
                    <a:pt x="0" y="15"/>
                    <a:pt x="0" y="15"/>
                    <a:pt x="0" y="14"/>
                  </a:cubicBezTo>
                  <a:cubicBezTo>
                    <a:pt x="0" y="11"/>
                    <a:pt x="1" y="7"/>
                    <a:pt x="4" y="4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1" y="0"/>
                    <a:pt x="32" y="0"/>
                  </a:cubicBezTo>
                  <a:cubicBezTo>
                    <a:pt x="39" y="1"/>
                    <a:pt x="44" y="7"/>
                    <a:pt x="44" y="14"/>
                  </a:cubicBezTo>
                  <a:cubicBezTo>
                    <a:pt x="44" y="18"/>
                    <a:pt x="43" y="21"/>
                    <a:pt x="40" y="24"/>
                  </a:cubicBezTo>
                  <a:cubicBezTo>
                    <a:pt x="38" y="27"/>
                    <a:pt x="34" y="28"/>
                    <a:pt x="30" y="28"/>
                  </a:cubicBezTo>
                  <a:close/>
                  <a:moveTo>
                    <a:pt x="14" y="7"/>
                  </a:moveTo>
                  <a:cubicBezTo>
                    <a:pt x="12" y="7"/>
                    <a:pt x="10" y="8"/>
                    <a:pt x="9" y="9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4"/>
                    <a:pt x="7" y="15"/>
                    <a:pt x="7" y="15"/>
                  </a:cubicBezTo>
                  <a:cubicBezTo>
                    <a:pt x="7" y="18"/>
                    <a:pt x="9" y="20"/>
                    <a:pt x="11" y="21"/>
                  </a:cubicBezTo>
                  <a:cubicBezTo>
                    <a:pt x="12" y="21"/>
                    <a:pt x="13" y="21"/>
                    <a:pt x="14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2" y="21"/>
                    <a:pt x="34" y="21"/>
                    <a:pt x="35" y="19"/>
                  </a:cubicBezTo>
                  <a:cubicBezTo>
                    <a:pt x="37" y="18"/>
                    <a:pt x="37" y="16"/>
                    <a:pt x="37" y="14"/>
                  </a:cubicBezTo>
                  <a:cubicBezTo>
                    <a:pt x="37" y="11"/>
                    <a:pt x="35" y="7"/>
                    <a:pt x="31" y="7"/>
                  </a:cubicBezTo>
                  <a:cubicBezTo>
                    <a:pt x="30" y="7"/>
                    <a:pt x="30" y="7"/>
                    <a:pt x="30" y="7"/>
                  </a:cubicBezTo>
                  <a:lnTo>
                    <a:pt x="14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2" name="Freeform 936">
              <a:extLst>
                <a:ext uri="{FF2B5EF4-FFF2-40B4-BE49-F238E27FC236}">
                  <a16:creationId xmlns:a16="http://schemas.microsoft.com/office/drawing/2014/main" id="{9EB09C3B-4803-4950-9DC5-476E7C4C8D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57545" y="4451417"/>
              <a:ext cx="196011" cy="185894"/>
            </a:xfrm>
            <a:custGeom>
              <a:avLst/>
              <a:gdLst>
                <a:gd name="T0" fmla="*/ 63 w 108"/>
                <a:gd name="T1" fmla="*/ 103 h 103"/>
                <a:gd name="T2" fmla="*/ 45 w 108"/>
                <a:gd name="T3" fmla="*/ 103 h 103"/>
                <a:gd name="T4" fmla="*/ 0 w 108"/>
                <a:gd name="T5" fmla="*/ 58 h 103"/>
                <a:gd name="T6" fmla="*/ 0 w 108"/>
                <a:gd name="T7" fmla="*/ 10 h 103"/>
                <a:gd name="T8" fmla="*/ 10 w 108"/>
                <a:gd name="T9" fmla="*/ 0 h 103"/>
                <a:gd name="T10" fmla="*/ 97 w 108"/>
                <a:gd name="T11" fmla="*/ 0 h 103"/>
                <a:gd name="T12" fmla="*/ 108 w 108"/>
                <a:gd name="T13" fmla="*/ 10 h 103"/>
                <a:gd name="T14" fmla="*/ 108 w 108"/>
                <a:gd name="T15" fmla="*/ 58 h 103"/>
                <a:gd name="T16" fmla="*/ 63 w 108"/>
                <a:gd name="T17" fmla="*/ 103 h 103"/>
                <a:gd name="T18" fmla="*/ 10 w 108"/>
                <a:gd name="T19" fmla="*/ 6 h 103"/>
                <a:gd name="T20" fmla="*/ 7 w 108"/>
                <a:gd name="T21" fmla="*/ 10 h 103"/>
                <a:gd name="T22" fmla="*/ 7 w 108"/>
                <a:gd name="T23" fmla="*/ 58 h 103"/>
                <a:gd name="T24" fmla="*/ 45 w 108"/>
                <a:gd name="T25" fmla="*/ 96 h 103"/>
                <a:gd name="T26" fmla="*/ 63 w 108"/>
                <a:gd name="T27" fmla="*/ 96 h 103"/>
                <a:gd name="T28" fmla="*/ 101 w 108"/>
                <a:gd name="T29" fmla="*/ 58 h 103"/>
                <a:gd name="T30" fmla="*/ 101 w 108"/>
                <a:gd name="T31" fmla="*/ 10 h 103"/>
                <a:gd name="T32" fmla="*/ 97 w 108"/>
                <a:gd name="T33" fmla="*/ 6 h 103"/>
                <a:gd name="T34" fmla="*/ 10 w 108"/>
                <a:gd name="T35" fmla="*/ 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8" h="103">
                  <a:moveTo>
                    <a:pt x="63" y="103"/>
                  </a:moveTo>
                  <a:cubicBezTo>
                    <a:pt x="45" y="103"/>
                    <a:pt x="45" y="103"/>
                    <a:pt x="45" y="103"/>
                  </a:cubicBezTo>
                  <a:cubicBezTo>
                    <a:pt x="20" y="103"/>
                    <a:pt x="0" y="83"/>
                    <a:pt x="0" y="5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3" y="0"/>
                    <a:pt x="108" y="4"/>
                    <a:pt x="108" y="10"/>
                  </a:cubicBezTo>
                  <a:cubicBezTo>
                    <a:pt x="108" y="58"/>
                    <a:pt x="108" y="58"/>
                    <a:pt x="108" y="58"/>
                  </a:cubicBezTo>
                  <a:cubicBezTo>
                    <a:pt x="108" y="83"/>
                    <a:pt x="88" y="103"/>
                    <a:pt x="63" y="103"/>
                  </a:cubicBezTo>
                  <a:close/>
                  <a:moveTo>
                    <a:pt x="10" y="6"/>
                  </a:moveTo>
                  <a:cubicBezTo>
                    <a:pt x="9" y="6"/>
                    <a:pt x="7" y="8"/>
                    <a:pt x="7" y="10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79"/>
                    <a:pt x="24" y="96"/>
                    <a:pt x="45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84" y="96"/>
                    <a:pt x="101" y="79"/>
                    <a:pt x="101" y="58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1" y="8"/>
                    <a:pt x="99" y="6"/>
                    <a:pt x="97" y="6"/>
                  </a:cubicBezTo>
                  <a:lnTo>
                    <a:pt x="10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3" name="Freeform 937">
              <a:extLst>
                <a:ext uri="{FF2B5EF4-FFF2-40B4-BE49-F238E27FC236}">
                  <a16:creationId xmlns:a16="http://schemas.microsoft.com/office/drawing/2014/main" id="{F567FBA8-6489-4657-90E3-EB7A0ECB9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3089" y="4720773"/>
              <a:ext cx="104961" cy="121400"/>
            </a:xfrm>
            <a:custGeom>
              <a:avLst/>
              <a:gdLst>
                <a:gd name="T0" fmla="*/ 35 w 58"/>
                <a:gd name="T1" fmla="*/ 67 h 67"/>
                <a:gd name="T2" fmla="*/ 32 w 58"/>
                <a:gd name="T3" fmla="*/ 65 h 67"/>
                <a:gd name="T4" fmla="*/ 0 w 58"/>
                <a:gd name="T5" fmla="*/ 10 h 67"/>
                <a:gd name="T6" fmla="*/ 0 w 58"/>
                <a:gd name="T7" fmla="*/ 7 h 67"/>
                <a:gd name="T8" fmla="*/ 3 w 58"/>
                <a:gd name="T9" fmla="*/ 5 h 67"/>
                <a:gd name="T10" fmla="*/ 18 w 58"/>
                <a:gd name="T11" fmla="*/ 0 h 67"/>
                <a:gd name="T12" fmla="*/ 23 w 58"/>
                <a:gd name="T13" fmla="*/ 2 h 67"/>
                <a:gd name="T14" fmla="*/ 57 w 58"/>
                <a:gd name="T15" fmla="*/ 62 h 67"/>
                <a:gd name="T16" fmla="*/ 56 w 58"/>
                <a:gd name="T17" fmla="*/ 67 h 67"/>
                <a:gd name="T18" fmla="*/ 52 w 58"/>
                <a:gd name="T19" fmla="*/ 65 h 67"/>
                <a:gd name="T20" fmla="*/ 18 w 58"/>
                <a:gd name="T21" fmla="*/ 8 h 67"/>
                <a:gd name="T22" fmla="*/ 9 w 58"/>
                <a:gd name="T23" fmla="*/ 11 h 67"/>
                <a:gd name="T24" fmla="*/ 38 w 58"/>
                <a:gd name="T25" fmla="*/ 62 h 67"/>
                <a:gd name="T26" fmla="*/ 37 w 58"/>
                <a:gd name="T27" fmla="*/ 67 h 67"/>
                <a:gd name="T28" fmla="*/ 35 w 58"/>
                <a:gd name="T2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67">
                  <a:moveTo>
                    <a:pt x="35" y="67"/>
                  </a:moveTo>
                  <a:cubicBezTo>
                    <a:pt x="34" y="67"/>
                    <a:pt x="33" y="66"/>
                    <a:pt x="32" y="6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1" y="6"/>
                    <a:pt x="2" y="5"/>
                    <a:pt x="3" y="5"/>
                  </a:cubicBezTo>
                  <a:cubicBezTo>
                    <a:pt x="8" y="4"/>
                    <a:pt x="13" y="3"/>
                    <a:pt x="18" y="0"/>
                  </a:cubicBezTo>
                  <a:cubicBezTo>
                    <a:pt x="20" y="0"/>
                    <a:pt x="22" y="0"/>
                    <a:pt x="23" y="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58" y="63"/>
                    <a:pt x="58" y="66"/>
                    <a:pt x="56" y="67"/>
                  </a:cubicBezTo>
                  <a:cubicBezTo>
                    <a:pt x="55" y="67"/>
                    <a:pt x="52" y="67"/>
                    <a:pt x="52" y="65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5" y="9"/>
                    <a:pt x="12" y="10"/>
                    <a:pt x="9" y="11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9" y="63"/>
                    <a:pt x="39" y="66"/>
                    <a:pt x="37" y="67"/>
                  </a:cubicBezTo>
                  <a:cubicBezTo>
                    <a:pt x="36" y="67"/>
                    <a:pt x="36" y="67"/>
                    <a:pt x="35" y="6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4" name="Freeform 938">
              <a:extLst>
                <a:ext uri="{FF2B5EF4-FFF2-40B4-BE49-F238E27FC236}">
                  <a16:creationId xmlns:a16="http://schemas.microsoft.com/office/drawing/2014/main" id="{B2B0BA7B-D9EC-4B40-A35B-7A227394F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0522" y="4720773"/>
              <a:ext cx="106225" cy="121400"/>
            </a:xfrm>
            <a:custGeom>
              <a:avLst/>
              <a:gdLst>
                <a:gd name="T0" fmla="*/ 24 w 59"/>
                <a:gd name="T1" fmla="*/ 67 h 67"/>
                <a:gd name="T2" fmla="*/ 22 w 59"/>
                <a:gd name="T3" fmla="*/ 67 h 67"/>
                <a:gd name="T4" fmla="*/ 21 w 59"/>
                <a:gd name="T5" fmla="*/ 62 h 67"/>
                <a:gd name="T6" fmla="*/ 50 w 59"/>
                <a:gd name="T7" fmla="*/ 11 h 67"/>
                <a:gd name="T8" fmla="*/ 41 w 59"/>
                <a:gd name="T9" fmla="*/ 8 h 67"/>
                <a:gd name="T10" fmla="*/ 7 w 59"/>
                <a:gd name="T11" fmla="*/ 65 h 67"/>
                <a:gd name="T12" fmla="*/ 3 w 59"/>
                <a:gd name="T13" fmla="*/ 67 h 67"/>
                <a:gd name="T14" fmla="*/ 1 w 59"/>
                <a:gd name="T15" fmla="*/ 62 h 67"/>
                <a:gd name="T16" fmla="*/ 36 w 59"/>
                <a:gd name="T17" fmla="*/ 2 h 67"/>
                <a:gd name="T18" fmla="*/ 40 w 59"/>
                <a:gd name="T19" fmla="*/ 0 h 67"/>
                <a:gd name="T20" fmla="*/ 56 w 59"/>
                <a:gd name="T21" fmla="*/ 5 h 67"/>
                <a:gd name="T22" fmla="*/ 59 w 59"/>
                <a:gd name="T23" fmla="*/ 7 h 67"/>
                <a:gd name="T24" fmla="*/ 59 w 59"/>
                <a:gd name="T25" fmla="*/ 10 h 67"/>
                <a:gd name="T26" fmla="*/ 27 w 59"/>
                <a:gd name="T27" fmla="*/ 65 h 67"/>
                <a:gd name="T28" fmla="*/ 24 w 59"/>
                <a:gd name="T2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67">
                  <a:moveTo>
                    <a:pt x="24" y="67"/>
                  </a:moveTo>
                  <a:cubicBezTo>
                    <a:pt x="23" y="67"/>
                    <a:pt x="23" y="67"/>
                    <a:pt x="22" y="67"/>
                  </a:cubicBezTo>
                  <a:cubicBezTo>
                    <a:pt x="20" y="66"/>
                    <a:pt x="20" y="63"/>
                    <a:pt x="21" y="62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7" y="10"/>
                    <a:pt x="44" y="9"/>
                    <a:pt x="41" y="8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6" y="67"/>
                    <a:pt x="4" y="67"/>
                    <a:pt x="3" y="67"/>
                  </a:cubicBezTo>
                  <a:cubicBezTo>
                    <a:pt x="1" y="66"/>
                    <a:pt x="0" y="63"/>
                    <a:pt x="1" y="6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7" y="0"/>
                    <a:pt x="39" y="0"/>
                    <a:pt x="40" y="0"/>
                  </a:cubicBezTo>
                  <a:cubicBezTo>
                    <a:pt x="45" y="3"/>
                    <a:pt x="51" y="4"/>
                    <a:pt x="56" y="5"/>
                  </a:cubicBezTo>
                  <a:cubicBezTo>
                    <a:pt x="57" y="5"/>
                    <a:pt x="58" y="6"/>
                    <a:pt x="59" y="7"/>
                  </a:cubicBezTo>
                  <a:cubicBezTo>
                    <a:pt x="59" y="8"/>
                    <a:pt x="59" y="9"/>
                    <a:pt x="59" y="10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6" y="66"/>
                    <a:pt x="25" y="67"/>
                    <a:pt x="24" y="6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5" name="Freeform 939">
              <a:extLst>
                <a:ext uri="{FF2B5EF4-FFF2-40B4-BE49-F238E27FC236}">
                  <a16:creationId xmlns:a16="http://schemas.microsoft.com/office/drawing/2014/main" id="{184500A1-853D-4DE7-92CE-EDEAC869D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3751" y="4784002"/>
              <a:ext cx="203598" cy="12646"/>
            </a:xfrm>
            <a:custGeom>
              <a:avLst/>
              <a:gdLst>
                <a:gd name="T0" fmla="*/ 109 w 112"/>
                <a:gd name="T1" fmla="*/ 7 h 7"/>
                <a:gd name="T2" fmla="*/ 3 w 112"/>
                <a:gd name="T3" fmla="*/ 7 h 7"/>
                <a:gd name="T4" fmla="*/ 0 w 112"/>
                <a:gd name="T5" fmla="*/ 3 h 7"/>
                <a:gd name="T6" fmla="*/ 3 w 112"/>
                <a:gd name="T7" fmla="*/ 0 h 7"/>
                <a:gd name="T8" fmla="*/ 109 w 112"/>
                <a:gd name="T9" fmla="*/ 0 h 7"/>
                <a:gd name="T10" fmla="*/ 112 w 112"/>
                <a:gd name="T11" fmla="*/ 3 h 7"/>
                <a:gd name="T12" fmla="*/ 109 w 11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7">
                  <a:moveTo>
                    <a:pt x="109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1" y="0"/>
                    <a:pt x="112" y="2"/>
                    <a:pt x="112" y="3"/>
                  </a:cubicBezTo>
                  <a:cubicBezTo>
                    <a:pt x="112" y="5"/>
                    <a:pt x="111" y="7"/>
                    <a:pt x="109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6" name="Freeform 940">
              <a:extLst>
                <a:ext uri="{FF2B5EF4-FFF2-40B4-BE49-F238E27FC236}">
                  <a16:creationId xmlns:a16="http://schemas.microsoft.com/office/drawing/2014/main" id="{1D6CD78C-DABA-4383-8B01-10C4E76D9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9608" y="4381864"/>
              <a:ext cx="271886" cy="293384"/>
            </a:xfrm>
            <a:custGeom>
              <a:avLst/>
              <a:gdLst>
                <a:gd name="T0" fmla="*/ 88 w 150"/>
                <a:gd name="T1" fmla="*/ 162 h 162"/>
                <a:gd name="T2" fmla="*/ 62 w 150"/>
                <a:gd name="T3" fmla="*/ 162 h 162"/>
                <a:gd name="T4" fmla="*/ 49 w 150"/>
                <a:gd name="T5" fmla="*/ 160 h 162"/>
                <a:gd name="T6" fmla="*/ 46 w 150"/>
                <a:gd name="T7" fmla="*/ 156 h 162"/>
                <a:gd name="T8" fmla="*/ 39 w 150"/>
                <a:gd name="T9" fmla="*/ 149 h 162"/>
                <a:gd name="T10" fmla="*/ 26 w 150"/>
                <a:gd name="T11" fmla="*/ 149 h 162"/>
                <a:gd name="T12" fmla="*/ 24 w 150"/>
                <a:gd name="T13" fmla="*/ 148 h 162"/>
                <a:gd name="T14" fmla="*/ 0 w 150"/>
                <a:gd name="T15" fmla="*/ 100 h 162"/>
                <a:gd name="T16" fmla="*/ 0 w 150"/>
                <a:gd name="T17" fmla="*/ 33 h 162"/>
                <a:gd name="T18" fmla="*/ 4 w 150"/>
                <a:gd name="T19" fmla="*/ 17 h 162"/>
                <a:gd name="T20" fmla="*/ 33 w 150"/>
                <a:gd name="T21" fmla="*/ 0 h 162"/>
                <a:gd name="T22" fmla="*/ 117 w 150"/>
                <a:gd name="T23" fmla="*/ 0 h 162"/>
                <a:gd name="T24" fmla="*/ 145 w 150"/>
                <a:gd name="T25" fmla="*/ 17 h 162"/>
                <a:gd name="T26" fmla="*/ 150 w 150"/>
                <a:gd name="T27" fmla="*/ 33 h 162"/>
                <a:gd name="T28" fmla="*/ 150 w 150"/>
                <a:gd name="T29" fmla="*/ 100 h 162"/>
                <a:gd name="T30" fmla="*/ 126 w 150"/>
                <a:gd name="T31" fmla="*/ 148 h 162"/>
                <a:gd name="T32" fmla="*/ 124 w 150"/>
                <a:gd name="T33" fmla="*/ 149 h 162"/>
                <a:gd name="T34" fmla="*/ 111 w 150"/>
                <a:gd name="T35" fmla="*/ 149 h 162"/>
                <a:gd name="T36" fmla="*/ 106 w 150"/>
                <a:gd name="T37" fmla="*/ 151 h 162"/>
                <a:gd name="T38" fmla="*/ 104 w 150"/>
                <a:gd name="T39" fmla="*/ 156 h 162"/>
                <a:gd name="T40" fmla="*/ 101 w 150"/>
                <a:gd name="T41" fmla="*/ 160 h 162"/>
                <a:gd name="T42" fmla="*/ 88 w 150"/>
                <a:gd name="T43" fmla="*/ 162 h 162"/>
                <a:gd name="T44" fmla="*/ 53 w 150"/>
                <a:gd name="T45" fmla="*/ 154 h 162"/>
                <a:gd name="T46" fmla="*/ 62 w 150"/>
                <a:gd name="T47" fmla="*/ 155 h 162"/>
                <a:gd name="T48" fmla="*/ 88 w 150"/>
                <a:gd name="T49" fmla="*/ 155 h 162"/>
                <a:gd name="T50" fmla="*/ 97 w 150"/>
                <a:gd name="T51" fmla="*/ 154 h 162"/>
                <a:gd name="T52" fmla="*/ 101 w 150"/>
                <a:gd name="T53" fmla="*/ 146 h 162"/>
                <a:gd name="T54" fmla="*/ 111 w 150"/>
                <a:gd name="T55" fmla="*/ 142 h 162"/>
                <a:gd name="T56" fmla="*/ 123 w 150"/>
                <a:gd name="T57" fmla="*/ 142 h 162"/>
                <a:gd name="T58" fmla="*/ 143 w 150"/>
                <a:gd name="T59" fmla="*/ 100 h 162"/>
                <a:gd name="T60" fmla="*/ 143 w 150"/>
                <a:gd name="T61" fmla="*/ 33 h 162"/>
                <a:gd name="T62" fmla="*/ 139 w 150"/>
                <a:gd name="T63" fmla="*/ 20 h 162"/>
                <a:gd name="T64" fmla="*/ 117 w 150"/>
                <a:gd name="T65" fmla="*/ 7 h 162"/>
                <a:gd name="T66" fmla="*/ 33 w 150"/>
                <a:gd name="T67" fmla="*/ 7 h 162"/>
                <a:gd name="T68" fmla="*/ 10 w 150"/>
                <a:gd name="T69" fmla="*/ 20 h 162"/>
                <a:gd name="T70" fmla="*/ 7 w 150"/>
                <a:gd name="T71" fmla="*/ 33 h 162"/>
                <a:gd name="T72" fmla="*/ 7 w 150"/>
                <a:gd name="T73" fmla="*/ 100 h 162"/>
                <a:gd name="T74" fmla="*/ 27 w 150"/>
                <a:gd name="T75" fmla="*/ 142 h 162"/>
                <a:gd name="T76" fmla="*/ 39 w 150"/>
                <a:gd name="T77" fmla="*/ 142 h 162"/>
                <a:gd name="T78" fmla="*/ 53 w 150"/>
                <a:gd name="T79" fmla="*/ 15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0" h="162">
                  <a:moveTo>
                    <a:pt x="88" y="162"/>
                  </a:moveTo>
                  <a:cubicBezTo>
                    <a:pt x="62" y="162"/>
                    <a:pt x="62" y="162"/>
                    <a:pt x="62" y="162"/>
                  </a:cubicBezTo>
                  <a:cubicBezTo>
                    <a:pt x="58" y="162"/>
                    <a:pt x="53" y="161"/>
                    <a:pt x="49" y="160"/>
                  </a:cubicBezTo>
                  <a:cubicBezTo>
                    <a:pt x="47" y="160"/>
                    <a:pt x="46" y="158"/>
                    <a:pt x="46" y="156"/>
                  </a:cubicBezTo>
                  <a:cubicBezTo>
                    <a:pt x="46" y="152"/>
                    <a:pt x="43" y="149"/>
                    <a:pt x="39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5" y="149"/>
                    <a:pt x="25" y="149"/>
                    <a:pt x="24" y="148"/>
                  </a:cubicBezTo>
                  <a:cubicBezTo>
                    <a:pt x="9" y="137"/>
                    <a:pt x="0" y="119"/>
                    <a:pt x="0" y="10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27"/>
                    <a:pt x="2" y="21"/>
                    <a:pt x="4" y="17"/>
                  </a:cubicBezTo>
                  <a:cubicBezTo>
                    <a:pt x="10" y="6"/>
                    <a:pt x="21" y="0"/>
                    <a:pt x="33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9" y="0"/>
                    <a:pt x="140" y="6"/>
                    <a:pt x="145" y="17"/>
                  </a:cubicBezTo>
                  <a:cubicBezTo>
                    <a:pt x="148" y="21"/>
                    <a:pt x="150" y="27"/>
                    <a:pt x="150" y="33"/>
                  </a:cubicBezTo>
                  <a:cubicBezTo>
                    <a:pt x="150" y="100"/>
                    <a:pt x="150" y="100"/>
                    <a:pt x="150" y="100"/>
                  </a:cubicBezTo>
                  <a:cubicBezTo>
                    <a:pt x="150" y="119"/>
                    <a:pt x="141" y="137"/>
                    <a:pt x="126" y="148"/>
                  </a:cubicBezTo>
                  <a:cubicBezTo>
                    <a:pt x="125" y="149"/>
                    <a:pt x="125" y="149"/>
                    <a:pt x="124" y="149"/>
                  </a:cubicBezTo>
                  <a:cubicBezTo>
                    <a:pt x="111" y="149"/>
                    <a:pt x="111" y="149"/>
                    <a:pt x="111" y="149"/>
                  </a:cubicBezTo>
                  <a:cubicBezTo>
                    <a:pt x="109" y="149"/>
                    <a:pt x="107" y="150"/>
                    <a:pt x="106" y="151"/>
                  </a:cubicBezTo>
                  <a:cubicBezTo>
                    <a:pt x="104" y="153"/>
                    <a:pt x="104" y="154"/>
                    <a:pt x="104" y="156"/>
                  </a:cubicBezTo>
                  <a:cubicBezTo>
                    <a:pt x="104" y="158"/>
                    <a:pt x="103" y="160"/>
                    <a:pt x="101" y="160"/>
                  </a:cubicBezTo>
                  <a:cubicBezTo>
                    <a:pt x="97" y="161"/>
                    <a:pt x="92" y="162"/>
                    <a:pt x="88" y="162"/>
                  </a:cubicBezTo>
                  <a:close/>
                  <a:moveTo>
                    <a:pt x="53" y="154"/>
                  </a:moveTo>
                  <a:cubicBezTo>
                    <a:pt x="56" y="155"/>
                    <a:pt x="59" y="155"/>
                    <a:pt x="62" y="155"/>
                  </a:cubicBezTo>
                  <a:cubicBezTo>
                    <a:pt x="88" y="155"/>
                    <a:pt x="88" y="155"/>
                    <a:pt x="88" y="155"/>
                  </a:cubicBezTo>
                  <a:cubicBezTo>
                    <a:pt x="91" y="155"/>
                    <a:pt x="94" y="155"/>
                    <a:pt x="97" y="154"/>
                  </a:cubicBezTo>
                  <a:cubicBezTo>
                    <a:pt x="97" y="151"/>
                    <a:pt x="99" y="149"/>
                    <a:pt x="101" y="146"/>
                  </a:cubicBezTo>
                  <a:cubicBezTo>
                    <a:pt x="103" y="144"/>
                    <a:pt x="107" y="142"/>
                    <a:pt x="111" y="142"/>
                  </a:cubicBezTo>
                  <a:cubicBezTo>
                    <a:pt x="123" y="142"/>
                    <a:pt x="123" y="142"/>
                    <a:pt x="123" y="142"/>
                  </a:cubicBezTo>
                  <a:cubicBezTo>
                    <a:pt x="135" y="132"/>
                    <a:pt x="143" y="116"/>
                    <a:pt x="143" y="100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28"/>
                    <a:pt x="142" y="24"/>
                    <a:pt x="139" y="20"/>
                  </a:cubicBezTo>
                  <a:cubicBezTo>
                    <a:pt x="135" y="12"/>
                    <a:pt x="126" y="7"/>
                    <a:pt x="117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4" y="7"/>
                    <a:pt x="15" y="12"/>
                    <a:pt x="10" y="20"/>
                  </a:cubicBezTo>
                  <a:cubicBezTo>
                    <a:pt x="8" y="24"/>
                    <a:pt x="7" y="28"/>
                    <a:pt x="7" y="33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16"/>
                    <a:pt x="14" y="132"/>
                    <a:pt x="27" y="142"/>
                  </a:cubicBezTo>
                  <a:cubicBezTo>
                    <a:pt x="39" y="142"/>
                    <a:pt x="39" y="142"/>
                    <a:pt x="39" y="142"/>
                  </a:cubicBezTo>
                  <a:cubicBezTo>
                    <a:pt x="46" y="142"/>
                    <a:pt x="52" y="147"/>
                    <a:pt x="53" y="15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7" name="Freeform 941">
              <a:extLst>
                <a:ext uri="{FF2B5EF4-FFF2-40B4-BE49-F238E27FC236}">
                  <a16:creationId xmlns:a16="http://schemas.microsoft.com/office/drawing/2014/main" id="{45A956A5-C99C-4F3D-975D-8AB7F7698C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87895" y="4412214"/>
              <a:ext cx="134046" cy="49319"/>
            </a:xfrm>
            <a:custGeom>
              <a:avLst/>
              <a:gdLst>
                <a:gd name="T0" fmla="*/ 70 w 74"/>
                <a:gd name="T1" fmla="*/ 27 h 27"/>
                <a:gd name="T2" fmla="*/ 3 w 74"/>
                <a:gd name="T3" fmla="*/ 27 h 27"/>
                <a:gd name="T4" fmla="*/ 0 w 74"/>
                <a:gd name="T5" fmla="*/ 24 h 27"/>
                <a:gd name="T6" fmla="*/ 0 w 74"/>
                <a:gd name="T7" fmla="*/ 13 h 27"/>
                <a:gd name="T8" fmla="*/ 14 w 74"/>
                <a:gd name="T9" fmla="*/ 0 h 27"/>
                <a:gd name="T10" fmla="*/ 60 w 74"/>
                <a:gd name="T11" fmla="*/ 0 h 27"/>
                <a:gd name="T12" fmla="*/ 74 w 74"/>
                <a:gd name="T13" fmla="*/ 13 h 27"/>
                <a:gd name="T14" fmla="*/ 74 w 74"/>
                <a:gd name="T15" fmla="*/ 24 h 27"/>
                <a:gd name="T16" fmla="*/ 70 w 74"/>
                <a:gd name="T17" fmla="*/ 27 h 27"/>
                <a:gd name="T18" fmla="*/ 7 w 74"/>
                <a:gd name="T19" fmla="*/ 21 h 27"/>
                <a:gd name="T20" fmla="*/ 67 w 74"/>
                <a:gd name="T21" fmla="*/ 21 h 27"/>
                <a:gd name="T22" fmla="*/ 67 w 74"/>
                <a:gd name="T23" fmla="*/ 13 h 27"/>
                <a:gd name="T24" fmla="*/ 60 w 74"/>
                <a:gd name="T25" fmla="*/ 6 h 27"/>
                <a:gd name="T26" fmla="*/ 14 w 74"/>
                <a:gd name="T27" fmla="*/ 6 h 27"/>
                <a:gd name="T28" fmla="*/ 7 w 74"/>
                <a:gd name="T29" fmla="*/ 13 h 27"/>
                <a:gd name="T30" fmla="*/ 7 w 74"/>
                <a:gd name="T31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" h="27">
                  <a:moveTo>
                    <a:pt x="70" y="27"/>
                  </a:moveTo>
                  <a:cubicBezTo>
                    <a:pt x="3" y="27"/>
                    <a:pt x="3" y="27"/>
                    <a:pt x="3" y="27"/>
                  </a:cubicBezTo>
                  <a:cubicBezTo>
                    <a:pt x="2" y="27"/>
                    <a:pt x="0" y="26"/>
                    <a:pt x="0" y="2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8" y="0"/>
                    <a:pt x="74" y="6"/>
                    <a:pt x="74" y="13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6"/>
                    <a:pt x="72" y="27"/>
                    <a:pt x="70" y="27"/>
                  </a:cubicBezTo>
                  <a:close/>
                  <a:moveTo>
                    <a:pt x="7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10"/>
                    <a:pt x="64" y="6"/>
                    <a:pt x="60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0" y="6"/>
                    <a:pt x="7" y="10"/>
                    <a:pt x="7" y="13"/>
                  </a:cubicBezTo>
                  <a:lnTo>
                    <a:pt x="7" y="2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0" name="Agrupar 1719">
            <a:extLst>
              <a:ext uri="{FF2B5EF4-FFF2-40B4-BE49-F238E27FC236}">
                <a16:creationId xmlns:a16="http://schemas.microsoft.com/office/drawing/2014/main" id="{F293DC78-7E57-489E-B7E6-02E061E32D4F}"/>
              </a:ext>
            </a:extLst>
          </p:cNvPr>
          <p:cNvGrpSpPr/>
          <p:nvPr/>
        </p:nvGrpSpPr>
        <p:grpSpPr>
          <a:xfrm>
            <a:off x="9611824" y="3692665"/>
            <a:ext cx="408462" cy="408461"/>
            <a:chOff x="10293436" y="3692665"/>
            <a:chExt cx="408462" cy="408461"/>
          </a:xfrm>
        </p:grpSpPr>
        <p:sp>
          <p:nvSpPr>
            <p:cNvPr id="1548" name="Freeform 942">
              <a:extLst>
                <a:ext uri="{FF2B5EF4-FFF2-40B4-BE49-F238E27FC236}">
                  <a16:creationId xmlns:a16="http://schemas.microsoft.com/office/drawing/2014/main" id="{02D5E402-5CE9-4945-BB11-2D14E747FB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76801" y="3692665"/>
              <a:ext cx="225096" cy="408461"/>
            </a:xfrm>
            <a:custGeom>
              <a:avLst/>
              <a:gdLst>
                <a:gd name="T0" fmla="*/ 70 w 124"/>
                <a:gd name="T1" fmla="*/ 225 h 225"/>
                <a:gd name="T2" fmla="*/ 54 w 124"/>
                <a:gd name="T3" fmla="*/ 225 h 225"/>
                <a:gd name="T4" fmla="*/ 0 w 124"/>
                <a:gd name="T5" fmla="*/ 171 h 225"/>
                <a:gd name="T6" fmla="*/ 3 w 124"/>
                <a:gd name="T7" fmla="*/ 168 h 225"/>
                <a:gd name="T8" fmla="*/ 24 w 124"/>
                <a:gd name="T9" fmla="*/ 168 h 225"/>
                <a:gd name="T10" fmla="*/ 28 w 124"/>
                <a:gd name="T11" fmla="*/ 171 h 225"/>
                <a:gd name="T12" fmla="*/ 54 w 124"/>
                <a:gd name="T13" fmla="*/ 197 h 225"/>
                <a:gd name="T14" fmla="*/ 70 w 124"/>
                <a:gd name="T15" fmla="*/ 197 h 225"/>
                <a:gd name="T16" fmla="*/ 96 w 124"/>
                <a:gd name="T17" fmla="*/ 171 h 225"/>
                <a:gd name="T18" fmla="*/ 96 w 124"/>
                <a:gd name="T19" fmla="*/ 4 h 225"/>
                <a:gd name="T20" fmla="*/ 100 w 124"/>
                <a:gd name="T21" fmla="*/ 0 h 225"/>
                <a:gd name="T22" fmla="*/ 121 w 124"/>
                <a:gd name="T23" fmla="*/ 0 h 225"/>
                <a:gd name="T24" fmla="*/ 124 w 124"/>
                <a:gd name="T25" fmla="*/ 4 h 225"/>
                <a:gd name="T26" fmla="*/ 124 w 124"/>
                <a:gd name="T27" fmla="*/ 171 h 225"/>
                <a:gd name="T28" fmla="*/ 70 w 124"/>
                <a:gd name="T29" fmla="*/ 225 h 225"/>
                <a:gd name="T30" fmla="*/ 7 w 124"/>
                <a:gd name="T31" fmla="*/ 175 h 225"/>
                <a:gd name="T32" fmla="*/ 54 w 124"/>
                <a:gd name="T33" fmla="*/ 218 h 225"/>
                <a:gd name="T34" fmla="*/ 70 w 124"/>
                <a:gd name="T35" fmla="*/ 218 h 225"/>
                <a:gd name="T36" fmla="*/ 117 w 124"/>
                <a:gd name="T37" fmla="*/ 171 h 225"/>
                <a:gd name="T38" fmla="*/ 117 w 124"/>
                <a:gd name="T39" fmla="*/ 7 h 225"/>
                <a:gd name="T40" fmla="*/ 103 w 124"/>
                <a:gd name="T41" fmla="*/ 7 h 225"/>
                <a:gd name="T42" fmla="*/ 103 w 124"/>
                <a:gd name="T43" fmla="*/ 171 h 225"/>
                <a:gd name="T44" fmla="*/ 70 w 124"/>
                <a:gd name="T45" fmla="*/ 204 h 225"/>
                <a:gd name="T46" fmla="*/ 54 w 124"/>
                <a:gd name="T47" fmla="*/ 204 h 225"/>
                <a:gd name="T48" fmla="*/ 21 w 124"/>
                <a:gd name="T49" fmla="*/ 175 h 225"/>
                <a:gd name="T50" fmla="*/ 7 w 124"/>
                <a:gd name="T51" fmla="*/ 17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225">
                  <a:moveTo>
                    <a:pt x="70" y="225"/>
                  </a:moveTo>
                  <a:cubicBezTo>
                    <a:pt x="54" y="225"/>
                    <a:pt x="54" y="225"/>
                    <a:pt x="54" y="225"/>
                  </a:cubicBezTo>
                  <a:cubicBezTo>
                    <a:pt x="24" y="225"/>
                    <a:pt x="0" y="201"/>
                    <a:pt x="0" y="171"/>
                  </a:cubicBezTo>
                  <a:cubicBezTo>
                    <a:pt x="0" y="169"/>
                    <a:pt x="1" y="168"/>
                    <a:pt x="3" y="168"/>
                  </a:cubicBezTo>
                  <a:cubicBezTo>
                    <a:pt x="24" y="168"/>
                    <a:pt x="24" y="168"/>
                    <a:pt x="24" y="168"/>
                  </a:cubicBezTo>
                  <a:cubicBezTo>
                    <a:pt x="26" y="168"/>
                    <a:pt x="28" y="169"/>
                    <a:pt x="28" y="171"/>
                  </a:cubicBezTo>
                  <a:cubicBezTo>
                    <a:pt x="28" y="186"/>
                    <a:pt x="39" y="197"/>
                    <a:pt x="54" y="197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85" y="197"/>
                    <a:pt x="96" y="186"/>
                    <a:pt x="96" y="171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2" y="0"/>
                    <a:pt x="124" y="2"/>
                    <a:pt x="124" y="4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4" y="201"/>
                    <a:pt x="100" y="225"/>
                    <a:pt x="70" y="225"/>
                  </a:cubicBezTo>
                  <a:close/>
                  <a:moveTo>
                    <a:pt x="7" y="175"/>
                  </a:moveTo>
                  <a:cubicBezTo>
                    <a:pt x="9" y="199"/>
                    <a:pt x="29" y="218"/>
                    <a:pt x="54" y="218"/>
                  </a:cubicBezTo>
                  <a:cubicBezTo>
                    <a:pt x="70" y="218"/>
                    <a:pt x="70" y="218"/>
                    <a:pt x="70" y="218"/>
                  </a:cubicBezTo>
                  <a:cubicBezTo>
                    <a:pt x="96" y="218"/>
                    <a:pt x="117" y="197"/>
                    <a:pt x="117" y="171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103" y="171"/>
                    <a:pt x="103" y="171"/>
                    <a:pt x="103" y="171"/>
                  </a:cubicBezTo>
                  <a:cubicBezTo>
                    <a:pt x="103" y="189"/>
                    <a:pt x="88" y="204"/>
                    <a:pt x="70" y="204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37" y="204"/>
                    <a:pt x="23" y="191"/>
                    <a:pt x="21" y="175"/>
                  </a:cubicBezTo>
                  <a:lnTo>
                    <a:pt x="7" y="17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49" name="Freeform 943">
              <a:extLst>
                <a:ext uri="{FF2B5EF4-FFF2-40B4-BE49-F238E27FC236}">
                  <a16:creationId xmlns:a16="http://schemas.microsoft.com/office/drawing/2014/main" id="{AE1B3FF9-F2BB-410E-86CE-37F3CCDD2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4155" y="3877295"/>
              <a:ext cx="21498" cy="24027"/>
            </a:xfrm>
            <a:custGeom>
              <a:avLst/>
              <a:gdLst>
                <a:gd name="T0" fmla="*/ 9 w 12"/>
                <a:gd name="T1" fmla="*/ 13 h 13"/>
                <a:gd name="T2" fmla="*/ 6 w 12"/>
                <a:gd name="T3" fmla="*/ 11 h 13"/>
                <a:gd name="T4" fmla="*/ 2 w 12"/>
                <a:gd name="T5" fmla="*/ 7 h 13"/>
                <a:gd name="T6" fmla="*/ 1 w 12"/>
                <a:gd name="T7" fmla="*/ 2 h 13"/>
                <a:gd name="T8" fmla="*/ 6 w 12"/>
                <a:gd name="T9" fmla="*/ 1 h 13"/>
                <a:gd name="T10" fmla="*/ 12 w 12"/>
                <a:gd name="T11" fmla="*/ 7 h 13"/>
                <a:gd name="T12" fmla="*/ 12 w 12"/>
                <a:gd name="T13" fmla="*/ 9 h 13"/>
                <a:gd name="T14" fmla="*/ 9 w 12"/>
                <a:gd name="T15" fmla="*/ 13 h 13"/>
                <a:gd name="T16" fmla="*/ 9 w 12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3">
                  <a:moveTo>
                    <a:pt x="9" y="13"/>
                  </a:moveTo>
                  <a:cubicBezTo>
                    <a:pt x="8" y="13"/>
                    <a:pt x="6" y="12"/>
                    <a:pt x="6" y="11"/>
                  </a:cubicBezTo>
                  <a:cubicBezTo>
                    <a:pt x="5" y="9"/>
                    <a:pt x="4" y="8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8" y="3"/>
                    <a:pt x="10" y="5"/>
                    <a:pt x="12" y="7"/>
                  </a:cubicBezTo>
                  <a:cubicBezTo>
                    <a:pt x="12" y="8"/>
                    <a:pt x="12" y="9"/>
                    <a:pt x="12" y="9"/>
                  </a:cubicBezTo>
                  <a:cubicBezTo>
                    <a:pt x="12" y="11"/>
                    <a:pt x="11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0" name="Freeform 944">
              <a:extLst>
                <a:ext uri="{FF2B5EF4-FFF2-40B4-BE49-F238E27FC236}">
                  <a16:creationId xmlns:a16="http://schemas.microsoft.com/office/drawing/2014/main" id="{2495F703-C2F5-4CC4-97A6-433399A27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3007" y="3886147"/>
              <a:ext cx="13910" cy="16440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1 w 8"/>
                <a:gd name="T5" fmla="*/ 7 h 9"/>
                <a:gd name="T6" fmla="*/ 1 w 8"/>
                <a:gd name="T7" fmla="*/ 6 h 9"/>
                <a:gd name="T8" fmla="*/ 2 w 8"/>
                <a:gd name="T9" fmla="*/ 1 h 9"/>
                <a:gd name="T10" fmla="*/ 7 w 8"/>
                <a:gd name="T11" fmla="*/ 2 h 9"/>
                <a:gd name="T12" fmla="*/ 7 w 8"/>
                <a:gd name="T13" fmla="*/ 4 h 9"/>
                <a:gd name="T14" fmla="*/ 7 w 8"/>
                <a:gd name="T15" fmla="*/ 4 h 9"/>
                <a:gd name="T16" fmla="*/ 7 w 8"/>
                <a:gd name="T17" fmla="*/ 4 h 9"/>
                <a:gd name="T18" fmla="*/ 8 w 8"/>
                <a:gd name="T19" fmla="*/ 4 h 9"/>
                <a:gd name="T20" fmla="*/ 6 w 8"/>
                <a:gd name="T21" fmla="*/ 9 h 9"/>
                <a:gd name="T22" fmla="*/ 4 w 8"/>
                <a:gd name="T2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6"/>
                    <a:pt x="7" y="8"/>
                    <a:pt x="6" y="9"/>
                  </a:cubicBezTo>
                  <a:cubicBezTo>
                    <a:pt x="5" y="9"/>
                    <a:pt x="5" y="9"/>
                    <a:pt x="4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1" name="Freeform 945">
              <a:extLst>
                <a:ext uri="{FF2B5EF4-FFF2-40B4-BE49-F238E27FC236}">
                  <a16:creationId xmlns:a16="http://schemas.microsoft.com/office/drawing/2014/main" id="{1D04E544-5FC0-4614-8898-56A58FDA0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3436" y="3747042"/>
              <a:ext cx="331321" cy="194746"/>
            </a:xfrm>
            <a:custGeom>
              <a:avLst/>
              <a:gdLst>
                <a:gd name="T0" fmla="*/ 106 w 183"/>
                <a:gd name="T1" fmla="*/ 106 h 107"/>
                <a:gd name="T2" fmla="*/ 103 w 183"/>
                <a:gd name="T3" fmla="*/ 90 h 107"/>
                <a:gd name="T4" fmla="*/ 100 w 183"/>
                <a:gd name="T5" fmla="*/ 83 h 107"/>
                <a:gd name="T6" fmla="*/ 96 w 183"/>
                <a:gd name="T7" fmla="*/ 79 h 107"/>
                <a:gd name="T8" fmla="*/ 95 w 183"/>
                <a:gd name="T9" fmla="*/ 78 h 107"/>
                <a:gd name="T10" fmla="*/ 93 w 183"/>
                <a:gd name="T11" fmla="*/ 78 h 107"/>
                <a:gd name="T12" fmla="*/ 90 w 183"/>
                <a:gd name="T13" fmla="*/ 78 h 107"/>
                <a:gd name="T14" fmla="*/ 89 w 183"/>
                <a:gd name="T15" fmla="*/ 78 h 107"/>
                <a:gd name="T16" fmla="*/ 87 w 183"/>
                <a:gd name="T17" fmla="*/ 79 h 107"/>
                <a:gd name="T18" fmla="*/ 83 w 183"/>
                <a:gd name="T19" fmla="*/ 83 h 107"/>
                <a:gd name="T20" fmla="*/ 81 w 183"/>
                <a:gd name="T21" fmla="*/ 90 h 107"/>
                <a:gd name="T22" fmla="*/ 77 w 183"/>
                <a:gd name="T23" fmla="*/ 106 h 107"/>
                <a:gd name="T24" fmla="*/ 20 w 183"/>
                <a:gd name="T25" fmla="*/ 97 h 107"/>
                <a:gd name="T26" fmla="*/ 0 w 183"/>
                <a:gd name="T27" fmla="*/ 20 h 107"/>
                <a:gd name="T28" fmla="*/ 163 w 183"/>
                <a:gd name="T29" fmla="*/ 0 h 107"/>
                <a:gd name="T30" fmla="*/ 183 w 183"/>
                <a:gd name="T31" fmla="*/ 73 h 107"/>
                <a:gd name="T32" fmla="*/ 109 w 183"/>
                <a:gd name="T33" fmla="*/ 107 h 107"/>
                <a:gd name="T34" fmla="*/ 20 w 183"/>
                <a:gd name="T35" fmla="*/ 6 h 107"/>
                <a:gd name="T36" fmla="*/ 7 w 183"/>
                <a:gd name="T37" fmla="*/ 73 h 107"/>
                <a:gd name="T38" fmla="*/ 72 w 183"/>
                <a:gd name="T39" fmla="*/ 100 h 107"/>
                <a:gd name="T40" fmla="*/ 74 w 183"/>
                <a:gd name="T41" fmla="*/ 87 h 107"/>
                <a:gd name="T42" fmla="*/ 77 w 183"/>
                <a:gd name="T43" fmla="*/ 81 h 107"/>
                <a:gd name="T44" fmla="*/ 84 w 183"/>
                <a:gd name="T45" fmla="*/ 73 h 107"/>
                <a:gd name="T46" fmla="*/ 87 w 183"/>
                <a:gd name="T47" fmla="*/ 72 h 107"/>
                <a:gd name="T48" fmla="*/ 89 w 183"/>
                <a:gd name="T49" fmla="*/ 71 h 107"/>
                <a:gd name="T50" fmla="*/ 94 w 183"/>
                <a:gd name="T51" fmla="*/ 71 h 107"/>
                <a:gd name="T52" fmla="*/ 97 w 183"/>
                <a:gd name="T53" fmla="*/ 72 h 107"/>
                <a:gd name="T54" fmla="*/ 100 w 183"/>
                <a:gd name="T55" fmla="*/ 73 h 107"/>
                <a:gd name="T56" fmla="*/ 106 w 183"/>
                <a:gd name="T57" fmla="*/ 81 h 107"/>
                <a:gd name="T58" fmla="*/ 109 w 183"/>
                <a:gd name="T59" fmla="*/ 87 h 107"/>
                <a:gd name="T60" fmla="*/ 162 w 183"/>
                <a:gd name="T61" fmla="*/ 91 h 107"/>
                <a:gd name="T62" fmla="*/ 176 w 183"/>
                <a:gd name="T63" fmla="*/ 20 h 107"/>
                <a:gd name="T64" fmla="*/ 20 w 183"/>
                <a:gd name="T65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3" h="107">
                  <a:moveTo>
                    <a:pt x="108" y="107"/>
                  </a:moveTo>
                  <a:cubicBezTo>
                    <a:pt x="108" y="107"/>
                    <a:pt x="107" y="107"/>
                    <a:pt x="106" y="106"/>
                  </a:cubicBezTo>
                  <a:cubicBezTo>
                    <a:pt x="105" y="106"/>
                    <a:pt x="105" y="105"/>
                    <a:pt x="105" y="104"/>
                  </a:cubicBezTo>
                  <a:cubicBezTo>
                    <a:pt x="105" y="99"/>
                    <a:pt x="104" y="94"/>
                    <a:pt x="103" y="90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99" y="81"/>
                    <a:pt x="98" y="80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2" y="78"/>
                    <a:pt x="91" y="78"/>
                    <a:pt x="91" y="78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89" y="78"/>
                    <a:pt x="89" y="78"/>
                    <a:pt x="89" y="78"/>
                  </a:cubicBezTo>
                  <a:cubicBezTo>
                    <a:pt x="89" y="78"/>
                    <a:pt x="88" y="78"/>
                    <a:pt x="88" y="79"/>
                  </a:cubicBezTo>
                  <a:cubicBezTo>
                    <a:pt x="88" y="79"/>
                    <a:pt x="87" y="79"/>
                    <a:pt x="87" y="79"/>
                  </a:cubicBezTo>
                  <a:cubicBezTo>
                    <a:pt x="86" y="80"/>
                    <a:pt x="84" y="81"/>
                    <a:pt x="84" y="83"/>
                  </a:cubicBezTo>
                  <a:cubicBezTo>
                    <a:pt x="84" y="83"/>
                    <a:pt x="84" y="83"/>
                    <a:pt x="83" y="83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79" y="94"/>
                    <a:pt x="78" y="99"/>
                    <a:pt x="78" y="104"/>
                  </a:cubicBezTo>
                  <a:cubicBezTo>
                    <a:pt x="78" y="105"/>
                    <a:pt x="78" y="106"/>
                    <a:pt x="77" y="106"/>
                  </a:cubicBezTo>
                  <a:cubicBezTo>
                    <a:pt x="76" y="107"/>
                    <a:pt x="75" y="107"/>
                    <a:pt x="74" y="10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9" y="95"/>
                    <a:pt x="0" y="85"/>
                    <a:pt x="0" y="7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4" y="0"/>
                    <a:pt x="183" y="9"/>
                    <a:pt x="183" y="20"/>
                  </a:cubicBezTo>
                  <a:cubicBezTo>
                    <a:pt x="183" y="73"/>
                    <a:pt x="183" y="73"/>
                    <a:pt x="183" y="73"/>
                  </a:cubicBezTo>
                  <a:cubicBezTo>
                    <a:pt x="183" y="85"/>
                    <a:pt x="175" y="95"/>
                    <a:pt x="163" y="97"/>
                  </a:cubicBezTo>
                  <a:cubicBezTo>
                    <a:pt x="109" y="107"/>
                    <a:pt x="109" y="107"/>
                    <a:pt x="109" y="107"/>
                  </a:cubicBezTo>
                  <a:cubicBezTo>
                    <a:pt x="109" y="107"/>
                    <a:pt x="109" y="107"/>
                    <a:pt x="108" y="107"/>
                  </a:cubicBezTo>
                  <a:close/>
                  <a:moveTo>
                    <a:pt x="20" y="6"/>
                  </a:moveTo>
                  <a:cubicBezTo>
                    <a:pt x="13" y="6"/>
                    <a:pt x="7" y="12"/>
                    <a:pt x="7" y="20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7" y="82"/>
                    <a:pt x="13" y="89"/>
                    <a:pt x="22" y="91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2" y="95"/>
                    <a:pt x="73" y="91"/>
                    <a:pt x="74" y="87"/>
                  </a:cubicBezTo>
                  <a:cubicBezTo>
                    <a:pt x="74" y="87"/>
                    <a:pt x="74" y="87"/>
                    <a:pt x="74" y="87"/>
                  </a:cubicBezTo>
                  <a:cubicBezTo>
                    <a:pt x="74" y="87"/>
                    <a:pt x="74" y="87"/>
                    <a:pt x="74" y="87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7" y="81"/>
                    <a:pt x="77" y="80"/>
                    <a:pt x="78" y="80"/>
                  </a:cubicBezTo>
                  <a:cubicBezTo>
                    <a:pt x="79" y="77"/>
                    <a:pt x="81" y="75"/>
                    <a:pt x="84" y="73"/>
                  </a:cubicBezTo>
                  <a:cubicBezTo>
                    <a:pt x="84" y="73"/>
                    <a:pt x="85" y="73"/>
                    <a:pt x="85" y="72"/>
                  </a:cubicBezTo>
                  <a:cubicBezTo>
                    <a:pt x="85" y="72"/>
                    <a:pt x="86" y="72"/>
                    <a:pt x="87" y="72"/>
                  </a:cubicBezTo>
                  <a:cubicBezTo>
                    <a:pt x="87" y="72"/>
                    <a:pt x="88" y="71"/>
                    <a:pt x="88" y="71"/>
                  </a:cubicBezTo>
                  <a:cubicBezTo>
                    <a:pt x="88" y="71"/>
                    <a:pt x="88" y="71"/>
                    <a:pt x="89" y="71"/>
                  </a:cubicBezTo>
                  <a:cubicBezTo>
                    <a:pt x="89" y="71"/>
                    <a:pt x="89" y="71"/>
                    <a:pt x="90" y="71"/>
                  </a:cubicBezTo>
                  <a:cubicBezTo>
                    <a:pt x="91" y="71"/>
                    <a:pt x="92" y="71"/>
                    <a:pt x="94" y="71"/>
                  </a:cubicBezTo>
                  <a:cubicBezTo>
                    <a:pt x="94" y="71"/>
                    <a:pt x="95" y="71"/>
                    <a:pt x="96" y="71"/>
                  </a:cubicBezTo>
                  <a:cubicBezTo>
                    <a:pt x="96" y="71"/>
                    <a:pt x="96" y="71"/>
                    <a:pt x="97" y="72"/>
                  </a:cubicBezTo>
                  <a:cubicBezTo>
                    <a:pt x="97" y="72"/>
                    <a:pt x="98" y="72"/>
                    <a:pt x="98" y="72"/>
                  </a:cubicBezTo>
                  <a:cubicBezTo>
                    <a:pt x="99" y="73"/>
                    <a:pt x="99" y="73"/>
                    <a:pt x="100" y="73"/>
                  </a:cubicBezTo>
                  <a:cubicBezTo>
                    <a:pt x="102" y="75"/>
                    <a:pt x="104" y="77"/>
                    <a:pt x="106" y="80"/>
                  </a:cubicBezTo>
                  <a:cubicBezTo>
                    <a:pt x="106" y="80"/>
                    <a:pt x="106" y="81"/>
                    <a:pt x="106" y="81"/>
                  </a:cubicBezTo>
                  <a:cubicBezTo>
                    <a:pt x="108" y="86"/>
                    <a:pt x="108" y="86"/>
                    <a:pt x="108" y="86"/>
                  </a:cubicBezTo>
                  <a:cubicBezTo>
                    <a:pt x="109" y="86"/>
                    <a:pt x="109" y="87"/>
                    <a:pt x="109" y="87"/>
                  </a:cubicBezTo>
                  <a:cubicBezTo>
                    <a:pt x="110" y="91"/>
                    <a:pt x="111" y="95"/>
                    <a:pt x="112" y="100"/>
                  </a:cubicBezTo>
                  <a:cubicBezTo>
                    <a:pt x="162" y="91"/>
                    <a:pt x="162" y="91"/>
                    <a:pt x="162" y="91"/>
                  </a:cubicBezTo>
                  <a:cubicBezTo>
                    <a:pt x="170" y="89"/>
                    <a:pt x="176" y="82"/>
                    <a:pt x="176" y="73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12"/>
                    <a:pt x="170" y="6"/>
                    <a:pt x="163" y="6"/>
                  </a:cubicBezTo>
                  <a:lnTo>
                    <a:pt x="20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2" name="Freeform 946">
              <a:extLst>
                <a:ext uri="{FF2B5EF4-FFF2-40B4-BE49-F238E27FC236}">
                  <a16:creationId xmlns:a16="http://schemas.microsoft.com/office/drawing/2014/main" id="{FC2090E9-9824-4572-A05B-7DB1C6095F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2424" y="3876030"/>
              <a:ext cx="74611" cy="75875"/>
            </a:xfrm>
            <a:custGeom>
              <a:avLst/>
              <a:gdLst>
                <a:gd name="T0" fmla="*/ 21 w 41"/>
                <a:gd name="T1" fmla="*/ 42 h 42"/>
                <a:gd name="T2" fmla="*/ 2 w 41"/>
                <a:gd name="T3" fmla="*/ 35 h 42"/>
                <a:gd name="T4" fmla="*/ 0 w 41"/>
                <a:gd name="T5" fmla="*/ 33 h 42"/>
                <a:gd name="T6" fmla="*/ 3 w 41"/>
                <a:gd name="T7" fmla="*/ 16 h 42"/>
                <a:gd name="T8" fmla="*/ 3 w 41"/>
                <a:gd name="T9" fmla="*/ 16 h 42"/>
                <a:gd name="T10" fmla="*/ 3 w 41"/>
                <a:gd name="T11" fmla="*/ 16 h 42"/>
                <a:gd name="T12" fmla="*/ 6 w 41"/>
                <a:gd name="T13" fmla="*/ 10 h 42"/>
                <a:gd name="T14" fmla="*/ 7 w 41"/>
                <a:gd name="T15" fmla="*/ 9 h 42"/>
                <a:gd name="T16" fmla="*/ 12 w 41"/>
                <a:gd name="T17" fmla="*/ 2 h 42"/>
                <a:gd name="T18" fmla="*/ 14 w 41"/>
                <a:gd name="T19" fmla="*/ 1 h 42"/>
                <a:gd name="T20" fmla="*/ 16 w 41"/>
                <a:gd name="T21" fmla="*/ 1 h 42"/>
                <a:gd name="T22" fmla="*/ 17 w 41"/>
                <a:gd name="T23" fmla="*/ 0 h 42"/>
                <a:gd name="T24" fmla="*/ 18 w 41"/>
                <a:gd name="T25" fmla="*/ 0 h 42"/>
                <a:gd name="T26" fmla="*/ 19 w 41"/>
                <a:gd name="T27" fmla="*/ 0 h 42"/>
                <a:gd name="T28" fmla="*/ 23 w 41"/>
                <a:gd name="T29" fmla="*/ 0 h 42"/>
                <a:gd name="T30" fmla="*/ 24 w 41"/>
                <a:gd name="T31" fmla="*/ 0 h 42"/>
                <a:gd name="T32" fmla="*/ 26 w 41"/>
                <a:gd name="T33" fmla="*/ 1 h 42"/>
                <a:gd name="T34" fmla="*/ 27 w 41"/>
                <a:gd name="T35" fmla="*/ 1 h 42"/>
                <a:gd name="T36" fmla="*/ 29 w 41"/>
                <a:gd name="T37" fmla="*/ 2 h 42"/>
                <a:gd name="T38" fmla="*/ 35 w 41"/>
                <a:gd name="T39" fmla="*/ 9 h 42"/>
                <a:gd name="T40" fmla="*/ 36 w 41"/>
                <a:gd name="T41" fmla="*/ 10 h 42"/>
                <a:gd name="T42" fmla="*/ 37 w 41"/>
                <a:gd name="T43" fmla="*/ 15 h 42"/>
                <a:gd name="T44" fmla="*/ 38 w 41"/>
                <a:gd name="T45" fmla="*/ 16 h 42"/>
                <a:gd name="T46" fmla="*/ 41 w 41"/>
                <a:gd name="T47" fmla="*/ 33 h 42"/>
                <a:gd name="T48" fmla="*/ 39 w 41"/>
                <a:gd name="T49" fmla="*/ 35 h 42"/>
                <a:gd name="T50" fmla="*/ 39 w 41"/>
                <a:gd name="T51" fmla="*/ 36 h 42"/>
                <a:gd name="T52" fmla="*/ 21 w 41"/>
                <a:gd name="T53" fmla="*/ 42 h 42"/>
                <a:gd name="T54" fmla="*/ 7 w 41"/>
                <a:gd name="T55" fmla="*/ 31 h 42"/>
                <a:gd name="T56" fmla="*/ 34 w 41"/>
                <a:gd name="T57" fmla="*/ 31 h 42"/>
                <a:gd name="T58" fmla="*/ 32 w 41"/>
                <a:gd name="T59" fmla="*/ 19 h 42"/>
                <a:gd name="T60" fmla="*/ 31 w 41"/>
                <a:gd name="T61" fmla="*/ 18 h 42"/>
                <a:gd name="T62" fmla="*/ 29 w 41"/>
                <a:gd name="T63" fmla="*/ 13 h 42"/>
                <a:gd name="T64" fmla="*/ 29 w 41"/>
                <a:gd name="T65" fmla="*/ 12 h 42"/>
                <a:gd name="T66" fmla="*/ 25 w 41"/>
                <a:gd name="T67" fmla="*/ 8 h 42"/>
                <a:gd name="T68" fmla="*/ 24 w 41"/>
                <a:gd name="T69" fmla="*/ 8 h 42"/>
                <a:gd name="T70" fmla="*/ 24 w 41"/>
                <a:gd name="T71" fmla="*/ 7 h 42"/>
                <a:gd name="T72" fmla="*/ 23 w 41"/>
                <a:gd name="T73" fmla="*/ 7 h 42"/>
                <a:gd name="T74" fmla="*/ 22 w 41"/>
                <a:gd name="T75" fmla="*/ 7 h 42"/>
                <a:gd name="T76" fmla="*/ 22 w 41"/>
                <a:gd name="T77" fmla="*/ 7 h 42"/>
                <a:gd name="T78" fmla="*/ 20 w 41"/>
                <a:gd name="T79" fmla="*/ 7 h 42"/>
                <a:gd name="T80" fmla="*/ 19 w 41"/>
                <a:gd name="T81" fmla="*/ 7 h 42"/>
                <a:gd name="T82" fmla="*/ 19 w 41"/>
                <a:gd name="T83" fmla="*/ 7 h 42"/>
                <a:gd name="T84" fmla="*/ 18 w 41"/>
                <a:gd name="T85" fmla="*/ 7 h 42"/>
                <a:gd name="T86" fmla="*/ 17 w 41"/>
                <a:gd name="T87" fmla="*/ 8 h 42"/>
                <a:gd name="T88" fmla="*/ 16 w 41"/>
                <a:gd name="T89" fmla="*/ 8 h 42"/>
                <a:gd name="T90" fmla="*/ 13 w 41"/>
                <a:gd name="T91" fmla="*/ 12 h 42"/>
                <a:gd name="T92" fmla="*/ 12 w 41"/>
                <a:gd name="T93" fmla="*/ 13 h 42"/>
                <a:gd name="T94" fmla="*/ 10 w 41"/>
                <a:gd name="T95" fmla="*/ 19 h 42"/>
                <a:gd name="T96" fmla="*/ 10 w 41"/>
                <a:gd name="T97" fmla="*/ 19 h 42"/>
                <a:gd name="T98" fmla="*/ 7 w 41"/>
                <a:gd name="T99" fmla="*/ 3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cubicBezTo>
                    <a:pt x="14" y="42"/>
                    <a:pt x="7" y="39"/>
                    <a:pt x="2" y="35"/>
                  </a:cubicBezTo>
                  <a:cubicBezTo>
                    <a:pt x="1" y="35"/>
                    <a:pt x="0" y="34"/>
                    <a:pt x="0" y="33"/>
                  </a:cubicBezTo>
                  <a:cubicBezTo>
                    <a:pt x="0" y="27"/>
                    <a:pt x="1" y="22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9"/>
                    <a:pt x="7" y="9"/>
                  </a:cubicBezTo>
                  <a:cubicBezTo>
                    <a:pt x="8" y="6"/>
                    <a:pt x="10" y="4"/>
                    <a:pt x="12" y="2"/>
                  </a:cubicBezTo>
                  <a:cubicBezTo>
                    <a:pt x="13" y="2"/>
                    <a:pt x="13" y="2"/>
                    <a:pt x="14" y="1"/>
                  </a:cubicBezTo>
                  <a:cubicBezTo>
                    <a:pt x="14" y="1"/>
                    <a:pt x="15" y="1"/>
                    <a:pt x="16" y="1"/>
                  </a:cubicBezTo>
                  <a:cubicBezTo>
                    <a:pt x="16" y="1"/>
                    <a:pt x="16" y="0"/>
                    <a:pt x="17" y="0"/>
                  </a:cubicBezTo>
                  <a:cubicBezTo>
                    <a:pt x="17" y="0"/>
                    <a:pt x="18" y="0"/>
                    <a:pt x="18" y="0"/>
                  </a:cubicBezTo>
                  <a:cubicBezTo>
                    <a:pt x="18" y="0"/>
                    <a:pt x="18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1"/>
                    <a:pt x="26" y="1"/>
                  </a:cubicBezTo>
                  <a:cubicBezTo>
                    <a:pt x="26" y="1"/>
                    <a:pt x="27" y="1"/>
                    <a:pt x="27" y="1"/>
                  </a:cubicBezTo>
                  <a:cubicBezTo>
                    <a:pt x="28" y="2"/>
                    <a:pt x="28" y="2"/>
                    <a:pt x="29" y="2"/>
                  </a:cubicBezTo>
                  <a:cubicBezTo>
                    <a:pt x="31" y="4"/>
                    <a:pt x="33" y="6"/>
                    <a:pt x="35" y="9"/>
                  </a:cubicBezTo>
                  <a:cubicBezTo>
                    <a:pt x="35" y="9"/>
                    <a:pt x="35" y="10"/>
                    <a:pt x="36" y="10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8" y="15"/>
                    <a:pt x="38" y="16"/>
                    <a:pt x="38" y="16"/>
                  </a:cubicBezTo>
                  <a:cubicBezTo>
                    <a:pt x="40" y="22"/>
                    <a:pt x="41" y="27"/>
                    <a:pt x="41" y="33"/>
                  </a:cubicBezTo>
                  <a:cubicBezTo>
                    <a:pt x="41" y="34"/>
                    <a:pt x="40" y="35"/>
                    <a:pt x="39" y="35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34" y="40"/>
                    <a:pt x="27" y="42"/>
                    <a:pt x="21" y="42"/>
                  </a:cubicBezTo>
                  <a:close/>
                  <a:moveTo>
                    <a:pt x="7" y="31"/>
                  </a:moveTo>
                  <a:cubicBezTo>
                    <a:pt x="15" y="36"/>
                    <a:pt x="26" y="36"/>
                    <a:pt x="34" y="31"/>
                  </a:cubicBezTo>
                  <a:cubicBezTo>
                    <a:pt x="34" y="27"/>
                    <a:pt x="33" y="23"/>
                    <a:pt x="32" y="19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10"/>
                    <a:pt x="27" y="9"/>
                    <a:pt x="25" y="8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0" y="7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7" y="7"/>
                    <a:pt x="17" y="8"/>
                  </a:cubicBezTo>
                  <a:cubicBezTo>
                    <a:pt x="17" y="8"/>
                    <a:pt x="16" y="8"/>
                    <a:pt x="16" y="8"/>
                  </a:cubicBezTo>
                  <a:cubicBezTo>
                    <a:pt x="15" y="9"/>
                    <a:pt x="13" y="10"/>
                    <a:pt x="13" y="12"/>
                  </a:cubicBezTo>
                  <a:cubicBezTo>
                    <a:pt x="12" y="12"/>
                    <a:pt x="12" y="13"/>
                    <a:pt x="12" y="13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8" y="23"/>
                    <a:pt x="8" y="27"/>
                    <a:pt x="7" y="3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3" name="Freeform 947">
              <a:extLst>
                <a:ext uri="{FF2B5EF4-FFF2-40B4-BE49-F238E27FC236}">
                  <a16:creationId xmlns:a16="http://schemas.microsoft.com/office/drawing/2014/main" id="{995D2090-BF1A-4DFC-AED6-59F5A3558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4155" y="3877295"/>
              <a:ext cx="21498" cy="24027"/>
            </a:xfrm>
            <a:custGeom>
              <a:avLst/>
              <a:gdLst>
                <a:gd name="T0" fmla="*/ 9 w 12"/>
                <a:gd name="T1" fmla="*/ 13 h 13"/>
                <a:gd name="T2" fmla="*/ 6 w 12"/>
                <a:gd name="T3" fmla="*/ 11 h 13"/>
                <a:gd name="T4" fmla="*/ 2 w 12"/>
                <a:gd name="T5" fmla="*/ 7 h 13"/>
                <a:gd name="T6" fmla="*/ 1 w 12"/>
                <a:gd name="T7" fmla="*/ 2 h 13"/>
                <a:gd name="T8" fmla="*/ 6 w 12"/>
                <a:gd name="T9" fmla="*/ 1 h 13"/>
                <a:gd name="T10" fmla="*/ 12 w 12"/>
                <a:gd name="T11" fmla="*/ 7 h 13"/>
                <a:gd name="T12" fmla="*/ 12 w 12"/>
                <a:gd name="T13" fmla="*/ 9 h 13"/>
                <a:gd name="T14" fmla="*/ 9 w 12"/>
                <a:gd name="T15" fmla="*/ 13 h 13"/>
                <a:gd name="T16" fmla="*/ 9 w 12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3">
                  <a:moveTo>
                    <a:pt x="9" y="13"/>
                  </a:moveTo>
                  <a:cubicBezTo>
                    <a:pt x="8" y="13"/>
                    <a:pt x="6" y="12"/>
                    <a:pt x="6" y="11"/>
                  </a:cubicBezTo>
                  <a:cubicBezTo>
                    <a:pt x="5" y="9"/>
                    <a:pt x="4" y="8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8" y="3"/>
                    <a:pt x="10" y="5"/>
                    <a:pt x="12" y="7"/>
                  </a:cubicBezTo>
                  <a:cubicBezTo>
                    <a:pt x="12" y="8"/>
                    <a:pt x="12" y="9"/>
                    <a:pt x="12" y="9"/>
                  </a:cubicBezTo>
                  <a:cubicBezTo>
                    <a:pt x="12" y="11"/>
                    <a:pt x="11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4" name="Freeform 948">
              <a:extLst>
                <a:ext uri="{FF2B5EF4-FFF2-40B4-BE49-F238E27FC236}">
                  <a16:creationId xmlns:a16="http://schemas.microsoft.com/office/drawing/2014/main" id="{8C3CF884-B447-48BA-B7A1-58181CE00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3007" y="3886147"/>
              <a:ext cx="13910" cy="16440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1 w 8"/>
                <a:gd name="T5" fmla="*/ 7 h 9"/>
                <a:gd name="T6" fmla="*/ 1 w 8"/>
                <a:gd name="T7" fmla="*/ 6 h 9"/>
                <a:gd name="T8" fmla="*/ 2 w 8"/>
                <a:gd name="T9" fmla="*/ 1 h 9"/>
                <a:gd name="T10" fmla="*/ 7 w 8"/>
                <a:gd name="T11" fmla="*/ 2 h 9"/>
                <a:gd name="T12" fmla="*/ 7 w 8"/>
                <a:gd name="T13" fmla="*/ 4 h 9"/>
                <a:gd name="T14" fmla="*/ 7 w 8"/>
                <a:gd name="T15" fmla="*/ 4 h 9"/>
                <a:gd name="T16" fmla="*/ 7 w 8"/>
                <a:gd name="T17" fmla="*/ 4 h 9"/>
                <a:gd name="T18" fmla="*/ 8 w 8"/>
                <a:gd name="T19" fmla="*/ 4 h 9"/>
                <a:gd name="T20" fmla="*/ 6 w 8"/>
                <a:gd name="T21" fmla="*/ 9 h 9"/>
                <a:gd name="T22" fmla="*/ 4 w 8"/>
                <a:gd name="T2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6"/>
                    <a:pt x="7" y="8"/>
                    <a:pt x="6" y="9"/>
                  </a:cubicBezTo>
                  <a:cubicBezTo>
                    <a:pt x="5" y="9"/>
                    <a:pt x="5" y="9"/>
                    <a:pt x="4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5" name="Freeform 949">
              <a:extLst>
                <a:ext uri="{FF2B5EF4-FFF2-40B4-BE49-F238E27FC236}">
                  <a16:creationId xmlns:a16="http://schemas.microsoft.com/office/drawing/2014/main" id="{16433963-40A2-4D97-886E-267DB9F0CB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1374" y="3716692"/>
              <a:ext cx="255446" cy="41731"/>
            </a:xfrm>
            <a:custGeom>
              <a:avLst/>
              <a:gdLst>
                <a:gd name="T0" fmla="*/ 138 w 141"/>
                <a:gd name="T1" fmla="*/ 23 h 23"/>
                <a:gd name="T2" fmla="*/ 4 w 141"/>
                <a:gd name="T3" fmla="*/ 23 h 23"/>
                <a:gd name="T4" fmla="*/ 0 w 141"/>
                <a:gd name="T5" fmla="*/ 20 h 23"/>
                <a:gd name="T6" fmla="*/ 0 w 141"/>
                <a:gd name="T7" fmla="*/ 17 h 23"/>
                <a:gd name="T8" fmla="*/ 17 w 141"/>
                <a:gd name="T9" fmla="*/ 0 h 23"/>
                <a:gd name="T10" fmla="*/ 124 w 141"/>
                <a:gd name="T11" fmla="*/ 0 h 23"/>
                <a:gd name="T12" fmla="*/ 141 w 141"/>
                <a:gd name="T13" fmla="*/ 17 h 23"/>
                <a:gd name="T14" fmla="*/ 141 w 141"/>
                <a:gd name="T15" fmla="*/ 20 h 23"/>
                <a:gd name="T16" fmla="*/ 138 w 141"/>
                <a:gd name="T17" fmla="*/ 23 h 23"/>
                <a:gd name="T18" fmla="*/ 7 w 141"/>
                <a:gd name="T19" fmla="*/ 17 h 23"/>
                <a:gd name="T20" fmla="*/ 134 w 141"/>
                <a:gd name="T21" fmla="*/ 17 h 23"/>
                <a:gd name="T22" fmla="*/ 124 w 141"/>
                <a:gd name="T23" fmla="*/ 7 h 23"/>
                <a:gd name="T24" fmla="*/ 17 w 141"/>
                <a:gd name="T25" fmla="*/ 7 h 23"/>
                <a:gd name="T26" fmla="*/ 7 w 141"/>
                <a:gd name="T2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1" h="23">
                  <a:moveTo>
                    <a:pt x="138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2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33" y="0"/>
                    <a:pt x="141" y="8"/>
                    <a:pt x="141" y="17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1" y="22"/>
                    <a:pt x="140" y="23"/>
                    <a:pt x="138" y="23"/>
                  </a:cubicBezTo>
                  <a:close/>
                  <a:moveTo>
                    <a:pt x="7" y="17"/>
                  </a:moveTo>
                  <a:cubicBezTo>
                    <a:pt x="134" y="17"/>
                    <a:pt x="134" y="17"/>
                    <a:pt x="134" y="17"/>
                  </a:cubicBezTo>
                  <a:cubicBezTo>
                    <a:pt x="134" y="11"/>
                    <a:pt x="130" y="7"/>
                    <a:pt x="124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2" y="7"/>
                    <a:pt x="7" y="11"/>
                    <a:pt x="7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6" name="Freeform 950">
              <a:extLst>
                <a:ext uri="{FF2B5EF4-FFF2-40B4-BE49-F238E27FC236}">
                  <a16:creationId xmlns:a16="http://schemas.microsoft.com/office/drawing/2014/main" id="{4AB93DC8-DA8E-481E-AAAB-5FACAD04C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23786" y="3776128"/>
              <a:ext cx="270621" cy="137840"/>
            </a:xfrm>
            <a:custGeom>
              <a:avLst/>
              <a:gdLst>
                <a:gd name="T0" fmla="*/ 89 w 149"/>
                <a:gd name="T1" fmla="*/ 76 h 76"/>
                <a:gd name="T2" fmla="*/ 86 w 149"/>
                <a:gd name="T3" fmla="*/ 74 h 76"/>
                <a:gd name="T4" fmla="*/ 85 w 149"/>
                <a:gd name="T5" fmla="*/ 73 h 76"/>
                <a:gd name="T6" fmla="*/ 83 w 149"/>
                <a:gd name="T7" fmla="*/ 68 h 76"/>
                <a:gd name="T8" fmla="*/ 83 w 149"/>
                <a:gd name="T9" fmla="*/ 67 h 76"/>
                <a:gd name="T10" fmla="*/ 79 w 149"/>
                <a:gd name="T11" fmla="*/ 63 h 76"/>
                <a:gd name="T12" fmla="*/ 78 w 149"/>
                <a:gd name="T13" fmla="*/ 63 h 76"/>
                <a:gd name="T14" fmla="*/ 78 w 149"/>
                <a:gd name="T15" fmla="*/ 62 h 76"/>
                <a:gd name="T16" fmla="*/ 77 w 149"/>
                <a:gd name="T17" fmla="*/ 62 h 76"/>
                <a:gd name="T18" fmla="*/ 76 w 149"/>
                <a:gd name="T19" fmla="*/ 62 h 76"/>
                <a:gd name="T20" fmla="*/ 74 w 149"/>
                <a:gd name="T21" fmla="*/ 62 h 76"/>
                <a:gd name="T22" fmla="*/ 73 w 149"/>
                <a:gd name="T23" fmla="*/ 62 h 76"/>
                <a:gd name="T24" fmla="*/ 73 w 149"/>
                <a:gd name="T25" fmla="*/ 62 h 76"/>
                <a:gd name="T26" fmla="*/ 72 w 149"/>
                <a:gd name="T27" fmla="*/ 62 h 76"/>
                <a:gd name="T28" fmla="*/ 71 w 149"/>
                <a:gd name="T29" fmla="*/ 63 h 76"/>
                <a:gd name="T30" fmla="*/ 70 w 149"/>
                <a:gd name="T31" fmla="*/ 63 h 76"/>
                <a:gd name="T32" fmla="*/ 67 w 149"/>
                <a:gd name="T33" fmla="*/ 67 h 76"/>
                <a:gd name="T34" fmla="*/ 66 w 149"/>
                <a:gd name="T35" fmla="*/ 68 h 76"/>
                <a:gd name="T36" fmla="*/ 64 w 149"/>
                <a:gd name="T37" fmla="*/ 74 h 76"/>
                <a:gd name="T38" fmla="*/ 63 w 149"/>
                <a:gd name="T39" fmla="*/ 75 h 76"/>
                <a:gd name="T40" fmla="*/ 60 w 149"/>
                <a:gd name="T41" fmla="*/ 76 h 76"/>
                <a:gd name="T42" fmla="*/ 10 w 149"/>
                <a:gd name="T43" fmla="*/ 67 h 76"/>
                <a:gd name="T44" fmla="*/ 0 w 149"/>
                <a:gd name="T45" fmla="*/ 55 h 76"/>
                <a:gd name="T46" fmla="*/ 0 w 149"/>
                <a:gd name="T47" fmla="*/ 4 h 76"/>
                <a:gd name="T48" fmla="*/ 3 w 149"/>
                <a:gd name="T49" fmla="*/ 0 h 76"/>
                <a:gd name="T50" fmla="*/ 146 w 149"/>
                <a:gd name="T51" fmla="*/ 0 h 76"/>
                <a:gd name="T52" fmla="*/ 149 w 149"/>
                <a:gd name="T53" fmla="*/ 4 h 76"/>
                <a:gd name="T54" fmla="*/ 149 w 149"/>
                <a:gd name="T55" fmla="*/ 55 h 76"/>
                <a:gd name="T56" fmla="*/ 140 w 149"/>
                <a:gd name="T57" fmla="*/ 67 h 76"/>
                <a:gd name="T58" fmla="*/ 89 w 149"/>
                <a:gd name="T59" fmla="*/ 76 h 76"/>
                <a:gd name="T60" fmla="*/ 89 w 149"/>
                <a:gd name="T61" fmla="*/ 76 h 76"/>
                <a:gd name="T62" fmla="*/ 7 w 149"/>
                <a:gd name="T63" fmla="*/ 7 h 76"/>
                <a:gd name="T64" fmla="*/ 7 w 149"/>
                <a:gd name="T65" fmla="*/ 55 h 76"/>
                <a:gd name="T66" fmla="*/ 11 w 149"/>
                <a:gd name="T67" fmla="*/ 60 h 76"/>
                <a:gd name="T68" fmla="*/ 58 w 149"/>
                <a:gd name="T69" fmla="*/ 69 h 76"/>
                <a:gd name="T70" fmla="*/ 60 w 149"/>
                <a:gd name="T71" fmla="*/ 65 h 76"/>
                <a:gd name="T72" fmla="*/ 61 w 149"/>
                <a:gd name="T73" fmla="*/ 64 h 76"/>
                <a:gd name="T74" fmla="*/ 66 w 149"/>
                <a:gd name="T75" fmla="*/ 57 h 76"/>
                <a:gd name="T76" fmla="*/ 68 w 149"/>
                <a:gd name="T77" fmla="*/ 56 h 76"/>
                <a:gd name="T78" fmla="*/ 70 w 149"/>
                <a:gd name="T79" fmla="*/ 56 h 76"/>
                <a:gd name="T80" fmla="*/ 71 w 149"/>
                <a:gd name="T81" fmla="*/ 55 h 76"/>
                <a:gd name="T82" fmla="*/ 72 w 149"/>
                <a:gd name="T83" fmla="*/ 55 h 76"/>
                <a:gd name="T84" fmla="*/ 73 w 149"/>
                <a:gd name="T85" fmla="*/ 55 h 76"/>
                <a:gd name="T86" fmla="*/ 77 w 149"/>
                <a:gd name="T87" fmla="*/ 55 h 76"/>
                <a:gd name="T88" fmla="*/ 79 w 149"/>
                <a:gd name="T89" fmla="*/ 55 h 76"/>
                <a:gd name="T90" fmla="*/ 80 w 149"/>
                <a:gd name="T91" fmla="*/ 56 h 76"/>
                <a:gd name="T92" fmla="*/ 81 w 149"/>
                <a:gd name="T93" fmla="*/ 56 h 76"/>
                <a:gd name="T94" fmla="*/ 83 w 149"/>
                <a:gd name="T95" fmla="*/ 57 h 76"/>
                <a:gd name="T96" fmla="*/ 89 w 149"/>
                <a:gd name="T97" fmla="*/ 64 h 76"/>
                <a:gd name="T98" fmla="*/ 90 w 149"/>
                <a:gd name="T99" fmla="*/ 65 h 76"/>
                <a:gd name="T100" fmla="*/ 91 w 149"/>
                <a:gd name="T101" fmla="*/ 69 h 76"/>
                <a:gd name="T102" fmla="*/ 138 w 149"/>
                <a:gd name="T103" fmla="*/ 60 h 76"/>
                <a:gd name="T104" fmla="*/ 143 w 149"/>
                <a:gd name="T105" fmla="*/ 55 h 76"/>
                <a:gd name="T106" fmla="*/ 143 w 149"/>
                <a:gd name="T107" fmla="*/ 7 h 76"/>
                <a:gd name="T108" fmla="*/ 7 w 149"/>
                <a:gd name="T109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9" h="76">
                  <a:moveTo>
                    <a:pt x="89" y="76"/>
                  </a:moveTo>
                  <a:cubicBezTo>
                    <a:pt x="87" y="76"/>
                    <a:pt x="86" y="75"/>
                    <a:pt x="86" y="74"/>
                  </a:cubicBezTo>
                  <a:cubicBezTo>
                    <a:pt x="85" y="73"/>
                    <a:pt x="85" y="73"/>
                    <a:pt x="85" y="73"/>
                  </a:cubicBezTo>
                  <a:cubicBezTo>
                    <a:pt x="83" y="68"/>
                    <a:pt x="83" y="68"/>
                    <a:pt x="83" y="68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2" y="65"/>
                    <a:pt x="81" y="64"/>
                    <a:pt x="79" y="63"/>
                  </a:cubicBezTo>
                  <a:cubicBezTo>
                    <a:pt x="79" y="63"/>
                    <a:pt x="79" y="63"/>
                    <a:pt x="78" y="63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5" y="62"/>
                    <a:pt x="74" y="62"/>
                    <a:pt x="74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1" y="62"/>
                    <a:pt x="71" y="63"/>
                  </a:cubicBezTo>
                  <a:cubicBezTo>
                    <a:pt x="71" y="63"/>
                    <a:pt x="70" y="63"/>
                    <a:pt x="70" y="63"/>
                  </a:cubicBezTo>
                  <a:cubicBezTo>
                    <a:pt x="69" y="64"/>
                    <a:pt x="67" y="65"/>
                    <a:pt x="67" y="67"/>
                  </a:cubicBezTo>
                  <a:cubicBezTo>
                    <a:pt x="66" y="67"/>
                    <a:pt x="66" y="67"/>
                    <a:pt x="66" y="68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3" y="75"/>
                    <a:pt x="63" y="75"/>
                  </a:cubicBezTo>
                  <a:cubicBezTo>
                    <a:pt x="62" y="76"/>
                    <a:pt x="61" y="76"/>
                    <a:pt x="60" y="7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4" y="66"/>
                    <a:pt x="0" y="61"/>
                    <a:pt x="0" y="5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8" y="0"/>
                    <a:pt x="149" y="2"/>
                    <a:pt x="149" y="4"/>
                  </a:cubicBezTo>
                  <a:cubicBezTo>
                    <a:pt x="149" y="55"/>
                    <a:pt x="149" y="55"/>
                    <a:pt x="149" y="55"/>
                  </a:cubicBezTo>
                  <a:cubicBezTo>
                    <a:pt x="149" y="61"/>
                    <a:pt x="145" y="66"/>
                    <a:pt x="140" y="67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89" y="76"/>
                    <a:pt x="89" y="76"/>
                    <a:pt x="89" y="76"/>
                  </a:cubicBezTo>
                  <a:close/>
                  <a:moveTo>
                    <a:pt x="7" y="7"/>
                  </a:moveTo>
                  <a:cubicBezTo>
                    <a:pt x="7" y="55"/>
                    <a:pt x="7" y="55"/>
                    <a:pt x="7" y="55"/>
                  </a:cubicBezTo>
                  <a:cubicBezTo>
                    <a:pt x="7" y="58"/>
                    <a:pt x="9" y="60"/>
                    <a:pt x="11" y="60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4"/>
                    <a:pt x="61" y="64"/>
                  </a:cubicBezTo>
                  <a:cubicBezTo>
                    <a:pt x="62" y="61"/>
                    <a:pt x="64" y="59"/>
                    <a:pt x="66" y="57"/>
                  </a:cubicBezTo>
                  <a:cubicBezTo>
                    <a:pt x="67" y="57"/>
                    <a:pt x="67" y="57"/>
                    <a:pt x="68" y="56"/>
                  </a:cubicBezTo>
                  <a:cubicBezTo>
                    <a:pt x="68" y="56"/>
                    <a:pt x="69" y="56"/>
                    <a:pt x="70" y="56"/>
                  </a:cubicBezTo>
                  <a:cubicBezTo>
                    <a:pt x="70" y="56"/>
                    <a:pt x="71" y="55"/>
                    <a:pt x="71" y="55"/>
                  </a:cubicBezTo>
                  <a:cubicBezTo>
                    <a:pt x="71" y="55"/>
                    <a:pt x="71" y="55"/>
                    <a:pt x="72" y="55"/>
                  </a:cubicBezTo>
                  <a:cubicBezTo>
                    <a:pt x="72" y="55"/>
                    <a:pt x="72" y="55"/>
                    <a:pt x="73" y="55"/>
                  </a:cubicBezTo>
                  <a:cubicBezTo>
                    <a:pt x="74" y="55"/>
                    <a:pt x="75" y="55"/>
                    <a:pt x="77" y="55"/>
                  </a:cubicBezTo>
                  <a:cubicBezTo>
                    <a:pt x="77" y="55"/>
                    <a:pt x="78" y="55"/>
                    <a:pt x="79" y="55"/>
                  </a:cubicBezTo>
                  <a:cubicBezTo>
                    <a:pt x="79" y="55"/>
                    <a:pt x="79" y="55"/>
                    <a:pt x="80" y="56"/>
                  </a:cubicBezTo>
                  <a:cubicBezTo>
                    <a:pt x="80" y="56"/>
                    <a:pt x="81" y="56"/>
                    <a:pt x="81" y="56"/>
                  </a:cubicBezTo>
                  <a:cubicBezTo>
                    <a:pt x="82" y="57"/>
                    <a:pt x="82" y="57"/>
                    <a:pt x="83" y="57"/>
                  </a:cubicBezTo>
                  <a:cubicBezTo>
                    <a:pt x="85" y="59"/>
                    <a:pt x="87" y="61"/>
                    <a:pt x="89" y="64"/>
                  </a:cubicBezTo>
                  <a:cubicBezTo>
                    <a:pt x="89" y="64"/>
                    <a:pt x="89" y="65"/>
                    <a:pt x="90" y="65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41" y="60"/>
                    <a:pt x="143" y="58"/>
                    <a:pt x="143" y="55"/>
                  </a:cubicBezTo>
                  <a:cubicBezTo>
                    <a:pt x="143" y="7"/>
                    <a:pt x="143" y="7"/>
                    <a:pt x="143" y="7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7" name="Freeform 951">
              <a:extLst>
                <a:ext uri="{FF2B5EF4-FFF2-40B4-BE49-F238E27FC236}">
                  <a16:creationId xmlns:a16="http://schemas.microsoft.com/office/drawing/2014/main" id="{39C2ABBF-D7DF-498F-BB70-00A1E5008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52774" y="3967080"/>
              <a:ext cx="96108" cy="42996"/>
            </a:xfrm>
            <a:custGeom>
              <a:avLst/>
              <a:gdLst>
                <a:gd name="T0" fmla="*/ 40 w 53"/>
                <a:gd name="T1" fmla="*/ 24 h 24"/>
                <a:gd name="T2" fmla="*/ 14 w 53"/>
                <a:gd name="T3" fmla="*/ 24 h 24"/>
                <a:gd name="T4" fmla="*/ 0 w 53"/>
                <a:gd name="T5" fmla="*/ 10 h 24"/>
                <a:gd name="T6" fmla="*/ 0 w 53"/>
                <a:gd name="T7" fmla="*/ 4 h 24"/>
                <a:gd name="T8" fmla="*/ 4 w 53"/>
                <a:gd name="T9" fmla="*/ 0 h 24"/>
                <a:gd name="T10" fmla="*/ 50 w 53"/>
                <a:gd name="T11" fmla="*/ 0 h 24"/>
                <a:gd name="T12" fmla="*/ 53 w 53"/>
                <a:gd name="T13" fmla="*/ 4 h 24"/>
                <a:gd name="T14" fmla="*/ 53 w 53"/>
                <a:gd name="T15" fmla="*/ 10 h 24"/>
                <a:gd name="T16" fmla="*/ 40 w 53"/>
                <a:gd name="T17" fmla="*/ 24 h 24"/>
                <a:gd name="T18" fmla="*/ 7 w 53"/>
                <a:gd name="T19" fmla="*/ 7 h 24"/>
                <a:gd name="T20" fmla="*/ 7 w 53"/>
                <a:gd name="T21" fmla="*/ 10 h 24"/>
                <a:gd name="T22" fmla="*/ 14 w 53"/>
                <a:gd name="T23" fmla="*/ 17 h 24"/>
                <a:gd name="T24" fmla="*/ 40 w 53"/>
                <a:gd name="T25" fmla="*/ 17 h 24"/>
                <a:gd name="T26" fmla="*/ 46 w 53"/>
                <a:gd name="T27" fmla="*/ 10 h 24"/>
                <a:gd name="T28" fmla="*/ 46 w 53"/>
                <a:gd name="T29" fmla="*/ 7 h 24"/>
                <a:gd name="T30" fmla="*/ 7 w 53"/>
                <a:gd name="T3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4">
                  <a:moveTo>
                    <a:pt x="40" y="24"/>
                  </a:moveTo>
                  <a:cubicBezTo>
                    <a:pt x="14" y="24"/>
                    <a:pt x="14" y="24"/>
                    <a:pt x="14" y="24"/>
                  </a:cubicBezTo>
                  <a:cubicBezTo>
                    <a:pt x="6" y="24"/>
                    <a:pt x="0" y="18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2" y="0"/>
                    <a:pt x="53" y="2"/>
                    <a:pt x="53" y="4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8"/>
                    <a:pt x="47" y="24"/>
                    <a:pt x="40" y="24"/>
                  </a:cubicBezTo>
                  <a:close/>
                  <a:moveTo>
                    <a:pt x="7" y="7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4"/>
                    <a:pt x="10" y="17"/>
                    <a:pt x="14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3" y="17"/>
                    <a:pt x="46" y="14"/>
                    <a:pt x="46" y="10"/>
                  </a:cubicBezTo>
                  <a:cubicBezTo>
                    <a:pt x="46" y="7"/>
                    <a:pt x="46" y="7"/>
                    <a:pt x="46" y="7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8" name="Freeform 952">
              <a:extLst>
                <a:ext uri="{FF2B5EF4-FFF2-40B4-BE49-F238E27FC236}">
                  <a16:creationId xmlns:a16="http://schemas.microsoft.com/office/drawing/2014/main" id="{D1941B48-F352-4C4A-9A0B-C539F90F40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2112" y="3800155"/>
              <a:ext cx="89786" cy="58171"/>
            </a:xfrm>
            <a:custGeom>
              <a:avLst/>
              <a:gdLst>
                <a:gd name="T0" fmla="*/ 46 w 49"/>
                <a:gd name="T1" fmla="*/ 32 h 32"/>
                <a:gd name="T2" fmla="*/ 4 w 49"/>
                <a:gd name="T3" fmla="*/ 32 h 32"/>
                <a:gd name="T4" fmla="*/ 0 w 49"/>
                <a:gd name="T5" fmla="*/ 29 h 32"/>
                <a:gd name="T6" fmla="*/ 0 w 49"/>
                <a:gd name="T7" fmla="*/ 3 h 32"/>
                <a:gd name="T8" fmla="*/ 4 w 49"/>
                <a:gd name="T9" fmla="*/ 0 h 32"/>
                <a:gd name="T10" fmla="*/ 46 w 49"/>
                <a:gd name="T11" fmla="*/ 0 h 32"/>
                <a:gd name="T12" fmla="*/ 49 w 49"/>
                <a:gd name="T13" fmla="*/ 3 h 32"/>
                <a:gd name="T14" fmla="*/ 49 w 49"/>
                <a:gd name="T15" fmla="*/ 29 h 32"/>
                <a:gd name="T16" fmla="*/ 46 w 49"/>
                <a:gd name="T17" fmla="*/ 32 h 32"/>
                <a:gd name="T18" fmla="*/ 7 w 49"/>
                <a:gd name="T19" fmla="*/ 25 h 32"/>
                <a:gd name="T20" fmla="*/ 42 w 49"/>
                <a:gd name="T21" fmla="*/ 25 h 32"/>
                <a:gd name="T22" fmla="*/ 42 w 49"/>
                <a:gd name="T23" fmla="*/ 7 h 32"/>
                <a:gd name="T24" fmla="*/ 7 w 49"/>
                <a:gd name="T25" fmla="*/ 7 h 32"/>
                <a:gd name="T26" fmla="*/ 7 w 49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32">
                  <a:moveTo>
                    <a:pt x="46" y="32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0" y="30"/>
                    <a:pt x="0" y="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9" y="1"/>
                    <a:pt x="49" y="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30"/>
                    <a:pt x="47" y="32"/>
                    <a:pt x="46" y="32"/>
                  </a:cubicBezTo>
                  <a:close/>
                  <a:moveTo>
                    <a:pt x="7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9" name="Freeform 953">
              <a:extLst>
                <a:ext uri="{FF2B5EF4-FFF2-40B4-BE49-F238E27FC236}">
                  <a16:creationId xmlns:a16="http://schemas.microsoft.com/office/drawing/2014/main" id="{4B1456C9-48A4-4511-8312-6CB692A8AB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0049" y="3768540"/>
              <a:ext cx="51848" cy="120136"/>
            </a:xfrm>
            <a:custGeom>
              <a:avLst/>
              <a:gdLst>
                <a:gd name="T0" fmla="*/ 25 w 28"/>
                <a:gd name="T1" fmla="*/ 66 h 66"/>
                <a:gd name="T2" fmla="*/ 4 w 28"/>
                <a:gd name="T3" fmla="*/ 66 h 66"/>
                <a:gd name="T4" fmla="*/ 0 w 28"/>
                <a:gd name="T5" fmla="*/ 62 h 66"/>
                <a:gd name="T6" fmla="*/ 0 w 28"/>
                <a:gd name="T7" fmla="*/ 4 h 66"/>
                <a:gd name="T8" fmla="*/ 4 w 28"/>
                <a:gd name="T9" fmla="*/ 0 h 66"/>
                <a:gd name="T10" fmla="*/ 25 w 28"/>
                <a:gd name="T11" fmla="*/ 0 h 66"/>
                <a:gd name="T12" fmla="*/ 28 w 28"/>
                <a:gd name="T13" fmla="*/ 4 h 66"/>
                <a:gd name="T14" fmla="*/ 28 w 28"/>
                <a:gd name="T15" fmla="*/ 62 h 66"/>
                <a:gd name="T16" fmla="*/ 25 w 28"/>
                <a:gd name="T17" fmla="*/ 66 h 66"/>
                <a:gd name="T18" fmla="*/ 7 w 28"/>
                <a:gd name="T19" fmla="*/ 59 h 66"/>
                <a:gd name="T20" fmla="*/ 21 w 28"/>
                <a:gd name="T21" fmla="*/ 59 h 66"/>
                <a:gd name="T22" fmla="*/ 21 w 28"/>
                <a:gd name="T23" fmla="*/ 7 h 66"/>
                <a:gd name="T24" fmla="*/ 7 w 28"/>
                <a:gd name="T25" fmla="*/ 7 h 66"/>
                <a:gd name="T26" fmla="*/ 7 w 28"/>
                <a:gd name="T27" fmla="*/ 5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66">
                  <a:moveTo>
                    <a:pt x="25" y="66"/>
                  </a:moveTo>
                  <a:cubicBezTo>
                    <a:pt x="4" y="66"/>
                    <a:pt x="4" y="66"/>
                    <a:pt x="4" y="66"/>
                  </a:cubicBezTo>
                  <a:cubicBezTo>
                    <a:pt x="2" y="66"/>
                    <a:pt x="0" y="64"/>
                    <a:pt x="0" y="6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6" y="0"/>
                    <a:pt x="28" y="2"/>
                    <a:pt x="28" y="4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4"/>
                    <a:pt x="26" y="66"/>
                    <a:pt x="25" y="66"/>
                  </a:cubicBezTo>
                  <a:close/>
                  <a:moveTo>
                    <a:pt x="7" y="59"/>
                  </a:moveTo>
                  <a:cubicBezTo>
                    <a:pt x="21" y="59"/>
                    <a:pt x="21" y="59"/>
                    <a:pt x="21" y="59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9" name="Agrupar 1718">
            <a:extLst>
              <a:ext uri="{FF2B5EF4-FFF2-40B4-BE49-F238E27FC236}">
                <a16:creationId xmlns:a16="http://schemas.microsoft.com/office/drawing/2014/main" id="{01DD4FB7-C83C-4CA1-9618-F7921BA8630B}"/>
              </a:ext>
            </a:extLst>
          </p:cNvPr>
          <p:cNvGrpSpPr/>
          <p:nvPr/>
        </p:nvGrpSpPr>
        <p:grpSpPr>
          <a:xfrm>
            <a:off x="8668443" y="3692665"/>
            <a:ext cx="409726" cy="408462"/>
            <a:chOff x="9350055" y="3692665"/>
            <a:chExt cx="409726" cy="408462"/>
          </a:xfrm>
        </p:grpSpPr>
        <p:sp>
          <p:nvSpPr>
            <p:cNvPr id="1560" name="Freeform 954">
              <a:extLst>
                <a:ext uri="{FF2B5EF4-FFF2-40B4-BE49-F238E27FC236}">
                  <a16:creationId xmlns:a16="http://schemas.microsoft.com/office/drawing/2014/main" id="{8A95D71A-2C2F-48B8-AB4C-1E9DF7A67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0055" y="4073305"/>
              <a:ext cx="409726" cy="27821"/>
            </a:xfrm>
            <a:custGeom>
              <a:avLst/>
              <a:gdLst>
                <a:gd name="T0" fmla="*/ 213 w 226"/>
                <a:gd name="T1" fmla="*/ 15 h 15"/>
                <a:gd name="T2" fmla="*/ 199 w 226"/>
                <a:gd name="T3" fmla="*/ 10 h 15"/>
                <a:gd name="T4" fmla="*/ 188 w 226"/>
                <a:gd name="T5" fmla="*/ 7 h 15"/>
                <a:gd name="T6" fmla="*/ 178 w 226"/>
                <a:gd name="T7" fmla="*/ 10 h 15"/>
                <a:gd name="T8" fmla="*/ 176 w 226"/>
                <a:gd name="T9" fmla="*/ 12 h 15"/>
                <a:gd name="T10" fmla="*/ 163 w 226"/>
                <a:gd name="T11" fmla="*/ 15 h 15"/>
                <a:gd name="T12" fmla="*/ 149 w 226"/>
                <a:gd name="T13" fmla="*/ 10 h 15"/>
                <a:gd name="T14" fmla="*/ 138 w 226"/>
                <a:gd name="T15" fmla="*/ 7 h 15"/>
                <a:gd name="T16" fmla="*/ 127 w 226"/>
                <a:gd name="T17" fmla="*/ 10 h 15"/>
                <a:gd name="T18" fmla="*/ 113 w 226"/>
                <a:gd name="T19" fmla="*/ 15 h 15"/>
                <a:gd name="T20" fmla="*/ 98 w 226"/>
                <a:gd name="T21" fmla="*/ 10 h 15"/>
                <a:gd name="T22" fmla="*/ 88 w 226"/>
                <a:gd name="T23" fmla="*/ 7 h 15"/>
                <a:gd name="T24" fmla="*/ 77 w 226"/>
                <a:gd name="T25" fmla="*/ 10 h 15"/>
                <a:gd name="T26" fmla="*/ 63 w 226"/>
                <a:gd name="T27" fmla="*/ 15 h 15"/>
                <a:gd name="T28" fmla="*/ 50 w 226"/>
                <a:gd name="T29" fmla="*/ 12 h 15"/>
                <a:gd name="T30" fmla="*/ 48 w 226"/>
                <a:gd name="T31" fmla="*/ 10 h 15"/>
                <a:gd name="T32" fmla="*/ 37 w 226"/>
                <a:gd name="T33" fmla="*/ 7 h 15"/>
                <a:gd name="T34" fmla="*/ 27 w 226"/>
                <a:gd name="T35" fmla="*/ 10 h 15"/>
                <a:gd name="T36" fmla="*/ 12 w 226"/>
                <a:gd name="T37" fmla="*/ 15 h 15"/>
                <a:gd name="T38" fmla="*/ 3 w 226"/>
                <a:gd name="T39" fmla="*/ 13 h 15"/>
                <a:gd name="T40" fmla="*/ 1 w 226"/>
                <a:gd name="T41" fmla="*/ 8 h 15"/>
                <a:gd name="T42" fmla="*/ 5 w 226"/>
                <a:gd name="T43" fmla="*/ 7 h 15"/>
                <a:gd name="T44" fmla="*/ 12 w 226"/>
                <a:gd name="T45" fmla="*/ 8 h 15"/>
                <a:gd name="T46" fmla="*/ 23 w 226"/>
                <a:gd name="T47" fmla="*/ 5 h 15"/>
                <a:gd name="T48" fmla="*/ 37 w 226"/>
                <a:gd name="T49" fmla="*/ 0 h 15"/>
                <a:gd name="T50" fmla="*/ 52 w 226"/>
                <a:gd name="T51" fmla="*/ 5 h 15"/>
                <a:gd name="T52" fmla="*/ 54 w 226"/>
                <a:gd name="T53" fmla="*/ 6 h 15"/>
                <a:gd name="T54" fmla="*/ 63 w 226"/>
                <a:gd name="T55" fmla="*/ 8 h 15"/>
                <a:gd name="T56" fmla="*/ 73 w 226"/>
                <a:gd name="T57" fmla="*/ 5 h 15"/>
                <a:gd name="T58" fmla="*/ 88 w 226"/>
                <a:gd name="T59" fmla="*/ 0 h 15"/>
                <a:gd name="T60" fmla="*/ 102 w 226"/>
                <a:gd name="T61" fmla="*/ 5 h 15"/>
                <a:gd name="T62" fmla="*/ 113 w 226"/>
                <a:gd name="T63" fmla="*/ 8 h 15"/>
                <a:gd name="T64" fmla="*/ 124 w 226"/>
                <a:gd name="T65" fmla="*/ 5 h 15"/>
                <a:gd name="T66" fmla="*/ 138 w 226"/>
                <a:gd name="T67" fmla="*/ 0 h 15"/>
                <a:gd name="T68" fmla="*/ 153 w 226"/>
                <a:gd name="T69" fmla="*/ 5 h 15"/>
                <a:gd name="T70" fmla="*/ 163 w 226"/>
                <a:gd name="T71" fmla="*/ 8 h 15"/>
                <a:gd name="T72" fmla="*/ 172 w 226"/>
                <a:gd name="T73" fmla="*/ 6 h 15"/>
                <a:gd name="T74" fmla="*/ 174 w 226"/>
                <a:gd name="T75" fmla="*/ 5 h 15"/>
                <a:gd name="T76" fmla="*/ 188 w 226"/>
                <a:gd name="T77" fmla="*/ 0 h 15"/>
                <a:gd name="T78" fmla="*/ 203 w 226"/>
                <a:gd name="T79" fmla="*/ 5 h 15"/>
                <a:gd name="T80" fmla="*/ 213 w 226"/>
                <a:gd name="T81" fmla="*/ 8 h 15"/>
                <a:gd name="T82" fmla="*/ 220 w 226"/>
                <a:gd name="T83" fmla="*/ 7 h 15"/>
                <a:gd name="T84" fmla="*/ 225 w 226"/>
                <a:gd name="T85" fmla="*/ 8 h 15"/>
                <a:gd name="T86" fmla="*/ 223 w 226"/>
                <a:gd name="T87" fmla="*/ 13 h 15"/>
                <a:gd name="T88" fmla="*/ 213 w 226"/>
                <a:gd name="T8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6" h="15">
                  <a:moveTo>
                    <a:pt x="213" y="15"/>
                  </a:moveTo>
                  <a:cubicBezTo>
                    <a:pt x="206" y="15"/>
                    <a:pt x="202" y="13"/>
                    <a:pt x="199" y="10"/>
                  </a:cubicBezTo>
                  <a:cubicBezTo>
                    <a:pt x="196" y="8"/>
                    <a:pt x="194" y="7"/>
                    <a:pt x="188" y="7"/>
                  </a:cubicBezTo>
                  <a:cubicBezTo>
                    <a:pt x="183" y="7"/>
                    <a:pt x="181" y="8"/>
                    <a:pt x="178" y="10"/>
                  </a:cubicBezTo>
                  <a:cubicBezTo>
                    <a:pt x="177" y="11"/>
                    <a:pt x="176" y="11"/>
                    <a:pt x="176" y="12"/>
                  </a:cubicBezTo>
                  <a:cubicBezTo>
                    <a:pt x="173" y="13"/>
                    <a:pt x="169" y="15"/>
                    <a:pt x="163" y="15"/>
                  </a:cubicBezTo>
                  <a:cubicBezTo>
                    <a:pt x="156" y="15"/>
                    <a:pt x="152" y="13"/>
                    <a:pt x="149" y="10"/>
                  </a:cubicBezTo>
                  <a:cubicBezTo>
                    <a:pt x="146" y="8"/>
                    <a:pt x="143" y="7"/>
                    <a:pt x="138" y="7"/>
                  </a:cubicBezTo>
                  <a:cubicBezTo>
                    <a:pt x="133" y="7"/>
                    <a:pt x="130" y="8"/>
                    <a:pt x="127" y="10"/>
                  </a:cubicBezTo>
                  <a:cubicBezTo>
                    <a:pt x="124" y="13"/>
                    <a:pt x="120" y="15"/>
                    <a:pt x="113" y="15"/>
                  </a:cubicBezTo>
                  <a:cubicBezTo>
                    <a:pt x="106" y="15"/>
                    <a:pt x="102" y="13"/>
                    <a:pt x="98" y="10"/>
                  </a:cubicBezTo>
                  <a:cubicBezTo>
                    <a:pt x="95" y="8"/>
                    <a:pt x="93" y="7"/>
                    <a:pt x="88" y="7"/>
                  </a:cubicBezTo>
                  <a:cubicBezTo>
                    <a:pt x="82" y="7"/>
                    <a:pt x="80" y="8"/>
                    <a:pt x="77" y="10"/>
                  </a:cubicBezTo>
                  <a:cubicBezTo>
                    <a:pt x="74" y="13"/>
                    <a:pt x="70" y="15"/>
                    <a:pt x="63" y="15"/>
                  </a:cubicBezTo>
                  <a:cubicBezTo>
                    <a:pt x="57" y="15"/>
                    <a:pt x="53" y="13"/>
                    <a:pt x="50" y="12"/>
                  </a:cubicBezTo>
                  <a:cubicBezTo>
                    <a:pt x="50" y="11"/>
                    <a:pt x="49" y="11"/>
                    <a:pt x="48" y="10"/>
                  </a:cubicBezTo>
                  <a:cubicBezTo>
                    <a:pt x="45" y="8"/>
                    <a:pt x="43" y="7"/>
                    <a:pt x="37" y="7"/>
                  </a:cubicBezTo>
                  <a:cubicBezTo>
                    <a:pt x="32" y="7"/>
                    <a:pt x="30" y="8"/>
                    <a:pt x="27" y="10"/>
                  </a:cubicBezTo>
                  <a:cubicBezTo>
                    <a:pt x="23" y="13"/>
                    <a:pt x="20" y="15"/>
                    <a:pt x="12" y="15"/>
                  </a:cubicBezTo>
                  <a:cubicBezTo>
                    <a:pt x="9" y="15"/>
                    <a:pt x="5" y="14"/>
                    <a:pt x="3" y="13"/>
                  </a:cubicBezTo>
                  <a:cubicBezTo>
                    <a:pt x="1" y="12"/>
                    <a:pt x="0" y="10"/>
                    <a:pt x="1" y="8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10" y="8"/>
                    <a:pt x="12" y="8"/>
                  </a:cubicBezTo>
                  <a:cubicBezTo>
                    <a:pt x="18" y="8"/>
                    <a:pt x="20" y="7"/>
                    <a:pt x="23" y="5"/>
                  </a:cubicBezTo>
                  <a:cubicBezTo>
                    <a:pt x="26" y="2"/>
                    <a:pt x="30" y="0"/>
                    <a:pt x="37" y="0"/>
                  </a:cubicBezTo>
                  <a:cubicBezTo>
                    <a:pt x="45" y="0"/>
                    <a:pt x="49" y="2"/>
                    <a:pt x="52" y="5"/>
                  </a:cubicBezTo>
                  <a:cubicBezTo>
                    <a:pt x="53" y="5"/>
                    <a:pt x="53" y="5"/>
                    <a:pt x="54" y="6"/>
                  </a:cubicBezTo>
                  <a:cubicBezTo>
                    <a:pt x="56" y="7"/>
                    <a:pt x="59" y="8"/>
                    <a:pt x="63" y="8"/>
                  </a:cubicBezTo>
                  <a:cubicBezTo>
                    <a:pt x="68" y="8"/>
                    <a:pt x="70" y="7"/>
                    <a:pt x="73" y="5"/>
                  </a:cubicBezTo>
                  <a:cubicBezTo>
                    <a:pt x="77" y="2"/>
                    <a:pt x="80" y="0"/>
                    <a:pt x="88" y="0"/>
                  </a:cubicBezTo>
                  <a:cubicBezTo>
                    <a:pt x="95" y="0"/>
                    <a:pt x="99" y="2"/>
                    <a:pt x="102" y="5"/>
                  </a:cubicBezTo>
                  <a:cubicBezTo>
                    <a:pt x="105" y="7"/>
                    <a:pt x="108" y="8"/>
                    <a:pt x="113" y="8"/>
                  </a:cubicBezTo>
                  <a:cubicBezTo>
                    <a:pt x="118" y="8"/>
                    <a:pt x="121" y="7"/>
                    <a:pt x="124" y="5"/>
                  </a:cubicBezTo>
                  <a:cubicBezTo>
                    <a:pt x="127" y="2"/>
                    <a:pt x="131" y="0"/>
                    <a:pt x="138" y="0"/>
                  </a:cubicBezTo>
                  <a:cubicBezTo>
                    <a:pt x="145" y="0"/>
                    <a:pt x="149" y="2"/>
                    <a:pt x="153" y="5"/>
                  </a:cubicBezTo>
                  <a:cubicBezTo>
                    <a:pt x="156" y="7"/>
                    <a:pt x="158" y="8"/>
                    <a:pt x="163" y="8"/>
                  </a:cubicBezTo>
                  <a:cubicBezTo>
                    <a:pt x="168" y="8"/>
                    <a:pt x="170" y="7"/>
                    <a:pt x="172" y="6"/>
                  </a:cubicBezTo>
                  <a:cubicBezTo>
                    <a:pt x="173" y="5"/>
                    <a:pt x="173" y="5"/>
                    <a:pt x="174" y="5"/>
                  </a:cubicBezTo>
                  <a:cubicBezTo>
                    <a:pt x="177" y="2"/>
                    <a:pt x="181" y="0"/>
                    <a:pt x="188" y="0"/>
                  </a:cubicBezTo>
                  <a:cubicBezTo>
                    <a:pt x="196" y="0"/>
                    <a:pt x="199" y="2"/>
                    <a:pt x="203" y="5"/>
                  </a:cubicBezTo>
                  <a:cubicBezTo>
                    <a:pt x="206" y="7"/>
                    <a:pt x="208" y="8"/>
                    <a:pt x="213" y="8"/>
                  </a:cubicBezTo>
                  <a:cubicBezTo>
                    <a:pt x="217" y="8"/>
                    <a:pt x="219" y="7"/>
                    <a:pt x="220" y="7"/>
                  </a:cubicBezTo>
                  <a:cubicBezTo>
                    <a:pt x="222" y="6"/>
                    <a:pt x="224" y="7"/>
                    <a:pt x="225" y="8"/>
                  </a:cubicBezTo>
                  <a:cubicBezTo>
                    <a:pt x="226" y="10"/>
                    <a:pt x="225" y="12"/>
                    <a:pt x="223" y="13"/>
                  </a:cubicBezTo>
                  <a:cubicBezTo>
                    <a:pt x="220" y="14"/>
                    <a:pt x="217" y="15"/>
                    <a:pt x="213" y="1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1" name="Freeform 955">
              <a:extLst>
                <a:ext uri="{FF2B5EF4-FFF2-40B4-BE49-F238E27FC236}">
                  <a16:creationId xmlns:a16="http://schemas.microsoft.com/office/drawing/2014/main" id="{576C4337-DE86-4F54-8661-C21F810AD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024" y="3906380"/>
              <a:ext cx="373053" cy="54377"/>
            </a:xfrm>
            <a:custGeom>
              <a:avLst/>
              <a:gdLst>
                <a:gd name="T0" fmla="*/ 202 w 206"/>
                <a:gd name="T1" fmla="*/ 29 h 30"/>
                <a:gd name="T2" fmla="*/ 201 w 206"/>
                <a:gd name="T3" fmla="*/ 29 h 30"/>
                <a:gd name="T4" fmla="*/ 103 w 206"/>
                <a:gd name="T5" fmla="*/ 7 h 30"/>
                <a:gd name="T6" fmla="*/ 4 w 206"/>
                <a:gd name="T7" fmla="*/ 29 h 30"/>
                <a:gd name="T8" fmla="*/ 0 w 206"/>
                <a:gd name="T9" fmla="*/ 27 h 30"/>
                <a:gd name="T10" fmla="*/ 3 w 206"/>
                <a:gd name="T11" fmla="*/ 23 h 30"/>
                <a:gd name="T12" fmla="*/ 102 w 206"/>
                <a:gd name="T13" fmla="*/ 0 h 30"/>
                <a:gd name="T14" fmla="*/ 104 w 206"/>
                <a:gd name="T15" fmla="*/ 0 h 30"/>
                <a:gd name="T16" fmla="*/ 203 w 206"/>
                <a:gd name="T17" fmla="*/ 23 h 30"/>
                <a:gd name="T18" fmla="*/ 206 w 206"/>
                <a:gd name="T19" fmla="*/ 27 h 30"/>
                <a:gd name="T20" fmla="*/ 202 w 206"/>
                <a:gd name="T21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30">
                  <a:moveTo>
                    <a:pt x="202" y="29"/>
                  </a:moveTo>
                  <a:cubicBezTo>
                    <a:pt x="202" y="29"/>
                    <a:pt x="202" y="29"/>
                    <a:pt x="201" y="29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30"/>
                    <a:pt x="1" y="29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3" y="0"/>
                    <a:pt x="103" y="0"/>
                    <a:pt x="104" y="0"/>
                  </a:cubicBezTo>
                  <a:cubicBezTo>
                    <a:pt x="203" y="23"/>
                    <a:pt x="203" y="23"/>
                    <a:pt x="203" y="23"/>
                  </a:cubicBezTo>
                  <a:cubicBezTo>
                    <a:pt x="205" y="23"/>
                    <a:pt x="206" y="25"/>
                    <a:pt x="206" y="27"/>
                  </a:cubicBezTo>
                  <a:cubicBezTo>
                    <a:pt x="205" y="28"/>
                    <a:pt x="204" y="29"/>
                    <a:pt x="202" y="2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2" name="Freeform 956">
              <a:extLst>
                <a:ext uri="{FF2B5EF4-FFF2-40B4-BE49-F238E27FC236}">
                  <a16:creationId xmlns:a16="http://schemas.microsoft.com/office/drawing/2014/main" id="{DF618C17-4C67-4ED5-8CE7-63C8E9E92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0055" y="3868443"/>
              <a:ext cx="408461" cy="232684"/>
            </a:xfrm>
            <a:custGeom>
              <a:avLst/>
              <a:gdLst>
                <a:gd name="T0" fmla="*/ 163 w 225"/>
                <a:gd name="T1" fmla="*/ 128 h 128"/>
                <a:gd name="T2" fmla="*/ 149 w 225"/>
                <a:gd name="T3" fmla="*/ 123 h 128"/>
                <a:gd name="T4" fmla="*/ 138 w 225"/>
                <a:gd name="T5" fmla="*/ 120 h 128"/>
                <a:gd name="T6" fmla="*/ 127 w 225"/>
                <a:gd name="T7" fmla="*/ 123 h 128"/>
                <a:gd name="T8" fmla="*/ 113 w 225"/>
                <a:gd name="T9" fmla="*/ 128 h 128"/>
                <a:gd name="T10" fmla="*/ 98 w 225"/>
                <a:gd name="T11" fmla="*/ 123 h 128"/>
                <a:gd name="T12" fmla="*/ 88 w 225"/>
                <a:gd name="T13" fmla="*/ 120 h 128"/>
                <a:gd name="T14" fmla="*/ 77 w 225"/>
                <a:gd name="T15" fmla="*/ 123 h 128"/>
                <a:gd name="T16" fmla="*/ 63 w 225"/>
                <a:gd name="T17" fmla="*/ 128 h 128"/>
                <a:gd name="T18" fmla="*/ 50 w 225"/>
                <a:gd name="T19" fmla="*/ 125 h 128"/>
                <a:gd name="T20" fmla="*/ 49 w 225"/>
                <a:gd name="T21" fmla="*/ 123 h 128"/>
                <a:gd name="T22" fmla="*/ 1 w 225"/>
                <a:gd name="T23" fmla="*/ 30 h 128"/>
                <a:gd name="T24" fmla="*/ 1 w 225"/>
                <a:gd name="T25" fmla="*/ 27 h 128"/>
                <a:gd name="T26" fmla="*/ 3 w 225"/>
                <a:gd name="T27" fmla="*/ 25 h 128"/>
                <a:gd name="T28" fmla="*/ 112 w 225"/>
                <a:gd name="T29" fmla="*/ 0 h 128"/>
                <a:gd name="T30" fmla="*/ 114 w 225"/>
                <a:gd name="T31" fmla="*/ 0 h 128"/>
                <a:gd name="T32" fmla="*/ 223 w 225"/>
                <a:gd name="T33" fmla="*/ 25 h 128"/>
                <a:gd name="T34" fmla="*/ 225 w 225"/>
                <a:gd name="T35" fmla="*/ 27 h 128"/>
                <a:gd name="T36" fmla="*/ 225 w 225"/>
                <a:gd name="T37" fmla="*/ 30 h 128"/>
                <a:gd name="T38" fmla="*/ 177 w 225"/>
                <a:gd name="T39" fmla="*/ 123 h 128"/>
                <a:gd name="T40" fmla="*/ 176 w 225"/>
                <a:gd name="T41" fmla="*/ 125 h 128"/>
                <a:gd name="T42" fmla="*/ 163 w 225"/>
                <a:gd name="T43" fmla="*/ 128 h 128"/>
                <a:gd name="T44" fmla="*/ 138 w 225"/>
                <a:gd name="T45" fmla="*/ 113 h 128"/>
                <a:gd name="T46" fmla="*/ 153 w 225"/>
                <a:gd name="T47" fmla="*/ 118 h 128"/>
                <a:gd name="T48" fmla="*/ 163 w 225"/>
                <a:gd name="T49" fmla="*/ 121 h 128"/>
                <a:gd name="T50" fmla="*/ 171 w 225"/>
                <a:gd name="T51" fmla="*/ 119 h 128"/>
                <a:gd name="T52" fmla="*/ 217 w 225"/>
                <a:gd name="T53" fmla="*/ 31 h 128"/>
                <a:gd name="T54" fmla="*/ 113 w 225"/>
                <a:gd name="T55" fmla="*/ 7 h 128"/>
                <a:gd name="T56" fmla="*/ 9 w 225"/>
                <a:gd name="T57" fmla="*/ 31 h 128"/>
                <a:gd name="T58" fmla="*/ 55 w 225"/>
                <a:gd name="T59" fmla="*/ 119 h 128"/>
                <a:gd name="T60" fmla="*/ 63 w 225"/>
                <a:gd name="T61" fmla="*/ 121 h 128"/>
                <a:gd name="T62" fmla="*/ 73 w 225"/>
                <a:gd name="T63" fmla="*/ 118 h 128"/>
                <a:gd name="T64" fmla="*/ 88 w 225"/>
                <a:gd name="T65" fmla="*/ 113 h 128"/>
                <a:gd name="T66" fmla="*/ 102 w 225"/>
                <a:gd name="T67" fmla="*/ 118 h 128"/>
                <a:gd name="T68" fmla="*/ 113 w 225"/>
                <a:gd name="T69" fmla="*/ 121 h 128"/>
                <a:gd name="T70" fmla="*/ 124 w 225"/>
                <a:gd name="T71" fmla="*/ 118 h 128"/>
                <a:gd name="T72" fmla="*/ 138 w 225"/>
                <a:gd name="T73" fmla="*/ 11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5" h="128">
                  <a:moveTo>
                    <a:pt x="163" y="128"/>
                  </a:moveTo>
                  <a:cubicBezTo>
                    <a:pt x="156" y="128"/>
                    <a:pt x="152" y="126"/>
                    <a:pt x="149" y="123"/>
                  </a:cubicBezTo>
                  <a:cubicBezTo>
                    <a:pt x="146" y="121"/>
                    <a:pt x="143" y="120"/>
                    <a:pt x="138" y="120"/>
                  </a:cubicBezTo>
                  <a:cubicBezTo>
                    <a:pt x="133" y="120"/>
                    <a:pt x="130" y="121"/>
                    <a:pt x="127" y="123"/>
                  </a:cubicBezTo>
                  <a:cubicBezTo>
                    <a:pt x="124" y="126"/>
                    <a:pt x="120" y="128"/>
                    <a:pt x="113" y="128"/>
                  </a:cubicBezTo>
                  <a:cubicBezTo>
                    <a:pt x="106" y="128"/>
                    <a:pt x="102" y="126"/>
                    <a:pt x="98" y="123"/>
                  </a:cubicBezTo>
                  <a:cubicBezTo>
                    <a:pt x="95" y="121"/>
                    <a:pt x="93" y="120"/>
                    <a:pt x="88" y="120"/>
                  </a:cubicBezTo>
                  <a:cubicBezTo>
                    <a:pt x="83" y="120"/>
                    <a:pt x="80" y="121"/>
                    <a:pt x="77" y="123"/>
                  </a:cubicBezTo>
                  <a:cubicBezTo>
                    <a:pt x="74" y="126"/>
                    <a:pt x="70" y="128"/>
                    <a:pt x="63" y="128"/>
                  </a:cubicBezTo>
                  <a:cubicBezTo>
                    <a:pt x="57" y="128"/>
                    <a:pt x="53" y="126"/>
                    <a:pt x="50" y="125"/>
                  </a:cubicBezTo>
                  <a:cubicBezTo>
                    <a:pt x="50" y="124"/>
                    <a:pt x="49" y="124"/>
                    <a:pt x="49" y="123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8"/>
                    <a:pt x="1" y="27"/>
                  </a:cubicBezTo>
                  <a:cubicBezTo>
                    <a:pt x="1" y="26"/>
                    <a:pt x="2" y="25"/>
                    <a:pt x="3" y="25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3" y="0"/>
                    <a:pt x="113" y="0"/>
                    <a:pt x="114" y="0"/>
                  </a:cubicBezTo>
                  <a:cubicBezTo>
                    <a:pt x="223" y="25"/>
                    <a:pt x="223" y="25"/>
                    <a:pt x="223" y="25"/>
                  </a:cubicBezTo>
                  <a:cubicBezTo>
                    <a:pt x="224" y="25"/>
                    <a:pt x="225" y="26"/>
                    <a:pt x="225" y="27"/>
                  </a:cubicBezTo>
                  <a:cubicBezTo>
                    <a:pt x="225" y="28"/>
                    <a:pt x="225" y="29"/>
                    <a:pt x="225" y="30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7" y="124"/>
                    <a:pt x="176" y="124"/>
                    <a:pt x="176" y="125"/>
                  </a:cubicBezTo>
                  <a:cubicBezTo>
                    <a:pt x="173" y="126"/>
                    <a:pt x="169" y="128"/>
                    <a:pt x="163" y="128"/>
                  </a:cubicBezTo>
                  <a:close/>
                  <a:moveTo>
                    <a:pt x="138" y="113"/>
                  </a:moveTo>
                  <a:cubicBezTo>
                    <a:pt x="145" y="113"/>
                    <a:pt x="149" y="115"/>
                    <a:pt x="153" y="118"/>
                  </a:cubicBezTo>
                  <a:cubicBezTo>
                    <a:pt x="156" y="120"/>
                    <a:pt x="158" y="121"/>
                    <a:pt x="163" y="121"/>
                  </a:cubicBezTo>
                  <a:cubicBezTo>
                    <a:pt x="167" y="121"/>
                    <a:pt x="169" y="120"/>
                    <a:pt x="171" y="119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13" y="7"/>
                    <a:pt x="113" y="7"/>
                    <a:pt x="113" y="7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55" y="119"/>
                    <a:pt x="55" y="119"/>
                    <a:pt x="55" y="119"/>
                  </a:cubicBezTo>
                  <a:cubicBezTo>
                    <a:pt x="57" y="120"/>
                    <a:pt x="59" y="121"/>
                    <a:pt x="63" y="121"/>
                  </a:cubicBezTo>
                  <a:cubicBezTo>
                    <a:pt x="68" y="121"/>
                    <a:pt x="70" y="120"/>
                    <a:pt x="73" y="118"/>
                  </a:cubicBezTo>
                  <a:cubicBezTo>
                    <a:pt x="77" y="115"/>
                    <a:pt x="80" y="113"/>
                    <a:pt x="88" y="113"/>
                  </a:cubicBezTo>
                  <a:cubicBezTo>
                    <a:pt x="95" y="113"/>
                    <a:pt x="99" y="115"/>
                    <a:pt x="102" y="118"/>
                  </a:cubicBezTo>
                  <a:cubicBezTo>
                    <a:pt x="105" y="120"/>
                    <a:pt x="108" y="121"/>
                    <a:pt x="113" y="121"/>
                  </a:cubicBezTo>
                  <a:cubicBezTo>
                    <a:pt x="118" y="121"/>
                    <a:pt x="121" y="120"/>
                    <a:pt x="124" y="118"/>
                  </a:cubicBezTo>
                  <a:cubicBezTo>
                    <a:pt x="127" y="115"/>
                    <a:pt x="131" y="113"/>
                    <a:pt x="138" y="11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3" name="Freeform 957">
              <a:extLst>
                <a:ext uri="{FF2B5EF4-FFF2-40B4-BE49-F238E27FC236}">
                  <a16:creationId xmlns:a16="http://schemas.microsoft.com/office/drawing/2014/main" id="{86B88578-D30A-45D7-96A1-40D7E19860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04433" y="3806478"/>
              <a:ext cx="300971" cy="107490"/>
            </a:xfrm>
            <a:custGeom>
              <a:avLst/>
              <a:gdLst>
                <a:gd name="T0" fmla="*/ 163 w 166"/>
                <a:gd name="T1" fmla="*/ 59 h 59"/>
                <a:gd name="T2" fmla="*/ 162 w 166"/>
                <a:gd name="T3" fmla="*/ 59 h 59"/>
                <a:gd name="T4" fmla="*/ 83 w 166"/>
                <a:gd name="T5" fmla="*/ 41 h 59"/>
                <a:gd name="T6" fmla="*/ 4 w 166"/>
                <a:gd name="T7" fmla="*/ 59 h 59"/>
                <a:gd name="T8" fmla="*/ 1 w 166"/>
                <a:gd name="T9" fmla="*/ 58 h 59"/>
                <a:gd name="T10" fmla="*/ 0 w 166"/>
                <a:gd name="T11" fmla="*/ 55 h 59"/>
                <a:gd name="T12" fmla="*/ 0 w 166"/>
                <a:gd name="T13" fmla="*/ 25 h 59"/>
                <a:gd name="T14" fmla="*/ 2 w 166"/>
                <a:gd name="T15" fmla="*/ 21 h 59"/>
                <a:gd name="T16" fmla="*/ 82 w 166"/>
                <a:gd name="T17" fmla="*/ 0 h 59"/>
                <a:gd name="T18" fmla="*/ 84 w 166"/>
                <a:gd name="T19" fmla="*/ 0 h 59"/>
                <a:gd name="T20" fmla="*/ 163 w 166"/>
                <a:gd name="T21" fmla="*/ 21 h 59"/>
                <a:gd name="T22" fmla="*/ 166 w 166"/>
                <a:gd name="T23" fmla="*/ 25 h 59"/>
                <a:gd name="T24" fmla="*/ 166 w 166"/>
                <a:gd name="T25" fmla="*/ 55 h 59"/>
                <a:gd name="T26" fmla="*/ 165 w 166"/>
                <a:gd name="T27" fmla="*/ 58 h 59"/>
                <a:gd name="T28" fmla="*/ 163 w 166"/>
                <a:gd name="T29" fmla="*/ 59 h 59"/>
                <a:gd name="T30" fmla="*/ 83 w 166"/>
                <a:gd name="T31" fmla="*/ 34 h 59"/>
                <a:gd name="T32" fmla="*/ 84 w 166"/>
                <a:gd name="T33" fmla="*/ 34 h 59"/>
                <a:gd name="T34" fmla="*/ 159 w 166"/>
                <a:gd name="T35" fmla="*/ 51 h 59"/>
                <a:gd name="T36" fmla="*/ 159 w 166"/>
                <a:gd name="T37" fmla="*/ 27 h 59"/>
                <a:gd name="T38" fmla="*/ 83 w 166"/>
                <a:gd name="T39" fmla="*/ 7 h 59"/>
                <a:gd name="T40" fmla="*/ 7 w 166"/>
                <a:gd name="T41" fmla="*/ 27 h 59"/>
                <a:gd name="T42" fmla="*/ 7 w 166"/>
                <a:gd name="T43" fmla="*/ 51 h 59"/>
                <a:gd name="T44" fmla="*/ 82 w 166"/>
                <a:gd name="T45" fmla="*/ 34 h 59"/>
                <a:gd name="T46" fmla="*/ 83 w 166"/>
                <a:gd name="T47" fmla="*/ 3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59">
                  <a:moveTo>
                    <a:pt x="163" y="59"/>
                  </a:moveTo>
                  <a:cubicBezTo>
                    <a:pt x="162" y="59"/>
                    <a:pt x="162" y="59"/>
                    <a:pt x="162" y="59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3" y="59"/>
                    <a:pt x="2" y="59"/>
                    <a:pt x="1" y="58"/>
                  </a:cubicBezTo>
                  <a:cubicBezTo>
                    <a:pt x="0" y="57"/>
                    <a:pt x="0" y="56"/>
                    <a:pt x="0" y="5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3"/>
                    <a:pt x="1" y="22"/>
                    <a:pt x="2" y="21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3" y="0"/>
                    <a:pt x="84" y="0"/>
                  </a:cubicBezTo>
                  <a:cubicBezTo>
                    <a:pt x="163" y="21"/>
                    <a:pt x="163" y="21"/>
                    <a:pt x="163" y="21"/>
                  </a:cubicBezTo>
                  <a:cubicBezTo>
                    <a:pt x="165" y="22"/>
                    <a:pt x="166" y="23"/>
                    <a:pt x="166" y="25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66" y="56"/>
                    <a:pt x="166" y="57"/>
                    <a:pt x="165" y="58"/>
                  </a:cubicBezTo>
                  <a:cubicBezTo>
                    <a:pt x="164" y="59"/>
                    <a:pt x="163" y="59"/>
                    <a:pt x="163" y="59"/>
                  </a:cubicBezTo>
                  <a:close/>
                  <a:moveTo>
                    <a:pt x="83" y="34"/>
                  </a:moveTo>
                  <a:cubicBezTo>
                    <a:pt x="83" y="34"/>
                    <a:pt x="83" y="34"/>
                    <a:pt x="84" y="34"/>
                  </a:cubicBezTo>
                  <a:cubicBezTo>
                    <a:pt x="159" y="51"/>
                    <a:pt x="159" y="51"/>
                    <a:pt x="159" y="51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2" y="34"/>
                    <a:pt x="83" y="34"/>
                    <a:pt x="83" y="3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4" name="Freeform 958">
              <a:extLst>
                <a:ext uri="{FF2B5EF4-FFF2-40B4-BE49-F238E27FC236}">
                  <a16:creationId xmlns:a16="http://schemas.microsoft.com/office/drawing/2014/main" id="{EBC7B234-C842-4212-8F2F-8EBF7FBAE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33518" y="3768540"/>
              <a:ext cx="241536" cy="82198"/>
            </a:xfrm>
            <a:custGeom>
              <a:avLst/>
              <a:gdLst>
                <a:gd name="T0" fmla="*/ 4 w 133"/>
                <a:gd name="T1" fmla="*/ 45 h 45"/>
                <a:gd name="T2" fmla="*/ 1 w 133"/>
                <a:gd name="T3" fmla="*/ 43 h 45"/>
                <a:gd name="T4" fmla="*/ 1 w 133"/>
                <a:gd name="T5" fmla="*/ 40 h 45"/>
                <a:gd name="T6" fmla="*/ 18 w 133"/>
                <a:gd name="T7" fmla="*/ 2 h 45"/>
                <a:gd name="T8" fmla="*/ 21 w 133"/>
                <a:gd name="T9" fmla="*/ 0 h 45"/>
                <a:gd name="T10" fmla="*/ 113 w 133"/>
                <a:gd name="T11" fmla="*/ 0 h 45"/>
                <a:gd name="T12" fmla="*/ 116 w 133"/>
                <a:gd name="T13" fmla="*/ 2 h 45"/>
                <a:gd name="T14" fmla="*/ 133 w 133"/>
                <a:gd name="T15" fmla="*/ 39 h 45"/>
                <a:gd name="T16" fmla="*/ 133 w 133"/>
                <a:gd name="T17" fmla="*/ 41 h 45"/>
                <a:gd name="T18" fmla="*/ 130 w 133"/>
                <a:gd name="T19" fmla="*/ 45 h 45"/>
                <a:gd name="T20" fmla="*/ 130 w 133"/>
                <a:gd name="T21" fmla="*/ 45 h 45"/>
                <a:gd name="T22" fmla="*/ 129 w 133"/>
                <a:gd name="T23" fmla="*/ 44 h 45"/>
                <a:gd name="T24" fmla="*/ 67 w 133"/>
                <a:gd name="T25" fmla="*/ 28 h 45"/>
                <a:gd name="T26" fmla="*/ 5 w 133"/>
                <a:gd name="T27" fmla="*/ 44 h 45"/>
                <a:gd name="T28" fmla="*/ 4 w 133"/>
                <a:gd name="T29" fmla="*/ 45 h 45"/>
                <a:gd name="T30" fmla="*/ 67 w 133"/>
                <a:gd name="T31" fmla="*/ 21 h 45"/>
                <a:gd name="T32" fmla="*/ 68 w 133"/>
                <a:gd name="T33" fmla="*/ 21 h 45"/>
                <a:gd name="T34" fmla="*/ 124 w 133"/>
                <a:gd name="T35" fmla="*/ 36 h 45"/>
                <a:gd name="T36" fmla="*/ 111 w 133"/>
                <a:gd name="T37" fmla="*/ 7 h 45"/>
                <a:gd name="T38" fmla="*/ 23 w 133"/>
                <a:gd name="T39" fmla="*/ 7 h 45"/>
                <a:gd name="T40" fmla="*/ 10 w 133"/>
                <a:gd name="T41" fmla="*/ 36 h 45"/>
                <a:gd name="T42" fmla="*/ 66 w 133"/>
                <a:gd name="T43" fmla="*/ 21 h 45"/>
                <a:gd name="T44" fmla="*/ 67 w 133"/>
                <a:gd name="T45" fmla="*/ 2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3" h="45">
                  <a:moveTo>
                    <a:pt x="4" y="45"/>
                  </a:moveTo>
                  <a:cubicBezTo>
                    <a:pt x="3" y="45"/>
                    <a:pt x="2" y="44"/>
                    <a:pt x="1" y="43"/>
                  </a:cubicBezTo>
                  <a:cubicBezTo>
                    <a:pt x="1" y="42"/>
                    <a:pt x="0" y="41"/>
                    <a:pt x="1" y="4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9" y="0"/>
                    <a:pt x="21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4" y="0"/>
                    <a:pt x="116" y="1"/>
                    <a:pt x="116" y="2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3" y="40"/>
                    <a:pt x="133" y="40"/>
                    <a:pt x="133" y="41"/>
                  </a:cubicBezTo>
                  <a:cubicBezTo>
                    <a:pt x="133" y="43"/>
                    <a:pt x="132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29" y="44"/>
                    <a:pt x="129" y="44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4" y="45"/>
                    <a:pt x="4" y="45"/>
                  </a:cubicBezTo>
                  <a:close/>
                  <a:moveTo>
                    <a:pt x="67" y="21"/>
                  </a:moveTo>
                  <a:cubicBezTo>
                    <a:pt x="67" y="21"/>
                    <a:pt x="68" y="21"/>
                    <a:pt x="68" y="21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7" y="21"/>
                    <a:pt x="67" y="2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5" name="Freeform 959">
              <a:extLst>
                <a:ext uri="{FF2B5EF4-FFF2-40B4-BE49-F238E27FC236}">
                  <a16:creationId xmlns:a16="http://schemas.microsoft.com/office/drawing/2014/main" id="{6EB348D5-68F5-438E-A940-852834A435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11922" y="3723015"/>
              <a:ext cx="87256" cy="58171"/>
            </a:xfrm>
            <a:custGeom>
              <a:avLst/>
              <a:gdLst>
                <a:gd name="T0" fmla="*/ 45 w 48"/>
                <a:gd name="T1" fmla="*/ 32 h 32"/>
                <a:gd name="T2" fmla="*/ 3 w 48"/>
                <a:gd name="T3" fmla="*/ 32 h 32"/>
                <a:gd name="T4" fmla="*/ 0 w 48"/>
                <a:gd name="T5" fmla="*/ 29 h 32"/>
                <a:gd name="T6" fmla="*/ 0 w 48"/>
                <a:gd name="T7" fmla="*/ 3 h 32"/>
                <a:gd name="T8" fmla="*/ 3 w 48"/>
                <a:gd name="T9" fmla="*/ 0 h 32"/>
                <a:gd name="T10" fmla="*/ 45 w 48"/>
                <a:gd name="T11" fmla="*/ 0 h 32"/>
                <a:gd name="T12" fmla="*/ 48 w 48"/>
                <a:gd name="T13" fmla="*/ 3 h 32"/>
                <a:gd name="T14" fmla="*/ 48 w 48"/>
                <a:gd name="T15" fmla="*/ 29 h 32"/>
                <a:gd name="T16" fmla="*/ 45 w 48"/>
                <a:gd name="T17" fmla="*/ 32 h 32"/>
                <a:gd name="T18" fmla="*/ 6 w 48"/>
                <a:gd name="T19" fmla="*/ 25 h 32"/>
                <a:gd name="T20" fmla="*/ 41 w 48"/>
                <a:gd name="T21" fmla="*/ 25 h 32"/>
                <a:gd name="T22" fmla="*/ 41 w 48"/>
                <a:gd name="T23" fmla="*/ 7 h 32"/>
                <a:gd name="T24" fmla="*/ 6 w 48"/>
                <a:gd name="T25" fmla="*/ 7 h 32"/>
                <a:gd name="T26" fmla="*/ 6 w 48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32">
                  <a:moveTo>
                    <a:pt x="45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7" y="0"/>
                    <a:pt x="48" y="2"/>
                    <a:pt x="48" y="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30"/>
                    <a:pt x="47" y="32"/>
                    <a:pt x="45" y="32"/>
                  </a:cubicBezTo>
                  <a:close/>
                  <a:moveTo>
                    <a:pt x="6" y="25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6" name="Freeform 960">
              <a:extLst>
                <a:ext uri="{FF2B5EF4-FFF2-40B4-BE49-F238E27FC236}">
                  <a16:creationId xmlns:a16="http://schemas.microsoft.com/office/drawing/2014/main" id="{8301ADD7-6093-4B30-914B-480FAAB68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95483" y="3692665"/>
              <a:ext cx="120136" cy="42996"/>
            </a:xfrm>
            <a:custGeom>
              <a:avLst/>
              <a:gdLst>
                <a:gd name="T0" fmla="*/ 55 w 66"/>
                <a:gd name="T1" fmla="*/ 24 h 24"/>
                <a:gd name="T2" fmla="*/ 10 w 66"/>
                <a:gd name="T3" fmla="*/ 24 h 24"/>
                <a:gd name="T4" fmla="*/ 0 w 66"/>
                <a:gd name="T5" fmla="*/ 14 h 24"/>
                <a:gd name="T6" fmla="*/ 0 w 66"/>
                <a:gd name="T7" fmla="*/ 11 h 24"/>
                <a:gd name="T8" fmla="*/ 10 w 66"/>
                <a:gd name="T9" fmla="*/ 0 h 24"/>
                <a:gd name="T10" fmla="*/ 55 w 66"/>
                <a:gd name="T11" fmla="*/ 0 h 24"/>
                <a:gd name="T12" fmla="*/ 66 w 66"/>
                <a:gd name="T13" fmla="*/ 11 h 24"/>
                <a:gd name="T14" fmla="*/ 66 w 66"/>
                <a:gd name="T15" fmla="*/ 14 h 24"/>
                <a:gd name="T16" fmla="*/ 55 w 66"/>
                <a:gd name="T17" fmla="*/ 24 h 24"/>
                <a:gd name="T18" fmla="*/ 10 w 66"/>
                <a:gd name="T19" fmla="*/ 7 h 24"/>
                <a:gd name="T20" fmla="*/ 7 w 66"/>
                <a:gd name="T21" fmla="*/ 11 h 24"/>
                <a:gd name="T22" fmla="*/ 7 w 66"/>
                <a:gd name="T23" fmla="*/ 14 h 24"/>
                <a:gd name="T24" fmla="*/ 10 w 66"/>
                <a:gd name="T25" fmla="*/ 17 h 24"/>
                <a:gd name="T26" fmla="*/ 55 w 66"/>
                <a:gd name="T27" fmla="*/ 17 h 24"/>
                <a:gd name="T28" fmla="*/ 59 w 66"/>
                <a:gd name="T29" fmla="*/ 14 h 24"/>
                <a:gd name="T30" fmla="*/ 59 w 66"/>
                <a:gd name="T31" fmla="*/ 11 h 24"/>
                <a:gd name="T32" fmla="*/ 55 w 66"/>
                <a:gd name="T33" fmla="*/ 7 h 24"/>
                <a:gd name="T34" fmla="*/ 10 w 66"/>
                <a:gd name="T35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24">
                  <a:moveTo>
                    <a:pt x="55" y="24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5" y="24"/>
                    <a:pt x="0" y="19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1" y="0"/>
                    <a:pt x="66" y="5"/>
                    <a:pt x="66" y="11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9"/>
                    <a:pt x="61" y="24"/>
                    <a:pt x="55" y="24"/>
                  </a:cubicBezTo>
                  <a:close/>
                  <a:moveTo>
                    <a:pt x="10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6"/>
                    <a:pt x="9" y="17"/>
                    <a:pt x="10" y="17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7" y="17"/>
                    <a:pt x="59" y="16"/>
                    <a:pt x="59" y="14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9"/>
                    <a:pt x="57" y="7"/>
                    <a:pt x="55" y="7"/>
                  </a:cubicBezTo>
                  <a:lnTo>
                    <a:pt x="10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7" name="Freeform 961">
              <a:extLst>
                <a:ext uri="{FF2B5EF4-FFF2-40B4-BE49-F238E27FC236}">
                  <a16:creationId xmlns:a16="http://schemas.microsoft.com/office/drawing/2014/main" id="{C4E84840-F42E-4BD3-B832-C5610A9AC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9860" y="3906380"/>
              <a:ext cx="11381" cy="163132"/>
            </a:xfrm>
            <a:custGeom>
              <a:avLst/>
              <a:gdLst>
                <a:gd name="T0" fmla="*/ 3 w 6"/>
                <a:gd name="T1" fmla="*/ 90 h 90"/>
                <a:gd name="T2" fmla="*/ 0 w 6"/>
                <a:gd name="T3" fmla="*/ 87 h 90"/>
                <a:gd name="T4" fmla="*/ 0 w 6"/>
                <a:gd name="T5" fmla="*/ 3 h 90"/>
                <a:gd name="T6" fmla="*/ 3 w 6"/>
                <a:gd name="T7" fmla="*/ 0 h 90"/>
                <a:gd name="T8" fmla="*/ 6 w 6"/>
                <a:gd name="T9" fmla="*/ 3 h 90"/>
                <a:gd name="T10" fmla="*/ 6 w 6"/>
                <a:gd name="T11" fmla="*/ 87 h 90"/>
                <a:gd name="T12" fmla="*/ 3 w 6"/>
                <a:gd name="T1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0">
                  <a:moveTo>
                    <a:pt x="3" y="90"/>
                  </a:moveTo>
                  <a:cubicBezTo>
                    <a:pt x="1" y="90"/>
                    <a:pt x="0" y="89"/>
                    <a:pt x="0" y="8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6" y="89"/>
                    <a:pt x="5" y="90"/>
                    <a:pt x="3" y="9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8" name="Freeform 962">
              <a:extLst>
                <a:ext uri="{FF2B5EF4-FFF2-40B4-BE49-F238E27FC236}">
                  <a16:creationId xmlns:a16="http://schemas.microsoft.com/office/drawing/2014/main" id="{C8165559-D241-44CE-932A-3C30E9154E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36047" y="3959493"/>
              <a:ext cx="56906" cy="58171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7 h 32"/>
                <a:gd name="T12" fmla="*/ 6 w 32"/>
                <a:gd name="T13" fmla="*/ 16 h 32"/>
                <a:gd name="T14" fmla="*/ 16 w 32"/>
                <a:gd name="T15" fmla="*/ 25 h 32"/>
                <a:gd name="T16" fmla="*/ 25 w 32"/>
                <a:gd name="T17" fmla="*/ 16 h 32"/>
                <a:gd name="T18" fmla="*/ 16 w 32"/>
                <a:gd name="T1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32" y="7"/>
                    <a:pt x="32" y="16"/>
                  </a:cubicBezTo>
                  <a:cubicBezTo>
                    <a:pt x="32" y="25"/>
                    <a:pt x="24" y="32"/>
                    <a:pt x="16" y="32"/>
                  </a:cubicBezTo>
                  <a:close/>
                  <a:moveTo>
                    <a:pt x="16" y="7"/>
                  </a:moveTo>
                  <a:cubicBezTo>
                    <a:pt x="11" y="7"/>
                    <a:pt x="6" y="11"/>
                    <a:pt x="6" y="16"/>
                  </a:cubicBezTo>
                  <a:cubicBezTo>
                    <a:pt x="6" y="21"/>
                    <a:pt x="11" y="25"/>
                    <a:pt x="16" y="25"/>
                  </a:cubicBezTo>
                  <a:cubicBezTo>
                    <a:pt x="21" y="25"/>
                    <a:pt x="25" y="21"/>
                    <a:pt x="25" y="16"/>
                  </a:cubicBezTo>
                  <a:cubicBezTo>
                    <a:pt x="25" y="11"/>
                    <a:pt x="21" y="7"/>
                    <a:pt x="16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9" name="Freeform 963">
              <a:extLst>
                <a:ext uri="{FF2B5EF4-FFF2-40B4-BE49-F238E27FC236}">
                  <a16:creationId xmlns:a16="http://schemas.microsoft.com/office/drawing/2014/main" id="{7D0203D2-1213-456E-AB0F-7C8A7DCFC8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6883" y="3959493"/>
              <a:ext cx="58171" cy="58171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7 h 32"/>
                <a:gd name="T12" fmla="*/ 7 w 32"/>
                <a:gd name="T13" fmla="*/ 16 h 32"/>
                <a:gd name="T14" fmla="*/ 16 w 32"/>
                <a:gd name="T15" fmla="*/ 25 h 32"/>
                <a:gd name="T16" fmla="*/ 25 w 32"/>
                <a:gd name="T17" fmla="*/ 16 h 32"/>
                <a:gd name="T18" fmla="*/ 16 w 32"/>
                <a:gd name="T1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7"/>
                  </a:moveTo>
                  <a:cubicBezTo>
                    <a:pt x="11" y="7"/>
                    <a:pt x="7" y="11"/>
                    <a:pt x="7" y="16"/>
                  </a:cubicBezTo>
                  <a:cubicBezTo>
                    <a:pt x="7" y="21"/>
                    <a:pt x="11" y="25"/>
                    <a:pt x="16" y="25"/>
                  </a:cubicBezTo>
                  <a:cubicBezTo>
                    <a:pt x="21" y="25"/>
                    <a:pt x="25" y="21"/>
                    <a:pt x="25" y="16"/>
                  </a:cubicBezTo>
                  <a:cubicBezTo>
                    <a:pt x="25" y="11"/>
                    <a:pt x="21" y="7"/>
                    <a:pt x="16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5" name="Agrupar 1724">
            <a:extLst>
              <a:ext uri="{FF2B5EF4-FFF2-40B4-BE49-F238E27FC236}">
                <a16:creationId xmlns:a16="http://schemas.microsoft.com/office/drawing/2014/main" id="{BAA9D643-C0AB-4A30-B2A5-BD5EB798C14E}"/>
              </a:ext>
            </a:extLst>
          </p:cNvPr>
          <p:cNvGrpSpPr/>
          <p:nvPr/>
        </p:nvGrpSpPr>
        <p:grpSpPr>
          <a:xfrm>
            <a:off x="7727592" y="4409685"/>
            <a:ext cx="408461" cy="405932"/>
            <a:chOff x="8409204" y="4409685"/>
            <a:chExt cx="408461" cy="405932"/>
          </a:xfrm>
        </p:grpSpPr>
        <p:sp>
          <p:nvSpPr>
            <p:cNvPr id="1570" name="Freeform 964">
              <a:extLst>
                <a:ext uri="{FF2B5EF4-FFF2-40B4-BE49-F238E27FC236}">
                  <a16:creationId xmlns:a16="http://schemas.microsoft.com/office/drawing/2014/main" id="{A57EAA9F-A2F9-4145-9EF0-274B891FF0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1052" y="4438771"/>
              <a:ext cx="300971" cy="323734"/>
            </a:xfrm>
            <a:custGeom>
              <a:avLst/>
              <a:gdLst>
                <a:gd name="T0" fmla="*/ 156 w 166"/>
                <a:gd name="T1" fmla="*/ 179 h 179"/>
                <a:gd name="T2" fmla="*/ 10 w 166"/>
                <a:gd name="T3" fmla="*/ 179 h 179"/>
                <a:gd name="T4" fmla="*/ 0 w 166"/>
                <a:gd name="T5" fmla="*/ 169 h 179"/>
                <a:gd name="T6" fmla="*/ 0 w 166"/>
                <a:gd name="T7" fmla="*/ 17 h 179"/>
                <a:gd name="T8" fmla="*/ 17 w 166"/>
                <a:gd name="T9" fmla="*/ 0 h 179"/>
                <a:gd name="T10" fmla="*/ 149 w 166"/>
                <a:gd name="T11" fmla="*/ 0 h 179"/>
                <a:gd name="T12" fmla="*/ 166 w 166"/>
                <a:gd name="T13" fmla="*/ 17 h 179"/>
                <a:gd name="T14" fmla="*/ 166 w 166"/>
                <a:gd name="T15" fmla="*/ 169 h 179"/>
                <a:gd name="T16" fmla="*/ 156 w 166"/>
                <a:gd name="T17" fmla="*/ 179 h 179"/>
                <a:gd name="T18" fmla="*/ 17 w 166"/>
                <a:gd name="T19" fmla="*/ 7 h 179"/>
                <a:gd name="T20" fmla="*/ 7 w 166"/>
                <a:gd name="T21" fmla="*/ 17 h 179"/>
                <a:gd name="T22" fmla="*/ 7 w 166"/>
                <a:gd name="T23" fmla="*/ 169 h 179"/>
                <a:gd name="T24" fmla="*/ 10 w 166"/>
                <a:gd name="T25" fmla="*/ 172 h 179"/>
                <a:gd name="T26" fmla="*/ 156 w 166"/>
                <a:gd name="T27" fmla="*/ 172 h 179"/>
                <a:gd name="T28" fmla="*/ 159 w 166"/>
                <a:gd name="T29" fmla="*/ 169 h 179"/>
                <a:gd name="T30" fmla="*/ 159 w 166"/>
                <a:gd name="T31" fmla="*/ 17 h 179"/>
                <a:gd name="T32" fmla="*/ 149 w 166"/>
                <a:gd name="T33" fmla="*/ 7 h 179"/>
                <a:gd name="T34" fmla="*/ 17 w 166"/>
                <a:gd name="T35" fmla="*/ 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6" h="179">
                  <a:moveTo>
                    <a:pt x="156" y="179"/>
                  </a:moveTo>
                  <a:cubicBezTo>
                    <a:pt x="10" y="179"/>
                    <a:pt x="10" y="179"/>
                    <a:pt x="10" y="179"/>
                  </a:cubicBezTo>
                  <a:cubicBezTo>
                    <a:pt x="5" y="179"/>
                    <a:pt x="0" y="174"/>
                    <a:pt x="0" y="169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9" y="0"/>
                    <a:pt x="166" y="8"/>
                    <a:pt x="166" y="17"/>
                  </a:cubicBezTo>
                  <a:cubicBezTo>
                    <a:pt x="166" y="169"/>
                    <a:pt x="166" y="169"/>
                    <a:pt x="166" y="169"/>
                  </a:cubicBezTo>
                  <a:cubicBezTo>
                    <a:pt x="166" y="174"/>
                    <a:pt x="162" y="179"/>
                    <a:pt x="156" y="179"/>
                  </a:cubicBezTo>
                  <a:close/>
                  <a:moveTo>
                    <a:pt x="17" y="7"/>
                  </a:moveTo>
                  <a:cubicBezTo>
                    <a:pt x="12" y="7"/>
                    <a:pt x="7" y="12"/>
                    <a:pt x="7" y="17"/>
                  </a:cubicBezTo>
                  <a:cubicBezTo>
                    <a:pt x="7" y="169"/>
                    <a:pt x="7" y="169"/>
                    <a:pt x="7" y="169"/>
                  </a:cubicBezTo>
                  <a:cubicBezTo>
                    <a:pt x="7" y="171"/>
                    <a:pt x="9" y="172"/>
                    <a:pt x="10" y="172"/>
                  </a:cubicBezTo>
                  <a:cubicBezTo>
                    <a:pt x="156" y="172"/>
                    <a:pt x="156" y="172"/>
                    <a:pt x="156" y="172"/>
                  </a:cubicBezTo>
                  <a:cubicBezTo>
                    <a:pt x="158" y="172"/>
                    <a:pt x="159" y="171"/>
                    <a:pt x="159" y="169"/>
                  </a:cubicBezTo>
                  <a:cubicBezTo>
                    <a:pt x="159" y="17"/>
                    <a:pt x="159" y="17"/>
                    <a:pt x="159" y="17"/>
                  </a:cubicBezTo>
                  <a:cubicBezTo>
                    <a:pt x="159" y="12"/>
                    <a:pt x="155" y="7"/>
                    <a:pt x="149" y="7"/>
                  </a:cubicBezTo>
                  <a:lnTo>
                    <a:pt x="1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1" name="Freeform 965">
              <a:extLst>
                <a:ext uri="{FF2B5EF4-FFF2-40B4-BE49-F238E27FC236}">
                  <a16:creationId xmlns:a16="http://schemas.microsoft.com/office/drawing/2014/main" id="{478FC37A-BE82-480C-9D4E-FD40FADA42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77491" y="4749859"/>
              <a:ext cx="73346" cy="65758"/>
            </a:xfrm>
            <a:custGeom>
              <a:avLst/>
              <a:gdLst>
                <a:gd name="T0" fmla="*/ 30 w 40"/>
                <a:gd name="T1" fmla="*/ 36 h 36"/>
                <a:gd name="T2" fmla="*/ 10 w 40"/>
                <a:gd name="T3" fmla="*/ 36 h 36"/>
                <a:gd name="T4" fmla="*/ 0 w 40"/>
                <a:gd name="T5" fmla="*/ 26 h 36"/>
                <a:gd name="T6" fmla="*/ 0 w 40"/>
                <a:gd name="T7" fmla="*/ 4 h 36"/>
                <a:gd name="T8" fmla="*/ 3 w 40"/>
                <a:gd name="T9" fmla="*/ 0 h 36"/>
                <a:gd name="T10" fmla="*/ 37 w 40"/>
                <a:gd name="T11" fmla="*/ 0 h 36"/>
                <a:gd name="T12" fmla="*/ 40 w 40"/>
                <a:gd name="T13" fmla="*/ 4 h 36"/>
                <a:gd name="T14" fmla="*/ 40 w 40"/>
                <a:gd name="T15" fmla="*/ 26 h 36"/>
                <a:gd name="T16" fmla="*/ 30 w 40"/>
                <a:gd name="T17" fmla="*/ 36 h 36"/>
                <a:gd name="T18" fmla="*/ 6 w 40"/>
                <a:gd name="T19" fmla="*/ 7 h 36"/>
                <a:gd name="T20" fmla="*/ 6 w 40"/>
                <a:gd name="T21" fmla="*/ 26 h 36"/>
                <a:gd name="T22" fmla="*/ 10 w 40"/>
                <a:gd name="T23" fmla="*/ 29 h 36"/>
                <a:gd name="T24" fmla="*/ 30 w 40"/>
                <a:gd name="T25" fmla="*/ 29 h 36"/>
                <a:gd name="T26" fmla="*/ 33 w 40"/>
                <a:gd name="T27" fmla="*/ 26 h 36"/>
                <a:gd name="T28" fmla="*/ 33 w 40"/>
                <a:gd name="T29" fmla="*/ 7 h 36"/>
                <a:gd name="T30" fmla="*/ 6 w 40"/>
                <a:gd name="T31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36">
                  <a:moveTo>
                    <a:pt x="30" y="36"/>
                  </a:moveTo>
                  <a:cubicBezTo>
                    <a:pt x="10" y="36"/>
                    <a:pt x="10" y="36"/>
                    <a:pt x="10" y="36"/>
                  </a:cubicBezTo>
                  <a:cubicBezTo>
                    <a:pt x="4" y="36"/>
                    <a:pt x="0" y="32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32"/>
                    <a:pt x="35" y="36"/>
                    <a:pt x="30" y="36"/>
                  </a:cubicBezTo>
                  <a:close/>
                  <a:moveTo>
                    <a:pt x="6" y="7"/>
                  </a:moveTo>
                  <a:cubicBezTo>
                    <a:pt x="6" y="26"/>
                    <a:pt x="6" y="26"/>
                    <a:pt x="6" y="26"/>
                  </a:cubicBezTo>
                  <a:cubicBezTo>
                    <a:pt x="6" y="28"/>
                    <a:pt x="8" y="29"/>
                    <a:pt x="1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2" y="29"/>
                    <a:pt x="33" y="28"/>
                    <a:pt x="33" y="26"/>
                  </a:cubicBezTo>
                  <a:cubicBezTo>
                    <a:pt x="33" y="7"/>
                    <a:pt x="33" y="7"/>
                    <a:pt x="33" y="7"/>
                  </a:cubicBezTo>
                  <a:lnTo>
                    <a:pt x="6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2" name="Freeform 966">
              <a:extLst>
                <a:ext uri="{FF2B5EF4-FFF2-40B4-BE49-F238E27FC236}">
                  <a16:creationId xmlns:a16="http://schemas.microsoft.com/office/drawing/2014/main" id="{F196A2ED-1AA8-4B38-A507-C98A9077B2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76031" y="4749859"/>
              <a:ext cx="72081" cy="65758"/>
            </a:xfrm>
            <a:custGeom>
              <a:avLst/>
              <a:gdLst>
                <a:gd name="T0" fmla="*/ 30 w 40"/>
                <a:gd name="T1" fmla="*/ 36 h 36"/>
                <a:gd name="T2" fmla="*/ 10 w 40"/>
                <a:gd name="T3" fmla="*/ 36 h 36"/>
                <a:gd name="T4" fmla="*/ 0 w 40"/>
                <a:gd name="T5" fmla="*/ 26 h 36"/>
                <a:gd name="T6" fmla="*/ 0 w 40"/>
                <a:gd name="T7" fmla="*/ 4 h 36"/>
                <a:gd name="T8" fmla="*/ 3 w 40"/>
                <a:gd name="T9" fmla="*/ 0 h 36"/>
                <a:gd name="T10" fmla="*/ 36 w 40"/>
                <a:gd name="T11" fmla="*/ 0 h 36"/>
                <a:gd name="T12" fmla="*/ 40 w 40"/>
                <a:gd name="T13" fmla="*/ 4 h 36"/>
                <a:gd name="T14" fmla="*/ 40 w 40"/>
                <a:gd name="T15" fmla="*/ 26 h 36"/>
                <a:gd name="T16" fmla="*/ 30 w 40"/>
                <a:gd name="T17" fmla="*/ 36 h 36"/>
                <a:gd name="T18" fmla="*/ 6 w 40"/>
                <a:gd name="T19" fmla="*/ 7 h 36"/>
                <a:gd name="T20" fmla="*/ 6 w 40"/>
                <a:gd name="T21" fmla="*/ 26 h 36"/>
                <a:gd name="T22" fmla="*/ 10 w 40"/>
                <a:gd name="T23" fmla="*/ 29 h 36"/>
                <a:gd name="T24" fmla="*/ 30 w 40"/>
                <a:gd name="T25" fmla="*/ 29 h 36"/>
                <a:gd name="T26" fmla="*/ 33 w 40"/>
                <a:gd name="T27" fmla="*/ 26 h 36"/>
                <a:gd name="T28" fmla="*/ 33 w 40"/>
                <a:gd name="T29" fmla="*/ 7 h 36"/>
                <a:gd name="T30" fmla="*/ 6 w 40"/>
                <a:gd name="T31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36">
                  <a:moveTo>
                    <a:pt x="30" y="36"/>
                  </a:moveTo>
                  <a:cubicBezTo>
                    <a:pt x="10" y="36"/>
                    <a:pt x="10" y="36"/>
                    <a:pt x="10" y="36"/>
                  </a:cubicBezTo>
                  <a:cubicBezTo>
                    <a:pt x="4" y="36"/>
                    <a:pt x="0" y="32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32"/>
                    <a:pt x="35" y="36"/>
                    <a:pt x="30" y="36"/>
                  </a:cubicBezTo>
                  <a:close/>
                  <a:moveTo>
                    <a:pt x="6" y="7"/>
                  </a:moveTo>
                  <a:cubicBezTo>
                    <a:pt x="6" y="26"/>
                    <a:pt x="6" y="26"/>
                    <a:pt x="6" y="26"/>
                  </a:cubicBezTo>
                  <a:cubicBezTo>
                    <a:pt x="6" y="28"/>
                    <a:pt x="8" y="29"/>
                    <a:pt x="1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2" y="29"/>
                    <a:pt x="33" y="28"/>
                    <a:pt x="33" y="26"/>
                  </a:cubicBezTo>
                  <a:cubicBezTo>
                    <a:pt x="33" y="7"/>
                    <a:pt x="33" y="7"/>
                    <a:pt x="33" y="7"/>
                  </a:cubicBezTo>
                  <a:lnTo>
                    <a:pt x="6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3" name="Freeform 967">
              <a:extLst>
                <a:ext uri="{FF2B5EF4-FFF2-40B4-BE49-F238E27FC236}">
                  <a16:creationId xmlns:a16="http://schemas.microsoft.com/office/drawing/2014/main" id="{A7F1C9C2-3C16-43F9-8CA8-CBCA58302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44514" y="4409685"/>
              <a:ext cx="135311" cy="41731"/>
            </a:xfrm>
            <a:custGeom>
              <a:avLst/>
              <a:gdLst>
                <a:gd name="T0" fmla="*/ 71 w 74"/>
                <a:gd name="T1" fmla="*/ 23 h 23"/>
                <a:gd name="T2" fmla="*/ 4 w 74"/>
                <a:gd name="T3" fmla="*/ 23 h 23"/>
                <a:gd name="T4" fmla="*/ 0 w 74"/>
                <a:gd name="T5" fmla="*/ 20 h 23"/>
                <a:gd name="T6" fmla="*/ 0 w 74"/>
                <a:gd name="T7" fmla="*/ 13 h 23"/>
                <a:gd name="T8" fmla="*/ 14 w 74"/>
                <a:gd name="T9" fmla="*/ 0 h 23"/>
                <a:gd name="T10" fmla="*/ 61 w 74"/>
                <a:gd name="T11" fmla="*/ 0 h 23"/>
                <a:gd name="T12" fmla="*/ 74 w 74"/>
                <a:gd name="T13" fmla="*/ 13 h 23"/>
                <a:gd name="T14" fmla="*/ 74 w 74"/>
                <a:gd name="T15" fmla="*/ 20 h 23"/>
                <a:gd name="T16" fmla="*/ 71 w 74"/>
                <a:gd name="T17" fmla="*/ 23 h 23"/>
                <a:gd name="T18" fmla="*/ 7 w 74"/>
                <a:gd name="T19" fmla="*/ 16 h 23"/>
                <a:gd name="T20" fmla="*/ 67 w 74"/>
                <a:gd name="T21" fmla="*/ 16 h 23"/>
                <a:gd name="T22" fmla="*/ 67 w 74"/>
                <a:gd name="T23" fmla="*/ 13 h 23"/>
                <a:gd name="T24" fmla="*/ 61 w 74"/>
                <a:gd name="T25" fmla="*/ 6 h 23"/>
                <a:gd name="T26" fmla="*/ 14 w 74"/>
                <a:gd name="T27" fmla="*/ 6 h 23"/>
                <a:gd name="T28" fmla="*/ 7 w 74"/>
                <a:gd name="T29" fmla="*/ 13 h 23"/>
                <a:gd name="T30" fmla="*/ 7 w 74"/>
                <a:gd name="T3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" h="23">
                  <a:moveTo>
                    <a:pt x="71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2"/>
                    <a:pt x="0" y="2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8" y="0"/>
                    <a:pt x="74" y="6"/>
                    <a:pt x="74" y="13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2"/>
                    <a:pt x="73" y="23"/>
                    <a:pt x="71" y="23"/>
                  </a:cubicBezTo>
                  <a:close/>
                  <a:moveTo>
                    <a:pt x="7" y="16"/>
                  </a:moveTo>
                  <a:cubicBezTo>
                    <a:pt x="67" y="16"/>
                    <a:pt x="67" y="16"/>
                    <a:pt x="67" y="16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9"/>
                    <a:pt x="64" y="6"/>
                    <a:pt x="61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0" y="6"/>
                    <a:pt x="7" y="9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4" name="Freeform 968">
              <a:extLst>
                <a:ext uri="{FF2B5EF4-FFF2-40B4-BE49-F238E27FC236}">
                  <a16:creationId xmlns:a16="http://schemas.microsoft.com/office/drawing/2014/main" id="{86AE763D-D154-4A10-B8BD-A25D8C87AE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49377" y="4514646"/>
              <a:ext cx="68288" cy="102431"/>
            </a:xfrm>
            <a:custGeom>
              <a:avLst/>
              <a:gdLst>
                <a:gd name="T0" fmla="*/ 21 w 37"/>
                <a:gd name="T1" fmla="*/ 57 h 57"/>
                <a:gd name="T2" fmla="*/ 16 w 37"/>
                <a:gd name="T3" fmla="*/ 57 h 57"/>
                <a:gd name="T4" fmla="*/ 0 w 37"/>
                <a:gd name="T5" fmla="*/ 42 h 57"/>
                <a:gd name="T6" fmla="*/ 0 w 37"/>
                <a:gd name="T7" fmla="*/ 4 h 57"/>
                <a:gd name="T8" fmla="*/ 4 w 37"/>
                <a:gd name="T9" fmla="*/ 0 h 57"/>
                <a:gd name="T10" fmla="*/ 23 w 37"/>
                <a:gd name="T11" fmla="*/ 0 h 57"/>
                <a:gd name="T12" fmla="*/ 37 w 37"/>
                <a:gd name="T13" fmla="*/ 14 h 57"/>
                <a:gd name="T14" fmla="*/ 37 w 37"/>
                <a:gd name="T15" fmla="*/ 42 h 57"/>
                <a:gd name="T16" fmla="*/ 21 w 37"/>
                <a:gd name="T17" fmla="*/ 57 h 57"/>
                <a:gd name="T18" fmla="*/ 7 w 37"/>
                <a:gd name="T19" fmla="*/ 7 h 57"/>
                <a:gd name="T20" fmla="*/ 7 w 37"/>
                <a:gd name="T21" fmla="*/ 42 h 57"/>
                <a:gd name="T22" fmla="*/ 16 w 37"/>
                <a:gd name="T23" fmla="*/ 51 h 57"/>
                <a:gd name="T24" fmla="*/ 21 w 37"/>
                <a:gd name="T25" fmla="*/ 51 h 57"/>
                <a:gd name="T26" fmla="*/ 30 w 37"/>
                <a:gd name="T27" fmla="*/ 42 h 57"/>
                <a:gd name="T28" fmla="*/ 30 w 37"/>
                <a:gd name="T29" fmla="*/ 14 h 57"/>
                <a:gd name="T30" fmla="*/ 23 w 37"/>
                <a:gd name="T31" fmla="*/ 7 h 57"/>
                <a:gd name="T32" fmla="*/ 7 w 37"/>
                <a:gd name="T33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57">
                  <a:moveTo>
                    <a:pt x="21" y="57"/>
                  </a:moveTo>
                  <a:cubicBezTo>
                    <a:pt x="16" y="57"/>
                    <a:pt x="16" y="57"/>
                    <a:pt x="16" y="57"/>
                  </a:cubicBezTo>
                  <a:cubicBezTo>
                    <a:pt x="7" y="57"/>
                    <a:pt x="0" y="50"/>
                    <a:pt x="0" y="4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1" y="0"/>
                    <a:pt x="37" y="6"/>
                    <a:pt x="37" y="14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50"/>
                    <a:pt x="30" y="57"/>
                    <a:pt x="21" y="57"/>
                  </a:cubicBezTo>
                  <a:close/>
                  <a:moveTo>
                    <a:pt x="7" y="7"/>
                  </a:moveTo>
                  <a:cubicBezTo>
                    <a:pt x="7" y="42"/>
                    <a:pt x="7" y="42"/>
                    <a:pt x="7" y="42"/>
                  </a:cubicBezTo>
                  <a:cubicBezTo>
                    <a:pt x="7" y="47"/>
                    <a:pt x="11" y="51"/>
                    <a:pt x="16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6" y="51"/>
                    <a:pt x="30" y="47"/>
                    <a:pt x="30" y="42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0"/>
                    <a:pt x="27" y="7"/>
                    <a:pt x="23" y="7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5" name="Freeform 969">
              <a:extLst>
                <a:ext uri="{FF2B5EF4-FFF2-40B4-BE49-F238E27FC236}">
                  <a16:creationId xmlns:a16="http://schemas.microsoft.com/office/drawing/2014/main" id="{96825D02-3328-4672-8B16-7B1FA70403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9204" y="4514646"/>
              <a:ext cx="64494" cy="102431"/>
            </a:xfrm>
            <a:custGeom>
              <a:avLst/>
              <a:gdLst>
                <a:gd name="T0" fmla="*/ 21 w 36"/>
                <a:gd name="T1" fmla="*/ 57 h 57"/>
                <a:gd name="T2" fmla="*/ 15 w 36"/>
                <a:gd name="T3" fmla="*/ 57 h 57"/>
                <a:gd name="T4" fmla="*/ 0 w 36"/>
                <a:gd name="T5" fmla="*/ 42 h 57"/>
                <a:gd name="T6" fmla="*/ 0 w 36"/>
                <a:gd name="T7" fmla="*/ 14 h 57"/>
                <a:gd name="T8" fmla="*/ 14 w 36"/>
                <a:gd name="T9" fmla="*/ 0 h 57"/>
                <a:gd name="T10" fmla="*/ 33 w 36"/>
                <a:gd name="T11" fmla="*/ 0 h 57"/>
                <a:gd name="T12" fmla="*/ 36 w 36"/>
                <a:gd name="T13" fmla="*/ 4 h 57"/>
                <a:gd name="T14" fmla="*/ 36 w 36"/>
                <a:gd name="T15" fmla="*/ 42 h 57"/>
                <a:gd name="T16" fmla="*/ 21 w 36"/>
                <a:gd name="T17" fmla="*/ 57 h 57"/>
                <a:gd name="T18" fmla="*/ 14 w 36"/>
                <a:gd name="T19" fmla="*/ 7 h 57"/>
                <a:gd name="T20" fmla="*/ 7 w 36"/>
                <a:gd name="T21" fmla="*/ 14 h 57"/>
                <a:gd name="T22" fmla="*/ 7 w 36"/>
                <a:gd name="T23" fmla="*/ 42 h 57"/>
                <a:gd name="T24" fmla="*/ 15 w 36"/>
                <a:gd name="T25" fmla="*/ 51 h 57"/>
                <a:gd name="T26" fmla="*/ 21 w 36"/>
                <a:gd name="T27" fmla="*/ 51 h 57"/>
                <a:gd name="T28" fmla="*/ 29 w 36"/>
                <a:gd name="T29" fmla="*/ 42 h 57"/>
                <a:gd name="T30" fmla="*/ 29 w 36"/>
                <a:gd name="T31" fmla="*/ 7 h 57"/>
                <a:gd name="T32" fmla="*/ 14 w 36"/>
                <a:gd name="T33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57">
                  <a:moveTo>
                    <a:pt x="21" y="57"/>
                  </a:moveTo>
                  <a:cubicBezTo>
                    <a:pt x="15" y="57"/>
                    <a:pt x="15" y="57"/>
                    <a:pt x="15" y="57"/>
                  </a:cubicBezTo>
                  <a:cubicBezTo>
                    <a:pt x="7" y="57"/>
                    <a:pt x="0" y="50"/>
                    <a:pt x="0" y="4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2"/>
                    <a:pt x="36" y="4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50"/>
                    <a:pt x="29" y="57"/>
                    <a:pt x="21" y="57"/>
                  </a:cubicBezTo>
                  <a:close/>
                  <a:moveTo>
                    <a:pt x="14" y="7"/>
                  </a:moveTo>
                  <a:cubicBezTo>
                    <a:pt x="10" y="7"/>
                    <a:pt x="7" y="10"/>
                    <a:pt x="7" y="14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7"/>
                    <a:pt x="11" y="51"/>
                    <a:pt x="15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5" y="51"/>
                    <a:pt x="29" y="47"/>
                    <a:pt x="29" y="42"/>
                  </a:cubicBezTo>
                  <a:cubicBezTo>
                    <a:pt x="29" y="7"/>
                    <a:pt x="29" y="7"/>
                    <a:pt x="29" y="7"/>
                  </a:cubicBezTo>
                  <a:lnTo>
                    <a:pt x="14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6" name="Freeform 970">
              <a:extLst>
                <a:ext uri="{FF2B5EF4-FFF2-40B4-BE49-F238E27FC236}">
                  <a16:creationId xmlns:a16="http://schemas.microsoft.com/office/drawing/2014/main" id="{1382BBC8-E166-4C79-8512-809E48CDC4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2666" y="4507058"/>
              <a:ext cx="241536" cy="149221"/>
            </a:xfrm>
            <a:custGeom>
              <a:avLst/>
              <a:gdLst>
                <a:gd name="T0" fmla="*/ 122 w 133"/>
                <a:gd name="T1" fmla="*/ 82 h 82"/>
                <a:gd name="T2" fmla="*/ 10 w 133"/>
                <a:gd name="T3" fmla="*/ 82 h 82"/>
                <a:gd name="T4" fmla="*/ 0 w 133"/>
                <a:gd name="T5" fmla="*/ 72 h 82"/>
                <a:gd name="T6" fmla="*/ 0 w 133"/>
                <a:gd name="T7" fmla="*/ 10 h 82"/>
                <a:gd name="T8" fmla="*/ 10 w 133"/>
                <a:gd name="T9" fmla="*/ 0 h 82"/>
                <a:gd name="T10" fmla="*/ 122 w 133"/>
                <a:gd name="T11" fmla="*/ 0 h 82"/>
                <a:gd name="T12" fmla="*/ 133 w 133"/>
                <a:gd name="T13" fmla="*/ 10 h 82"/>
                <a:gd name="T14" fmla="*/ 133 w 133"/>
                <a:gd name="T15" fmla="*/ 72 h 82"/>
                <a:gd name="T16" fmla="*/ 122 w 133"/>
                <a:gd name="T17" fmla="*/ 82 h 82"/>
                <a:gd name="T18" fmla="*/ 10 w 133"/>
                <a:gd name="T19" fmla="*/ 7 h 82"/>
                <a:gd name="T20" fmla="*/ 7 w 133"/>
                <a:gd name="T21" fmla="*/ 10 h 82"/>
                <a:gd name="T22" fmla="*/ 7 w 133"/>
                <a:gd name="T23" fmla="*/ 72 h 82"/>
                <a:gd name="T24" fmla="*/ 10 w 133"/>
                <a:gd name="T25" fmla="*/ 75 h 82"/>
                <a:gd name="T26" fmla="*/ 122 w 133"/>
                <a:gd name="T27" fmla="*/ 75 h 82"/>
                <a:gd name="T28" fmla="*/ 126 w 133"/>
                <a:gd name="T29" fmla="*/ 72 h 82"/>
                <a:gd name="T30" fmla="*/ 126 w 133"/>
                <a:gd name="T31" fmla="*/ 10 h 82"/>
                <a:gd name="T32" fmla="*/ 122 w 133"/>
                <a:gd name="T33" fmla="*/ 7 h 82"/>
                <a:gd name="T34" fmla="*/ 10 w 133"/>
                <a:gd name="T35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82">
                  <a:moveTo>
                    <a:pt x="122" y="82"/>
                  </a:moveTo>
                  <a:cubicBezTo>
                    <a:pt x="10" y="82"/>
                    <a:pt x="10" y="82"/>
                    <a:pt x="10" y="82"/>
                  </a:cubicBezTo>
                  <a:cubicBezTo>
                    <a:pt x="5" y="82"/>
                    <a:pt x="0" y="78"/>
                    <a:pt x="0" y="7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8" y="0"/>
                    <a:pt x="133" y="5"/>
                    <a:pt x="133" y="10"/>
                  </a:cubicBezTo>
                  <a:cubicBezTo>
                    <a:pt x="133" y="72"/>
                    <a:pt x="133" y="72"/>
                    <a:pt x="133" y="72"/>
                  </a:cubicBezTo>
                  <a:cubicBezTo>
                    <a:pt x="133" y="78"/>
                    <a:pt x="128" y="82"/>
                    <a:pt x="122" y="82"/>
                  </a:cubicBezTo>
                  <a:close/>
                  <a:moveTo>
                    <a:pt x="10" y="7"/>
                  </a:moveTo>
                  <a:cubicBezTo>
                    <a:pt x="8" y="7"/>
                    <a:pt x="7" y="8"/>
                    <a:pt x="7" y="10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4"/>
                    <a:pt x="8" y="75"/>
                    <a:pt x="10" y="75"/>
                  </a:cubicBezTo>
                  <a:cubicBezTo>
                    <a:pt x="122" y="75"/>
                    <a:pt x="122" y="75"/>
                    <a:pt x="122" y="75"/>
                  </a:cubicBezTo>
                  <a:cubicBezTo>
                    <a:pt x="124" y="75"/>
                    <a:pt x="126" y="74"/>
                    <a:pt x="126" y="72"/>
                  </a:cubicBezTo>
                  <a:cubicBezTo>
                    <a:pt x="126" y="10"/>
                    <a:pt x="126" y="10"/>
                    <a:pt x="126" y="10"/>
                  </a:cubicBezTo>
                  <a:cubicBezTo>
                    <a:pt x="126" y="8"/>
                    <a:pt x="124" y="7"/>
                    <a:pt x="122" y="7"/>
                  </a:cubicBezTo>
                  <a:lnTo>
                    <a:pt x="10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7" name="Freeform 971">
              <a:extLst>
                <a:ext uri="{FF2B5EF4-FFF2-40B4-BE49-F238E27FC236}">
                  <a16:creationId xmlns:a16="http://schemas.microsoft.com/office/drawing/2014/main" id="{E4C11D7F-DC01-4EA9-9E68-F3EEDB584A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2102" y="4469121"/>
              <a:ext cx="120136" cy="50583"/>
            </a:xfrm>
            <a:custGeom>
              <a:avLst/>
              <a:gdLst>
                <a:gd name="T0" fmla="*/ 63 w 66"/>
                <a:gd name="T1" fmla="*/ 28 h 28"/>
                <a:gd name="T2" fmla="*/ 4 w 66"/>
                <a:gd name="T3" fmla="*/ 28 h 28"/>
                <a:gd name="T4" fmla="*/ 0 w 66"/>
                <a:gd name="T5" fmla="*/ 24 h 28"/>
                <a:gd name="T6" fmla="*/ 0 w 66"/>
                <a:gd name="T7" fmla="*/ 10 h 28"/>
                <a:gd name="T8" fmla="*/ 11 w 66"/>
                <a:gd name="T9" fmla="*/ 0 h 28"/>
                <a:gd name="T10" fmla="*/ 56 w 66"/>
                <a:gd name="T11" fmla="*/ 0 h 28"/>
                <a:gd name="T12" fmla="*/ 66 w 66"/>
                <a:gd name="T13" fmla="*/ 10 h 28"/>
                <a:gd name="T14" fmla="*/ 66 w 66"/>
                <a:gd name="T15" fmla="*/ 24 h 28"/>
                <a:gd name="T16" fmla="*/ 63 w 66"/>
                <a:gd name="T17" fmla="*/ 28 h 28"/>
                <a:gd name="T18" fmla="*/ 7 w 66"/>
                <a:gd name="T19" fmla="*/ 21 h 28"/>
                <a:gd name="T20" fmla="*/ 59 w 66"/>
                <a:gd name="T21" fmla="*/ 21 h 28"/>
                <a:gd name="T22" fmla="*/ 59 w 66"/>
                <a:gd name="T23" fmla="*/ 10 h 28"/>
                <a:gd name="T24" fmla="*/ 56 w 66"/>
                <a:gd name="T25" fmla="*/ 7 h 28"/>
                <a:gd name="T26" fmla="*/ 11 w 66"/>
                <a:gd name="T27" fmla="*/ 7 h 28"/>
                <a:gd name="T28" fmla="*/ 7 w 66"/>
                <a:gd name="T29" fmla="*/ 10 h 28"/>
                <a:gd name="T30" fmla="*/ 7 w 66"/>
                <a:gd name="T31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28">
                  <a:moveTo>
                    <a:pt x="63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2" y="28"/>
                    <a:pt x="0" y="26"/>
                    <a:pt x="0" y="2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1" y="0"/>
                    <a:pt x="66" y="5"/>
                    <a:pt x="66" y="10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6"/>
                    <a:pt x="64" y="28"/>
                    <a:pt x="63" y="28"/>
                  </a:cubicBezTo>
                  <a:close/>
                  <a:moveTo>
                    <a:pt x="7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8"/>
                    <a:pt x="58" y="7"/>
                    <a:pt x="56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9" y="7"/>
                    <a:pt x="7" y="8"/>
                    <a:pt x="7" y="10"/>
                  </a:cubicBezTo>
                  <a:lnTo>
                    <a:pt x="7" y="2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8" name="Freeform 972">
              <a:extLst>
                <a:ext uri="{FF2B5EF4-FFF2-40B4-BE49-F238E27FC236}">
                  <a16:creationId xmlns:a16="http://schemas.microsoft.com/office/drawing/2014/main" id="{D793C5E9-6998-4B4E-A5E6-68607411B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0254" y="4476708"/>
              <a:ext cx="26556" cy="12646"/>
            </a:xfrm>
            <a:custGeom>
              <a:avLst/>
              <a:gdLst>
                <a:gd name="T0" fmla="*/ 12 w 15"/>
                <a:gd name="T1" fmla="*/ 7 h 7"/>
                <a:gd name="T2" fmla="*/ 4 w 15"/>
                <a:gd name="T3" fmla="*/ 7 h 7"/>
                <a:gd name="T4" fmla="*/ 0 w 15"/>
                <a:gd name="T5" fmla="*/ 4 h 7"/>
                <a:gd name="T6" fmla="*/ 4 w 15"/>
                <a:gd name="T7" fmla="*/ 0 h 7"/>
                <a:gd name="T8" fmla="*/ 12 w 15"/>
                <a:gd name="T9" fmla="*/ 0 h 7"/>
                <a:gd name="T10" fmla="*/ 15 w 15"/>
                <a:gd name="T11" fmla="*/ 4 h 7"/>
                <a:gd name="T12" fmla="*/ 12 w 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2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2"/>
                    <a:pt x="15" y="4"/>
                  </a:cubicBezTo>
                  <a:cubicBezTo>
                    <a:pt x="15" y="6"/>
                    <a:pt x="14" y="7"/>
                    <a:pt x="12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9" name="Freeform 973">
              <a:extLst>
                <a:ext uri="{FF2B5EF4-FFF2-40B4-BE49-F238E27FC236}">
                  <a16:creationId xmlns:a16="http://schemas.microsoft.com/office/drawing/2014/main" id="{EA6346B9-0A2C-4437-A2E4-FDFB9482B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7529" y="4476708"/>
              <a:ext cx="26556" cy="12646"/>
            </a:xfrm>
            <a:custGeom>
              <a:avLst/>
              <a:gdLst>
                <a:gd name="T0" fmla="*/ 12 w 15"/>
                <a:gd name="T1" fmla="*/ 7 h 7"/>
                <a:gd name="T2" fmla="*/ 4 w 15"/>
                <a:gd name="T3" fmla="*/ 7 h 7"/>
                <a:gd name="T4" fmla="*/ 0 w 15"/>
                <a:gd name="T5" fmla="*/ 4 h 7"/>
                <a:gd name="T6" fmla="*/ 4 w 15"/>
                <a:gd name="T7" fmla="*/ 0 h 7"/>
                <a:gd name="T8" fmla="*/ 12 w 15"/>
                <a:gd name="T9" fmla="*/ 0 h 7"/>
                <a:gd name="T10" fmla="*/ 15 w 15"/>
                <a:gd name="T11" fmla="*/ 4 h 7"/>
                <a:gd name="T12" fmla="*/ 12 w 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2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2"/>
                    <a:pt x="15" y="4"/>
                  </a:cubicBezTo>
                  <a:cubicBezTo>
                    <a:pt x="15" y="6"/>
                    <a:pt x="14" y="7"/>
                    <a:pt x="12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0" name="Freeform 974">
              <a:extLst>
                <a:ext uri="{FF2B5EF4-FFF2-40B4-BE49-F238E27FC236}">
                  <a16:creationId xmlns:a16="http://schemas.microsoft.com/office/drawing/2014/main" id="{79AF1541-D142-4520-A273-62EA4A4B87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00254" y="4681571"/>
              <a:ext cx="64494" cy="42996"/>
            </a:xfrm>
            <a:custGeom>
              <a:avLst/>
              <a:gdLst>
                <a:gd name="T0" fmla="*/ 26 w 36"/>
                <a:gd name="T1" fmla="*/ 24 h 24"/>
                <a:gd name="T2" fmla="*/ 10 w 36"/>
                <a:gd name="T3" fmla="*/ 24 h 24"/>
                <a:gd name="T4" fmla="*/ 0 w 36"/>
                <a:gd name="T5" fmla="*/ 14 h 24"/>
                <a:gd name="T6" fmla="*/ 0 w 36"/>
                <a:gd name="T7" fmla="*/ 11 h 24"/>
                <a:gd name="T8" fmla="*/ 10 w 36"/>
                <a:gd name="T9" fmla="*/ 0 h 24"/>
                <a:gd name="T10" fmla="*/ 26 w 36"/>
                <a:gd name="T11" fmla="*/ 0 h 24"/>
                <a:gd name="T12" fmla="*/ 36 w 36"/>
                <a:gd name="T13" fmla="*/ 11 h 24"/>
                <a:gd name="T14" fmla="*/ 36 w 36"/>
                <a:gd name="T15" fmla="*/ 14 h 24"/>
                <a:gd name="T16" fmla="*/ 26 w 36"/>
                <a:gd name="T17" fmla="*/ 24 h 24"/>
                <a:gd name="T18" fmla="*/ 10 w 36"/>
                <a:gd name="T19" fmla="*/ 7 h 24"/>
                <a:gd name="T20" fmla="*/ 7 w 36"/>
                <a:gd name="T21" fmla="*/ 11 h 24"/>
                <a:gd name="T22" fmla="*/ 7 w 36"/>
                <a:gd name="T23" fmla="*/ 14 h 24"/>
                <a:gd name="T24" fmla="*/ 10 w 36"/>
                <a:gd name="T25" fmla="*/ 17 h 24"/>
                <a:gd name="T26" fmla="*/ 26 w 36"/>
                <a:gd name="T27" fmla="*/ 17 h 24"/>
                <a:gd name="T28" fmla="*/ 29 w 36"/>
                <a:gd name="T29" fmla="*/ 14 h 24"/>
                <a:gd name="T30" fmla="*/ 29 w 36"/>
                <a:gd name="T31" fmla="*/ 11 h 24"/>
                <a:gd name="T32" fmla="*/ 26 w 36"/>
                <a:gd name="T33" fmla="*/ 7 h 24"/>
                <a:gd name="T34" fmla="*/ 10 w 36"/>
                <a:gd name="T35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24">
                  <a:moveTo>
                    <a:pt x="26" y="24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5" y="24"/>
                    <a:pt x="0" y="19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2" y="0"/>
                    <a:pt x="36" y="5"/>
                    <a:pt x="36" y="1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9"/>
                    <a:pt x="32" y="24"/>
                    <a:pt x="26" y="24"/>
                  </a:cubicBezTo>
                  <a:close/>
                  <a:moveTo>
                    <a:pt x="10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6"/>
                    <a:pt x="9" y="17"/>
                    <a:pt x="10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8" y="17"/>
                    <a:pt x="29" y="16"/>
                    <a:pt x="29" y="14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9"/>
                    <a:pt x="28" y="7"/>
                    <a:pt x="26" y="7"/>
                  </a:cubicBezTo>
                  <a:lnTo>
                    <a:pt x="10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1" name="Freeform 975">
              <a:extLst>
                <a:ext uri="{FF2B5EF4-FFF2-40B4-BE49-F238E27FC236}">
                  <a16:creationId xmlns:a16="http://schemas.microsoft.com/office/drawing/2014/main" id="{5FDD00D2-D9BC-492C-9798-CBF9106FC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9592" y="4681571"/>
              <a:ext cx="64494" cy="42996"/>
            </a:xfrm>
            <a:custGeom>
              <a:avLst/>
              <a:gdLst>
                <a:gd name="T0" fmla="*/ 26 w 36"/>
                <a:gd name="T1" fmla="*/ 24 h 24"/>
                <a:gd name="T2" fmla="*/ 10 w 36"/>
                <a:gd name="T3" fmla="*/ 24 h 24"/>
                <a:gd name="T4" fmla="*/ 0 w 36"/>
                <a:gd name="T5" fmla="*/ 14 h 24"/>
                <a:gd name="T6" fmla="*/ 0 w 36"/>
                <a:gd name="T7" fmla="*/ 11 h 24"/>
                <a:gd name="T8" fmla="*/ 10 w 36"/>
                <a:gd name="T9" fmla="*/ 0 h 24"/>
                <a:gd name="T10" fmla="*/ 26 w 36"/>
                <a:gd name="T11" fmla="*/ 0 h 24"/>
                <a:gd name="T12" fmla="*/ 36 w 36"/>
                <a:gd name="T13" fmla="*/ 11 h 24"/>
                <a:gd name="T14" fmla="*/ 36 w 36"/>
                <a:gd name="T15" fmla="*/ 14 h 24"/>
                <a:gd name="T16" fmla="*/ 26 w 36"/>
                <a:gd name="T17" fmla="*/ 24 h 24"/>
                <a:gd name="T18" fmla="*/ 10 w 36"/>
                <a:gd name="T19" fmla="*/ 7 h 24"/>
                <a:gd name="T20" fmla="*/ 7 w 36"/>
                <a:gd name="T21" fmla="*/ 11 h 24"/>
                <a:gd name="T22" fmla="*/ 7 w 36"/>
                <a:gd name="T23" fmla="*/ 14 h 24"/>
                <a:gd name="T24" fmla="*/ 10 w 36"/>
                <a:gd name="T25" fmla="*/ 17 h 24"/>
                <a:gd name="T26" fmla="*/ 26 w 36"/>
                <a:gd name="T27" fmla="*/ 17 h 24"/>
                <a:gd name="T28" fmla="*/ 30 w 36"/>
                <a:gd name="T29" fmla="*/ 14 h 24"/>
                <a:gd name="T30" fmla="*/ 30 w 36"/>
                <a:gd name="T31" fmla="*/ 11 h 24"/>
                <a:gd name="T32" fmla="*/ 26 w 36"/>
                <a:gd name="T33" fmla="*/ 7 h 24"/>
                <a:gd name="T34" fmla="*/ 10 w 36"/>
                <a:gd name="T35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24">
                  <a:moveTo>
                    <a:pt x="26" y="24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5" y="24"/>
                    <a:pt x="0" y="19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2" y="0"/>
                    <a:pt x="36" y="5"/>
                    <a:pt x="36" y="1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9"/>
                    <a:pt x="32" y="24"/>
                    <a:pt x="26" y="24"/>
                  </a:cubicBezTo>
                  <a:close/>
                  <a:moveTo>
                    <a:pt x="10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6"/>
                    <a:pt x="9" y="17"/>
                    <a:pt x="10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8" y="17"/>
                    <a:pt x="30" y="16"/>
                    <a:pt x="30" y="14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9"/>
                    <a:pt x="28" y="7"/>
                    <a:pt x="26" y="7"/>
                  </a:cubicBezTo>
                  <a:lnTo>
                    <a:pt x="10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2" name="Freeform 976">
              <a:extLst>
                <a:ext uri="{FF2B5EF4-FFF2-40B4-BE49-F238E27FC236}">
                  <a16:creationId xmlns:a16="http://schemas.microsoft.com/office/drawing/2014/main" id="{36F8BBB5-FED4-4CFD-9A2D-5AF50F6F8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8542" y="4719509"/>
              <a:ext cx="88521" cy="42996"/>
            </a:xfrm>
            <a:custGeom>
              <a:avLst/>
              <a:gdLst>
                <a:gd name="T0" fmla="*/ 45 w 49"/>
                <a:gd name="T1" fmla="*/ 24 h 24"/>
                <a:gd name="T2" fmla="*/ 3 w 49"/>
                <a:gd name="T3" fmla="*/ 24 h 24"/>
                <a:gd name="T4" fmla="*/ 0 w 49"/>
                <a:gd name="T5" fmla="*/ 21 h 24"/>
                <a:gd name="T6" fmla="*/ 0 w 49"/>
                <a:gd name="T7" fmla="*/ 11 h 24"/>
                <a:gd name="T8" fmla="*/ 10 w 49"/>
                <a:gd name="T9" fmla="*/ 0 h 24"/>
                <a:gd name="T10" fmla="*/ 38 w 49"/>
                <a:gd name="T11" fmla="*/ 0 h 24"/>
                <a:gd name="T12" fmla="*/ 49 w 49"/>
                <a:gd name="T13" fmla="*/ 11 h 24"/>
                <a:gd name="T14" fmla="*/ 49 w 49"/>
                <a:gd name="T15" fmla="*/ 21 h 24"/>
                <a:gd name="T16" fmla="*/ 45 w 49"/>
                <a:gd name="T17" fmla="*/ 24 h 24"/>
                <a:gd name="T18" fmla="*/ 7 w 49"/>
                <a:gd name="T19" fmla="*/ 17 h 24"/>
                <a:gd name="T20" fmla="*/ 42 w 49"/>
                <a:gd name="T21" fmla="*/ 17 h 24"/>
                <a:gd name="T22" fmla="*/ 42 w 49"/>
                <a:gd name="T23" fmla="*/ 11 h 24"/>
                <a:gd name="T24" fmla="*/ 38 w 49"/>
                <a:gd name="T25" fmla="*/ 7 h 24"/>
                <a:gd name="T26" fmla="*/ 10 w 49"/>
                <a:gd name="T27" fmla="*/ 7 h 24"/>
                <a:gd name="T28" fmla="*/ 7 w 49"/>
                <a:gd name="T29" fmla="*/ 11 h 24"/>
                <a:gd name="T30" fmla="*/ 7 w 49"/>
                <a:gd name="T31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24">
                  <a:moveTo>
                    <a:pt x="45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4"/>
                    <a:pt x="0" y="22"/>
                    <a:pt x="0" y="2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4" y="0"/>
                    <a:pt x="49" y="5"/>
                    <a:pt x="49" y="1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2"/>
                    <a:pt x="47" y="24"/>
                    <a:pt x="45" y="24"/>
                  </a:cubicBezTo>
                  <a:close/>
                  <a:moveTo>
                    <a:pt x="7" y="17"/>
                  </a:moveTo>
                  <a:cubicBezTo>
                    <a:pt x="42" y="17"/>
                    <a:pt x="42" y="17"/>
                    <a:pt x="42" y="17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9"/>
                    <a:pt x="40" y="7"/>
                    <a:pt x="38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8" y="7"/>
                    <a:pt x="7" y="9"/>
                    <a:pt x="7" y="11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3" name="Freeform 977">
              <a:extLst>
                <a:ext uri="{FF2B5EF4-FFF2-40B4-BE49-F238E27FC236}">
                  <a16:creationId xmlns:a16="http://schemas.microsoft.com/office/drawing/2014/main" id="{0A53C022-1C38-4413-B3A2-E37B0168D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717" y="4690423"/>
              <a:ext cx="56906" cy="10117"/>
            </a:xfrm>
            <a:custGeom>
              <a:avLst/>
              <a:gdLst>
                <a:gd name="T0" fmla="*/ 29 w 32"/>
                <a:gd name="T1" fmla="*/ 6 h 6"/>
                <a:gd name="T2" fmla="*/ 4 w 32"/>
                <a:gd name="T3" fmla="*/ 6 h 6"/>
                <a:gd name="T4" fmla="*/ 0 w 32"/>
                <a:gd name="T5" fmla="*/ 3 h 6"/>
                <a:gd name="T6" fmla="*/ 4 w 32"/>
                <a:gd name="T7" fmla="*/ 0 h 6"/>
                <a:gd name="T8" fmla="*/ 29 w 32"/>
                <a:gd name="T9" fmla="*/ 0 h 6"/>
                <a:gd name="T10" fmla="*/ 32 w 32"/>
                <a:gd name="T11" fmla="*/ 3 h 6"/>
                <a:gd name="T12" fmla="*/ 29 w 3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6">
                  <a:moveTo>
                    <a:pt x="29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5"/>
                    <a:pt x="31" y="6"/>
                    <a:pt x="29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4" name="Freeform 978">
              <a:extLst>
                <a:ext uri="{FF2B5EF4-FFF2-40B4-BE49-F238E27FC236}">
                  <a16:creationId xmlns:a16="http://schemas.microsoft.com/office/drawing/2014/main" id="{2264EA4E-8BC6-41F3-B90E-163133E45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9204" y="4802971"/>
              <a:ext cx="408461" cy="12646"/>
            </a:xfrm>
            <a:custGeom>
              <a:avLst/>
              <a:gdLst>
                <a:gd name="T0" fmla="*/ 221 w 225"/>
                <a:gd name="T1" fmla="*/ 7 h 7"/>
                <a:gd name="T2" fmla="*/ 3 w 225"/>
                <a:gd name="T3" fmla="*/ 7 h 7"/>
                <a:gd name="T4" fmla="*/ 0 w 225"/>
                <a:gd name="T5" fmla="*/ 4 h 7"/>
                <a:gd name="T6" fmla="*/ 3 w 225"/>
                <a:gd name="T7" fmla="*/ 0 h 7"/>
                <a:gd name="T8" fmla="*/ 221 w 225"/>
                <a:gd name="T9" fmla="*/ 0 h 7"/>
                <a:gd name="T10" fmla="*/ 225 w 225"/>
                <a:gd name="T11" fmla="*/ 4 h 7"/>
                <a:gd name="T12" fmla="*/ 221 w 22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7">
                  <a:moveTo>
                    <a:pt x="221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3" y="0"/>
                    <a:pt x="225" y="2"/>
                    <a:pt x="225" y="4"/>
                  </a:cubicBezTo>
                  <a:cubicBezTo>
                    <a:pt x="225" y="6"/>
                    <a:pt x="223" y="7"/>
                    <a:pt x="221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1" name="Agrupar 1720">
            <a:extLst>
              <a:ext uri="{FF2B5EF4-FFF2-40B4-BE49-F238E27FC236}">
                <a16:creationId xmlns:a16="http://schemas.microsoft.com/office/drawing/2014/main" id="{B1578E87-F8CE-4207-8545-3987A100E211}"/>
              </a:ext>
            </a:extLst>
          </p:cNvPr>
          <p:cNvGrpSpPr/>
          <p:nvPr/>
        </p:nvGrpSpPr>
        <p:grpSpPr>
          <a:xfrm>
            <a:off x="10380692" y="3692665"/>
            <a:ext cx="405932" cy="408462"/>
            <a:chOff x="11062304" y="3692665"/>
            <a:chExt cx="405932" cy="408462"/>
          </a:xfrm>
        </p:grpSpPr>
        <p:sp>
          <p:nvSpPr>
            <p:cNvPr id="1585" name="Freeform 979">
              <a:extLst>
                <a:ext uri="{FF2B5EF4-FFF2-40B4-BE49-F238E27FC236}">
                  <a16:creationId xmlns:a16="http://schemas.microsoft.com/office/drawing/2014/main" id="{6F16E1F6-FFC0-48F2-8813-322D05542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77479" y="4035368"/>
              <a:ext cx="96108" cy="65758"/>
            </a:xfrm>
            <a:custGeom>
              <a:avLst/>
              <a:gdLst>
                <a:gd name="T0" fmla="*/ 39 w 53"/>
                <a:gd name="T1" fmla="*/ 36 h 36"/>
                <a:gd name="T2" fmla="*/ 14 w 53"/>
                <a:gd name="T3" fmla="*/ 36 h 36"/>
                <a:gd name="T4" fmla="*/ 0 w 53"/>
                <a:gd name="T5" fmla="*/ 22 h 36"/>
                <a:gd name="T6" fmla="*/ 0 w 53"/>
                <a:gd name="T7" fmla="*/ 3 h 36"/>
                <a:gd name="T8" fmla="*/ 3 w 53"/>
                <a:gd name="T9" fmla="*/ 0 h 36"/>
                <a:gd name="T10" fmla="*/ 49 w 53"/>
                <a:gd name="T11" fmla="*/ 0 h 36"/>
                <a:gd name="T12" fmla="*/ 53 w 53"/>
                <a:gd name="T13" fmla="*/ 3 h 36"/>
                <a:gd name="T14" fmla="*/ 53 w 53"/>
                <a:gd name="T15" fmla="*/ 22 h 36"/>
                <a:gd name="T16" fmla="*/ 39 w 53"/>
                <a:gd name="T17" fmla="*/ 36 h 36"/>
                <a:gd name="T18" fmla="*/ 7 w 53"/>
                <a:gd name="T19" fmla="*/ 7 h 36"/>
                <a:gd name="T20" fmla="*/ 7 w 53"/>
                <a:gd name="T21" fmla="*/ 22 h 36"/>
                <a:gd name="T22" fmla="*/ 14 w 53"/>
                <a:gd name="T23" fmla="*/ 29 h 36"/>
                <a:gd name="T24" fmla="*/ 39 w 53"/>
                <a:gd name="T25" fmla="*/ 29 h 36"/>
                <a:gd name="T26" fmla="*/ 46 w 53"/>
                <a:gd name="T27" fmla="*/ 22 h 36"/>
                <a:gd name="T28" fmla="*/ 46 w 53"/>
                <a:gd name="T29" fmla="*/ 7 h 36"/>
                <a:gd name="T30" fmla="*/ 7 w 53"/>
                <a:gd name="T31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6">
                  <a:moveTo>
                    <a:pt x="39" y="36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6" y="36"/>
                    <a:pt x="0" y="30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1" y="0"/>
                    <a:pt x="53" y="1"/>
                    <a:pt x="53" y="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30"/>
                    <a:pt x="47" y="36"/>
                    <a:pt x="39" y="36"/>
                  </a:cubicBezTo>
                  <a:close/>
                  <a:moveTo>
                    <a:pt x="7" y="7"/>
                  </a:moveTo>
                  <a:cubicBezTo>
                    <a:pt x="7" y="22"/>
                    <a:pt x="7" y="22"/>
                    <a:pt x="7" y="22"/>
                  </a:cubicBezTo>
                  <a:cubicBezTo>
                    <a:pt x="7" y="26"/>
                    <a:pt x="10" y="29"/>
                    <a:pt x="14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43" y="29"/>
                    <a:pt x="46" y="26"/>
                    <a:pt x="46" y="22"/>
                  </a:cubicBezTo>
                  <a:cubicBezTo>
                    <a:pt x="46" y="7"/>
                    <a:pt x="46" y="7"/>
                    <a:pt x="46" y="7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6" name="Freeform 980">
              <a:extLst>
                <a:ext uri="{FF2B5EF4-FFF2-40B4-BE49-F238E27FC236}">
                  <a16:creationId xmlns:a16="http://schemas.microsoft.com/office/drawing/2014/main" id="{DF5350D6-C905-4189-91D0-671B92AD6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58217" y="4035368"/>
              <a:ext cx="96108" cy="65758"/>
            </a:xfrm>
            <a:custGeom>
              <a:avLst/>
              <a:gdLst>
                <a:gd name="T0" fmla="*/ 39 w 53"/>
                <a:gd name="T1" fmla="*/ 36 h 36"/>
                <a:gd name="T2" fmla="*/ 14 w 53"/>
                <a:gd name="T3" fmla="*/ 36 h 36"/>
                <a:gd name="T4" fmla="*/ 0 w 53"/>
                <a:gd name="T5" fmla="*/ 22 h 36"/>
                <a:gd name="T6" fmla="*/ 0 w 53"/>
                <a:gd name="T7" fmla="*/ 3 h 36"/>
                <a:gd name="T8" fmla="*/ 3 w 53"/>
                <a:gd name="T9" fmla="*/ 0 h 36"/>
                <a:gd name="T10" fmla="*/ 50 w 53"/>
                <a:gd name="T11" fmla="*/ 0 h 36"/>
                <a:gd name="T12" fmla="*/ 53 w 53"/>
                <a:gd name="T13" fmla="*/ 3 h 36"/>
                <a:gd name="T14" fmla="*/ 53 w 53"/>
                <a:gd name="T15" fmla="*/ 22 h 36"/>
                <a:gd name="T16" fmla="*/ 39 w 53"/>
                <a:gd name="T17" fmla="*/ 36 h 36"/>
                <a:gd name="T18" fmla="*/ 7 w 53"/>
                <a:gd name="T19" fmla="*/ 7 h 36"/>
                <a:gd name="T20" fmla="*/ 7 w 53"/>
                <a:gd name="T21" fmla="*/ 22 h 36"/>
                <a:gd name="T22" fmla="*/ 14 w 53"/>
                <a:gd name="T23" fmla="*/ 29 h 36"/>
                <a:gd name="T24" fmla="*/ 39 w 53"/>
                <a:gd name="T25" fmla="*/ 29 h 36"/>
                <a:gd name="T26" fmla="*/ 46 w 53"/>
                <a:gd name="T27" fmla="*/ 22 h 36"/>
                <a:gd name="T28" fmla="*/ 46 w 53"/>
                <a:gd name="T29" fmla="*/ 7 h 36"/>
                <a:gd name="T30" fmla="*/ 7 w 53"/>
                <a:gd name="T31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6">
                  <a:moveTo>
                    <a:pt x="39" y="36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6" y="36"/>
                    <a:pt x="0" y="30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3" y="1"/>
                    <a:pt x="53" y="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30"/>
                    <a:pt x="47" y="36"/>
                    <a:pt x="39" y="36"/>
                  </a:cubicBezTo>
                  <a:close/>
                  <a:moveTo>
                    <a:pt x="7" y="7"/>
                  </a:moveTo>
                  <a:cubicBezTo>
                    <a:pt x="7" y="22"/>
                    <a:pt x="7" y="22"/>
                    <a:pt x="7" y="22"/>
                  </a:cubicBezTo>
                  <a:cubicBezTo>
                    <a:pt x="7" y="26"/>
                    <a:pt x="10" y="29"/>
                    <a:pt x="14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43" y="29"/>
                    <a:pt x="46" y="26"/>
                    <a:pt x="46" y="22"/>
                  </a:cubicBezTo>
                  <a:cubicBezTo>
                    <a:pt x="46" y="7"/>
                    <a:pt x="46" y="7"/>
                    <a:pt x="46" y="7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7" name="Freeform 981">
              <a:extLst>
                <a:ext uri="{FF2B5EF4-FFF2-40B4-BE49-F238E27FC236}">
                  <a16:creationId xmlns:a16="http://schemas.microsoft.com/office/drawing/2014/main" id="{6AC45DB3-5EBF-4096-8604-9CCC5F1855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8977" y="3951905"/>
              <a:ext cx="67023" cy="65758"/>
            </a:xfrm>
            <a:custGeom>
              <a:avLst/>
              <a:gdLst>
                <a:gd name="T0" fmla="*/ 19 w 37"/>
                <a:gd name="T1" fmla="*/ 36 h 36"/>
                <a:gd name="T2" fmla="*/ 0 w 37"/>
                <a:gd name="T3" fmla="*/ 18 h 36"/>
                <a:gd name="T4" fmla="*/ 19 w 37"/>
                <a:gd name="T5" fmla="*/ 0 h 36"/>
                <a:gd name="T6" fmla="*/ 37 w 37"/>
                <a:gd name="T7" fmla="*/ 18 h 36"/>
                <a:gd name="T8" fmla="*/ 19 w 37"/>
                <a:gd name="T9" fmla="*/ 36 h 36"/>
                <a:gd name="T10" fmla="*/ 19 w 37"/>
                <a:gd name="T11" fmla="*/ 7 h 36"/>
                <a:gd name="T12" fmla="*/ 7 w 37"/>
                <a:gd name="T13" fmla="*/ 18 h 36"/>
                <a:gd name="T14" fmla="*/ 19 w 37"/>
                <a:gd name="T15" fmla="*/ 29 h 36"/>
                <a:gd name="T16" fmla="*/ 30 w 37"/>
                <a:gd name="T17" fmla="*/ 18 h 36"/>
                <a:gd name="T18" fmla="*/ 19 w 37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36"/>
                  </a:moveTo>
                  <a:cubicBezTo>
                    <a:pt x="9" y="36"/>
                    <a:pt x="0" y="28"/>
                    <a:pt x="0" y="18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  <a:cubicBezTo>
                    <a:pt x="37" y="28"/>
                    <a:pt x="29" y="36"/>
                    <a:pt x="19" y="36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9" y="29"/>
                  </a:cubicBezTo>
                  <a:cubicBezTo>
                    <a:pt x="25" y="29"/>
                    <a:pt x="30" y="24"/>
                    <a:pt x="30" y="18"/>
                  </a:cubicBezTo>
                  <a:cubicBezTo>
                    <a:pt x="30" y="12"/>
                    <a:pt x="25" y="7"/>
                    <a:pt x="19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8" name="Freeform 982">
              <a:extLst>
                <a:ext uri="{FF2B5EF4-FFF2-40B4-BE49-F238E27FC236}">
                  <a16:creationId xmlns:a16="http://schemas.microsoft.com/office/drawing/2014/main" id="{CBBF405E-E4FD-4B4B-A2D1-AE5D7B5F83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65805" y="3951905"/>
              <a:ext cx="64494" cy="65758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30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30" y="24"/>
                    <a:pt x="30" y="18"/>
                  </a:cubicBezTo>
                  <a:cubicBezTo>
                    <a:pt x="30" y="12"/>
                    <a:pt x="24" y="7"/>
                    <a:pt x="18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89" name="Freeform 983">
              <a:extLst>
                <a:ext uri="{FF2B5EF4-FFF2-40B4-BE49-F238E27FC236}">
                  <a16:creationId xmlns:a16="http://schemas.microsoft.com/office/drawing/2014/main" id="{F6D4C8A8-4A0F-41D1-B635-00BEEEBD6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1292" y="3959493"/>
              <a:ext cx="147956" cy="50583"/>
            </a:xfrm>
            <a:custGeom>
              <a:avLst/>
              <a:gdLst>
                <a:gd name="T0" fmla="*/ 62 w 82"/>
                <a:gd name="T1" fmla="*/ 28 h 28"/>
                <a:gd name="T2" fmla="*/ 20 w 82"/>
                <a:gd name="T3" fmla="*/ 28 h 28"/>
                <a:gd name="T4" fmla="*/ 0 w 82"/>
                <a:gd name="T5" fmla="*/ 7 h 28"/>
                <a:gd name="T6" fmla="*/ 0 w 82"/>
                <a:gd name="T7" fmla="*/ 3 h 28"/>
                <a:gd name="T8" fmla="*/ 3 w 82"/>
                <a:gd name="T9" fmla="*/ 0 h 28"/>
                <a:gd name="T10" fmla="*/ 79 w 82"/>
                <a:gd name="T11" fmla="*/ 0 h 28"/>
                <a:gd name="T12" fmla="*/ 82 w 82"/>
                <a:gd name="T13" fmla="*/ 3 h 28"/>
                <a:gd name="T14" fmla="*/ 82 w 82"/>
                <a:gd name="T15" fmla="*/ 7 h 28"/>
                <a:gd name="T16" fmla="*/ 62 w 82"/>
                <a:gd name="T17" fmla="*/ 28 h 28"/>
                <a:gd name="T18" fmla="*/ 7 w 82"/>
                <a:gd name="T19" fmla="*/ 7 h 28"/>
                <a:gd name="T20" fmla="*/ 7 w 82"/>
                <a:gd name="T21" fmla="*/ 7 h 28"/>
                <a:gd name="T22" fmla="*/ 20 w 82"/>
                <a:gd name="T23" fmla="*/ 21 h 28"/>
                <a:gd name="T24" fmla="*/ 62 w 82"/>
                <a:gd name="T25" fmla="*/ 21 h 28"/>
                <a:gd name="T26" fmla="*/ 75 w 82"/>
                <a:gd name="T27" fmla="*/ 7 h 28"/>
                <a:gd name="T28" fmla="*/ 75 w 82"/>
                <a:gd name="T29" fmla="*/ 7 h 28"/>
                <a:gd name="T30" fmla="*/ 7 w 82"/>
                <a:gd name="T31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28">
                  <a:moveTo>
                    <a:pt x="62" y="28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9" y="28"/>
                    <a:pt x="0" y="19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2" y="1"/>
                    <a:pt x="82" y="3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19"/>
                    <a:pt x="73" y="28"/>
                    <a:pt x="62" y="28"/>
                  </a:cubicBezTo>
                  <a:close/>
                  <a:moveTo>
                    <a:pt x="7" y="7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7" y="15"/>
                    <a:pt x="13" y="21"/>
                    <a:pt x="20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9" y="21"/>
                    <a:pt x="75" y="15"/>
                    <a:pt x="75" y="7"/>
                  </a:cubicBezTo>
                  <a:cubicBezTo>
                    <a:pt x="75" y="7"/>
                    <a:pt x="75" y="7"/>
                    <a:pt x="75" y="7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0" name="Freeform 984">
              <a:extLst>
                <a:ext uri="{FF2B5EF4-FFF2-40B4-BE49-F238E27FC236}">
                  <a16:creationId xmlns:a16="http://schemas.microsoft.com/office/drawing/2014/main" id="{586B145C-29F3-490E-8133-DF97A3F866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05202" y="3692665"/>
              <a:ext cx="120136" cy="65758"/>
            </a:xfrm>
            <a:custGeom>
              <a:avLst/>
              <a:gdLst>
                <a:gd name="T0" fmla="*/ 62 w 66"/>
                <a:gd name="T1" fmla="*/ 36 h 36"/>
                <a:gd name="T2" fmla="*/ 62 w 66"/>
                <a:gd name="T3" fmla="*/ 36 h 36"/>
                <a:gd name="T4" fmla="*/ 4 w 66"/>
                <a:gd name="T5" fmla="*/ 36 h 36"/>
                <a:gd name="T6" fmla="*/ 1 w 66"/>
                <a:gd name="T7" fmla="*/ 35 h 36"/>
                <a:gd name="T8" fmla="*/ 0 w 66"/>
                <a:gd name="T9" fmla="*/ 33 h 36"/>
                <a:gd name="T10" fmla="*/ 3 w 66"/>
                <a:gd name="T11" fmla="*/ 14 h 36"/>
                <a:gd name="T12" fmla="*/ 19 w 66"/>
                <a:gd name="T13" fmla="*/ 0 h 36"/>
                <a:gd name="T14" fmla="*/ 47 w 66"/>
                <a:gd name="T15" fmla="*/ 0 h 36"/>
                <a:gd name="T16" fmla="*/ 63 w 66"/>
                <a:gd name="T17" fmla="*/ 14 h 36"/>
                <a:gd name="T18" fmla="*/ 66 w 66"/>
                <a:gd name="T19" fmla="*/ 32 h 36"/>
                <a:gd name="T20" fmla="*/ 66 w 66"/>
                <a:gd name="T21" fmla="*/ 33 h 36"/>
                <a:gd name="T22" fmla="*/ 62 w 66"/>
                <a:gd name="T23" fmla="*/ 36 h 36"/>
                <a:gd name="T24" fmla="*/ 8 w 66"/>
                <a:gd name="T25" fmla="*/ 30 h 36"/>
                <a:gd name="T26" fmla="*/ 58 w 66"/>
                <a:gd name="T27" fmla="*/ 30 h 36"/>
                <a:gd name="T28" fmla="*/ 56 w 66"/>
                <a:gd name="T29" fmla="*/ 15 h 36"/>
                <a:gd name="T30" fmla="*/ 47 w 66"/>
                <a:gd name="T31" fmla="*/ 7 h 36"/>
                <a:gd name="T32" fmla="*/ 19 w 66"/>
                <a:gd name="T33" fmla="*/ 7 h 36"/>
                <a:gd name="T34" fmla="*/ 10 w 66"/>
                <a:gd name="T35" fmla="*/ 15 h 36"/>
                <a:gd name="T36" fmla="*/ 8 w 66"/>
                <a:gd name="T3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36">
                  <a:moveTo>
                    <a:pt x="62" y="36"/>
                  </a:moveTo>
                  <a:cubicBezTo>
                    <a:pt x="62" y="36"/>
                    <a:pt x="62" y="36"/>
                    <a:pt x="62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2" y="36"/>
                    <a:pt x="1" y="35"/>
                  </a:cubicBezTo>
                  <a:cubicBezTo>
                    <a:pt x="0" y="35"/>
                    <a:pt x="0" y="34"/>
                    <a:pt x="0" y="3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6"/>
                    <a:pt x="11" y="0"/>
                    <a:pt x="1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5" y="0"/>
                    <a:pt x="62" y="6"/>
                    <a:pt x="63" y="14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32"/>
                    <a:pt x="66" y="33"/>
                    <a:pt x="66" y="33"/>
                  </a:cubicBezTo>
                  <a:cubicBezTo>
                    <a:pt x="66" y="35"/>
                    <a:pt x="64" y="36"/>
                    <a:pt x="62" y="36"/>
                  </a:cubicBezTo>
                  <a:close/>
                  <a:moveTo>
                    <a:pt x="8" y="30"/>
                  </a:moveTo>
                  <a:cubicBezTo>
                    <a:pt x="58" y="30"/>
                    <a:pt x="58" y="30"/>
                    <a:pt x="58" y="3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0"/>
                    <a:pt x="52" y="7"/>
                    <a:pt x="47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4" y="7"/>
                    <a:pt x="10" y="10"/>
                    <a:pt x="10" y="15"/>
                  </a:cubicBezTo>
                  <a:lnTo>
                    <a:pt x="8" y="3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1" name="Freeform 985">
              <a:extLst>
                <a:ext uri="{FF2B5EF4-FFF2-40B4-BE49-F238E27FC236}">
                  <a16:creationId xmlns:a16="http://schemas.microsoft.com/office/drawing/2014/main" id="{0AA4C043-467E-4282-9CE1-A5D7234519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2304" y="3747042"/>
              <a:ext cx="405932" cy="300971"/>
            </a:xfrm>
            <a:custGeom>
              <a:avLst/>
              <a:gdLst>
                <a:gd name="T0" fmla="*/ 208 w 224"/>
                <a:gd name="T1" fmla="*/ 166 h 166"/>
                <a:gd name="T2" fmla="*/ 154 w 224"/>
                <a:gd name="T3" fmla="*/ 166 h 166"/>
                <a:gd name="T4" fmla="*/ 151 w 224"/>
                <a:gd name="T5" fmla="*/ 165 h 166"/>
                <a:gd name="T6" fmla="*/ 148 w 224"/>
                <a:gd name="T7" fmla="*/ 162 h 166"/>
                <a:gd name="T8" fmla="*/ 76 w 224"/>
                <a:gd name="T9" fmla="*/ 162 h 166"/>
                <a:gd name="T10" fmla="*/ 72 w 224"/>
                <a:gd name="T11" fmla="*/ 165 h 166"/>
                <a:gd name="T12" fmla="*/ 70 w 224"/>
                <a:gd name="T13" fmla="*/ 166 h 166"/>
                <a:gd name="T14" fmla="*/ 16 w 224"/>
                <a:gd name="T15" fmla="*/ 166 h 166"/>
                <a:gd name="T16" fmla="*/ 0 w 224"/>
                <a:gd name="T17" fmla="*/ 150 h 166"/>
                <a:gd name="T18" fmla="*/ 0 w 224"/>
                <a:gd name="T19" fmla="*/ 100 h 166"/>
                <a:gd name="T20" fmla="*/ 21 w 224"/>
                <a:gd name="T21" fmla="*/ 71 h 166"/>
                <a:gd name="T22" fmla="*/ 29 w 224"/>
                <a:gd name="T23" fmla="*/ 26 h 166"/>
                <a:gd name="T24" fmla="*/ 61 w 224"/>
                <a:gd name="T25" fmla="*/ 0 h 166"/>
                <a:gd name="T26" fmla="*/ 163 w 224"/>
                <a:gd name="T27" fmla="*/ 0 h 166"/>
                <a:gd name="T28" fmla="*/ 195 w 224"/>
                <a:gd name="T29" fmla="*/ 26 h 166"/>
                <a:gd name="T30" fmla="*/ 203 w 224"/>
                <a:gd name="T31" fmla="*/ 71 h 166"/>
                <a:gd name="T32" fmla="*/ 224 w 224"/>
                <a:gd name="T33" fmla="*/ 100 h 166"/>
                <a:gd name="T34" fmla="*/ 224 w 224"/>
                <a:gd name="T35" fmla="*/ 150 h 166"/>
                <a:gd name="T36" fmla="*/ 208 w 224"/>
                <a:gd name="T37" fmla="*/ 166 h 166"/>
                <a:gd name="T38" fmla="*/ 155 w 224"/>
                <a:gd name="T39" fmla="*/ 159 h 166"/>
                <a:gd name="T40" fmla="*/ 208 w 224"/>
                <a:gd name="T41" fmla="*/ 159 h 166"/>
                <a:gd name="T42" fmla="*/ 217 w 224"/>
                <a:gd name="T43" fmla="*/ 150 h 166"/>
                <a:gd name="T44" fmla="*/ 217 w 224"/>
                <a:gd name="T45" fmla="*/ 100 h 166"/>
                <a:gd name="T46" fmla="*/ 199 w 224"/>
                <a:gd name="T47" fmla="*/ 78 h 166"/>
                <a:gd name="T48" fmla="*/ 197 w 224"/>
                <a:gd name="T49" fmla="*/ 75 h 166"/>
                <a:gd name="T50" fmla="*/ 188 w 224"/>
                <a:gd name="T51" fmla="*/ 28 h 166"/>
                <a:gd name="T52" fmla="*/ 163 w 224"/>
                <a:gd name="T53" fmla="*/ 6 h 166"/>
                <a:gd name="T54" fmla="*/ 61 w 224"/>
                <a:gd name="T55" fmla="*/ 6 h 166"/>
                <a:gd name="T56" fmla="*/ 35 w 224"/>
                <a:gd name="T57" fmla="*/ 28 h 166"/>
                <a:gd name="T58" fmla="*/ 27 w 224"/>
                <a:gd name="T59" fmla="*/ 75 h 166"/>
                <a:gd name="T60" fmla="*/ 25 w 224"/>
                <a:gd name="T61" fmla="*/ 78 h 166"/>
                <a:gd name="T62" fmla="*/ 6 w 224"/>
                <a:gd name="T63" fmla="*/ 100 h 166"/>
                <a:gd name="T64" fmla="*/ 6 w 224"/>
                <a:gd name="T65" fmla="*/ 150 h 166"/>
                <a:gd name="T66" fmla="*/ 16 w 224"/>
                <a:gd name="T67" fmla="*/ 159 h 166"/>
                <a:gd name="T68" fmla="*/ 69 w 224"/>
                <a:gd name="T69" fmla="*/ 159 h 166"/>
                <a:gd name="T70" fmla="*/ 72 w 224"/>
                <a:gd name="T71" fmla="*/ 156 h 166"/>
                <a:gd name="T72" fmla="*/ 74 w 224"/>
                <a:gd name="T73" fmla="*/ 155 h 166"/>
                <a:gd name="T74" fmla="*/ 150 w 224"/>
                <a:gd name="T75" fmla="*/ 155 h 166"/>
                <a:gd name="T76" fmla="*/ 152 w 224"/>
                <a:gd name="T77" fmla="*/ 156 h 166"/>
                <a:gd name="T78" fmla="*/ 155 w 224"/>
                <a:gd name="T79" fmla="*/ 15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4" h="166">
                  <a:moveTo>
                    <a:pt x="208" y="166"/>
                  </a:moveTo>
                  <a:cubicBezTo>
                    <a:pt x="154" y="166"/>
                    <a:pt x="154" y="166"/>
                    <a:pt x="154" y="166"/>
                  </a:cubicBezTo>
                  <a:cubicBezTo>
                    <a:pt x="153" y="166"/>
                    <a:pt x="152" y="165"/>
                    <a:pt x="151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76" y="162"/>
                    <a:pt x="76" y="162"/>
                    <a:pt x="76" y="162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2" y="165"/>
                    <a:pt x="71" y="166"/>
                    <a:pt x="70" y="166"/>
                  </a:cubicBezTo>
                  <a:cubicBezTo>
                    <a:pt x="16" y="166"/>
                    <a:pt x="16" y="166"/>
                    <a:pt x="16" y="166"/>
                  </a:cubicBezTo>
                  <a:cubicBezTo>
                    <a:pt x="7" y="166"/>
                    <a:pt x="0" y="159"/>
                    <a:pt x="0" y="15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87"/>
                    <a:pt x="8" y="75"/>
                    <a:pt x="21" y="71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2" y="11"/>
                    <a:pt x="45" y="0"/>
                    <a:pt x="61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9" y="0"/>
                    <a:pt x="192" y="11"/>
                    <a:pt x="195" y="26"/>
                  </a:cubicBezTo>
                  <a:cubicBezTo>
                    <a:pt x="203" y="71"/>
                    <a:pt x="203" y="71"/>
                    <a:pt x="203" y="71"/>
                  </a:cubicBezTo>
                  <a:cubicBezTo>
                    <a:pt x="215" y="75"/>
                    <a:pt x="224" y="87"/>
                    <a:pt x="224" y="100"/>
                  </a:cubicBezTo>
                  <a:cubicBezTo>
                    <a:pt x="224" y="150"/>
                    <a:pt x="224" y="150"/>
                    <a:pt x="224" y="150"/>
                  </a:cubicBezTo>
                  <a:cubicBezTo>
                    <a:pt x="224" y="159"/>
                    <a:pt x="217" y="166"/>
                    <a:pt x="208" y="166"/>
                  </a:cubicBezTo>
                  <a:close/>
                  <a:moveTo>
                    <a:pt x="155" y="159"/>
                  </a:moveTo>
                  <a:cubicBezTo>
                    <a:pt x="208" y="159"/>
                    <a:pt x="208" y="159"/>
                    <a:pt x="208" y="159"/>
                  </a:cubicBezTo>
                  <a:cubicBezTo>
                    <a:pt x="213" y="159"/>
                    <a:pt x="217" y="155"/>
                    <a:pt x="217" y="15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89"/>
                    <a:pt x="210" y="80"/>
                    <a:pt x="199" y="78"/>
                  </a:cubicBezTo>
                  <a:cubicBezTo>
                    <a:pt x="198" y="77"/>
                    <a:pt x="197" y="76"/>
                    <a:pt x="197" y="75"/>
                  </a:cubicBezTo>
                  <a:cubicBezTo>
                    <a:pt x="188" y="28"/>
                    <a:pt x="188" y="28"/>
                    <a:pt x="188" y="28"/>
                  </a:cubicBezTo>
                  <a:cubicBezTo>
                    <a:pt x="186" y="15"/>
                    <a:pt x="175" y="6"/>
                    <a:pt x="163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48" y="6"/>
                    <a:pt x="38" y="15"/>
                    <a:pt x="35" y="28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6"/>
                    <a:pt x="26" y="77"/>
                    <a:pt x="25" y="78"/>
                  </a:cubicBezTo>
                  <a:cubicBezTo>
                    <a:pt x="14" y="80"/>
                    <a:pt x="6" y="89"/>
                    <a:pt x="6" y="100"/>
                  </a:cubicBezTo>
                  <a:cubicBezTo>
                    <a:pt x="6" y="150"/>
                    <a:pt x="6" y="150"/>
                    <a:pt x="6" y="150"/>
                  </a:cubicBezTo>
                  <a:cubicBezTo>
                    <a:pt x="6" y="155"/>
                    <a:pt x="10" y="159"/>
                    <a:pt x="16" y="159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72" y="155"/>
                    <a:pt x="73" y="155"/>
                    <a:pt x="74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1" y="155"/>
                    <a:pt x="151" y="155"/>
                    <a:pt x="152" y="156"/>
                  </a:cubicBezTo>
                  <a:lnTo>
                    <a:pt x="155" y="15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2" name="Freeform 986">
              <a:extLst>
                <a:ext uri="{FF2B5EF4-FFF2-40B4-BE49-F238E27FC236}">
                  <a16:creationId xmlns:a16="http://schemas.microsoft.com/office/drawing/2014/main" id="{428658AE-3F77-4EA2-98B1-C7AEC17055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29327" y="3776128"/>
              <a:ext cx="271886" cy="126459"/>
            </a:xfrm>
            <a:custGeom>
              <a:avLst/>
              <a:gdLst>
                <a:gd name="T0" fmla="*/ 138 w 150"/>
                <a:gd name="T1" fmla="*/ 70 h 70"/>
                <a:gd name="T2" fmla="*/ 12 w 150"/>
                <a:gd name="T3" fmla="*/ 70 h 70"/>
                <a:gd name="T4" fmla="*/ 0 w 150"/>
                <a:gd name="T5" fmla="*/ 58 h 70"/>
                <a:gd name="T6" fmla="*/ 0 w 150"/>
                <a:gd name="T7" fmla="*/ 58 h 70"/>
                <a:gd name="T8" fmla="*/ 8 w 150"/>
                <a:gd name="T9" fmla="*/ 13 h 70"/>
                <a:gd name="T10" fmla="*/ 24 w 150"/>
                <a:gd name="T11" fmla="*/ 0 h 70"/>
                <a:gd name="T12" fmla="*/ 126 w 150"/>
                <a:gd name="T13" fmla="*/ 0 h 70"/>
                <a:gd name="T14" fmla="*/ 142 w 150"/>
                <a:gd name="T15" fmla="*/ 13 h 70"/>
                <a:gd name="T16" fmla="*/ 150 w 150"/>
                <a:gd name="T17" fmla="*/ 58 h 70"/>
                <a:gd name="T18" fmla="*/ 150 w 150"/>
                <a:gd name="T19" fmla="*/ 58 h 70"/>
                <a:gd name="T20" fmla="*/ 138 w 150"/>
                <a:gd name="T21" fmla="*/ 70 h 70"/>
                <a:gd name="T22" fmla="*/ 7 w 150"/>
                <a:gd name="T23" fmla="*/ 59 h 70"/>
                <a:gd name="T24" fmla="*/ 12 w 150"/>
                <a:gd name="T25" fmla="*/ 63 h 70"/>
                <a:gd name="T26" fmla="*/ 138 w 150"/>
                <a:gd name="T27" fmla="*/ 63 h 70"/>
                <a:gd name="T28" fmla="*/ 143 w 150"/>
                <a:gd name="T29" fmla="*/ 59 h 70"/>
                <a:gd name="T30" fmla="*/ 135 w 150"/>
                <a:gd name="T31" fmla="*/ 15 h 70"/>
                <a:gd name="T32" fmla="*/ 126 w 150"/>
                <a:gd name="T33" fmla="*/ 7 h 70"/>
                <a:gd name="T34" fmla="*/ 24 w 150"/>
                <a:gd name="T35" fmla="*/ 7 h 70"/>
                <a:gd name="T36" fmla="*/ 15 w 150"/>
                <a:gd name="T37" fmla="*/ 15 h 70"/>
                <a:gd name="T38" fmla="*/ 7 w 150"/>
                <a:gd name="T39" fmla="*/ 5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0" h="70">
                  <a:moveTo>
                    <a:pt x="138" y="70"/>
                  </a:moveTo>
                  <a:cubicBezTo>
                    <a:pt x="12" y="70"/>
                    <a:pt x="12" y="70"/>
                    <a:pt x="12" y="70"/>
                  </a:cubicBezTo>
                  <a:cubicBezTo>
                    <a:pt x="6" y="70"/>
                    <a:pt x="0" y="65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0" y="6"/>
                    <a:pt x="16" y="0"/>
                    <a:pt x="2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4" y="0"/>
                    <a:pt x="140" y="6"/>
                    <a:pt x="142" y="13"/>
                  </a:cubicBezTo>
                  <a:cubicBezTo>
                    <a:pt x="150" y="58"/>
                    <a:pt x="150" y="58"/>
                    <a:pt x="150" y="58"/>
                  </a:cubicBezTo>
                  <a:cubicBezTo>
                    <a:pt x="150" y="58"/>
                    <a:pt x="150" y="58"/>
                    <a:pt x="150" y="58"/>
                  </a:cubicBezTo>
                  <a:cubicBezTo>
                    <a:pt x="150" y="65"/>
                    <a:pt x="144" y="70"/>
                    <a:pt x="138" y="70"/>
                  </a:cubicBezTo>
                  <a:close/>
                  <a:moveTo>
                    <a:pt x="7" y="59"/>
                  </a:moveTo>
                  <a:cubicBezTo>
                    <a:pt x="7" y="61"/>
                    <a:pt x="9" y="63"/>
                    <a:pt x="12" y="63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140" y="63"/>
                    <a:pt x="143" y="61"/>
                    <a:pt x="143" y="59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4" y="10"/>
                    <a:pt x="130" y="7"/>
                    <a:pt x="126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0" y="7"/>
                    <a:pt x="16" y="10"/>
                    <a:pt x="15" y="15"/>
                  </a:cubicBezTo>
                  <a:lnTo>
                    <a:pt x="7" y="5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3" name="Freeform 987">
              <a:extLst>
                <a:ext uri="{FF2B5EF4-FFF2-40B4-BE49-F238E27FC236}">
                  <a16:creationId xmlns:a16="http://schemas.microsoft.com/office/drawing/2014/main" id="{4579B9D3-DC16-46F3-9700-36C3FED14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2304" y="4088481"/>
              <a:ext cx="405932" cy="12646"/>
            </a:xfrm>
            <a:custGeom>
              <a:avLst/>
              <a:gdLst>
                <a:gd name="T0" fmla="*/ 221 w 224"/>
                <a:gd name="T1" fmla="*/ 7 h 7"/>
                <a:gd name="T2" fmla="*/ 3 w 224"/>
                <a:gd name="T3" fmla="*/ 7 h 7"/>
                <a:gd name="T4" fmla="*/ 0 w 224"/>
                <a:gd name="T5" fmla="*/ 4 h 7"/>
                <a:gd name="T6" fmla="*/ 3 w 224"/>
                <a:gd name="T7" fmla="*/ 0 h 7"/>
                <a:gd name="T8" fmla="*/ 221 w 224"/>
                <a:gd name="T9" fmla="*/ 0 h 7"/>
                <a:gd name="T10" fmla="*/ 224 w 224"/>
                <a:gd name="T11" fmla="*/ 4 h 7"/>
                <a:gd name="T12" fmla="*/ 221 w 22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7">
                  <a:moveTo>
                    <a:pt x="221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3" y="0"/>
                    <a:pt x="224" y="2"/>
                    <a:pt x="224" y="4"/>
                  </a:cubicBezTo>
                  <a:cubicBezTo>
                    <a:pt x="224" y="6"/>
                    <a:pt x="223" y="7"/>
                    <a:pt x="221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4" name="Freeform 988">
              <a:extLst>
                <a:ext uri="{FF2B5EF4-FFF2-40B4-BE49-F238E27FC236}">
                  <a16:creationId xmlns:a16="http://schemas.microsoft.com/office/drawing/2014/main" id="{EB48E342-10B1-49A2-A21D-97071A69E2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2304" y="3822918"/>
              <a:ext cx="49319" cy="65758"/>
            </a:xfrm>
            <a:custGeom>
              <a:avLst/>
              <a:gdLst>
                <a:gd name="T0" fmla="*/ 24 w 27"/>
                <a:gd name="T1" fmla="*/ 36 h 36"/>
                <a:gd name="T2" fmla="*/ 11 w 27"/>
                <a:gd name="T3" fmla="*/ 36 h 36"/>
                <a:gd name="T4" fmla="*/ 0 w 27"/>
                <a:gd name="T5" fmla="*/ 24 h 36"/>
                <a:gd name="T6" fmla="*/ 0 w 27"/>
                <a:gd name="T7" fmla="*/ 11 h 36"/>
                <a:gd name="T8" fmla="*/ 11 w 27"/>
                <a:gd name="T9" fmla="*/ 0 h 36"/>
                <a:gd name="T10" fmla="*/ 15 w 27"/>
                <a:gd name="T11" fmla="*/ 0 h 36"/>
                <a:gd name="T12" fmla="*/ 27 w 27"/>
                <a:gd name="T13" fmla="*/ 11 h 36"/>
                <a:gd name="T14" fmla="*/ 27 w 27"/>
                <a:gd name="T15" fmla="*/ 32 h 36"/>
                <a:gd name="T16" fmla="*/ 24 w 27"/>
                <a:gd name="T17" fmla="*/ 36 h 36"/>
                <a:gd name="T18" fmla="*/ 11 w 27"/>
                <a:gd name="T19" fmla="*/ 6 h 36"/>
                <a:gd name="T20" fmla="*/ 6 w 27"/>
                <a:gd name="T21" fmla="*/ 11 h 36"/>
                <a:gd name="T22" fmla="*/ 6 w 27"/>
                <a:gd name="T23" fmla="*/ 24 h 36"/>
                <a:gd name="T24" fmla="*/ 11 w 27"/>
                <a:gd name="T25" fmla="*/ 29 h 36"/>
                <a:gd name="T26" fmla="*/ 20 w 27"/>
                <a:gd name="T27" fmla="*/ 29 h 36"/>
                <a:gd name="T28" fmla="*/ 20 w 27"/>
                <a:gd name="T29" fmla="*/ 11 h 36"/>
                <a:gd name="T30" fmla="*/ 15 w 27"/>
                <a:gd name="T31" fmla="*/ 6 h 36"/>
                <a:gd name="T32" fmla="*/ 11 w 27"/>
                <a:gd name="T3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36">
                  <a:moveTo>
                    <a:pt x="24" y="36"/>
                  </a:moveTo>
                  <a:cubicBezTo>
                    <a:pt x="11" y="36"/>
                    <a:pt x="11" y="36"/>
                    <a:pt x="11" y="36"/>
                  </a:cubicBezTo>
                  <a:cubicBezTo>
                    <a:pt x="5" y="36"/>
                    <a:pt x="0" y="30"/>
                    <a:pt x="0" y="2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2" y="0"/>
                    <a:pt x="27" y="5"/>
                    <a:pt x="27" y="11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4"/>
                    <a:pt x="26" y="36"/>
                    <a:pt x="24" y="36"/>
                  </a:cubicBezTo>
                  <a:close/>
                  <a:moveTo>
                    <a:pt x="11" y="6"/>
                  </a:moveTo>
                  <a:cubicBezTo>
                    <a:pt x="9" y="6"/>
                    <a:pt x="6" y="9"/>
                    <a:pt x="6" y="11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7"/>
                    <a:pt x="9" y="29"/>
                    <a:pt x="11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9"/>
                    <a:pt x="18" y="6"/>
                    <a:pt x="15" y="6"/>
                  </a:cubicBezTo>
                  <a:lnTo>
                    <a:pt x="11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5" name="Freeform 989">
              <a:extLst>
                <a:ext uri="{FF2B5EF4-FFF2-40B4-BE49-F238E27FC236}">
                  <a16:creationId xmlns:a16="http://schemas.microsoft.com/office/drawing/2014/main" id="{15CFF7E1-2B5F-4C7F-9B34-9F0BF6F4A7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0182" y="3822918"/>
              <a:ext cx="48054" cy="65758"/>
            </a:xfrm>
            <a:custGeom>
              <a:avLst/>
              <a:gdLst>
                <a:gd name="T0" fmla="*/ 15 w 27"/>
                <a:gd name="T1" fmla="*/ 36 h 36"/>
                <a:gd name="T2" fmla="*/ 3 w 27"/>
                <a:gd name="T3" fmla="*/ 36 h 36"/>
                <a:gd name="T4" fmla="*/ 0 w 27"/>
                <a:gd name="T5" fmla="*/ 32 h 36"/>
                <a:gd name="T6" fmla="*/ 0 w 27"/>
                <a:gd name="T7" fmla="*/ 11 h 36"/>
                <a:gd name="T8" fmla="*/ 11 w 27"/>
                <a:gd name="T9" fmla="*/ 0 h 36"/>
                <a:gd name="T10" fmla="*/ 15 w 27"/>
                <a:gd name="T11" fmla="*/ 0 h 36"/>
                <a:gd name="T12" fmla="*/ 27 w 27"/>
                <a:gd name="T13" fmla="*/ 11 h 36"/>
                <a:gd name="T14" fmla="*/ 27 w 27"/>
                <a:gd name="T15" fmla="*/ 24 h 36"/>
                <a:gd name="T16" fmla="*/ 15 w 27"/>
                <a:gd name="T17" fmla="*/ 36 h 36"/>
                <a:gd name="T18" fmla="*/ 6 w 27"/>
                <a:gd name="T19" fmla="*/ 29 h 36"/>
                <a:gd name="T20" fmla="*/ 15 w 27"/>
                <a:gd name="T21" fmla="*/ 29 h 36"/>
                <a:gd name="T22" fmla="*/ 20 w 27"/>
                <a:gd name="T23" fmla="*/ 24 h 36"/>
                <a:gd name="T24" fmla="*/ 20 w 27"/>
                <a:gd name="T25" fmla="*/ 11 h 36"/>
                <a:gd name="T26" fmla="*/ 15 w 27"/>
                <a:gd name="T27" fmla="*/ 6 h 36"/>
                <a:gd name="T28" fmla="*/ 11 w 27"/>
                <a:gd name="T29" fmla="*/ 6 h 36"/>
                <a:gd name="T30" fmla="*/ 6 w 27"/>
                <a:gd name="T31" fmla="*/ 11 h 36"/>
                <a:gd name="T32" fmla="*/ 6 w 27"/>
                <a:gd name="T3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36">
                  <a:moveTo>
                    <a:pt x="15" y="36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1" y="36"/>
                    <a:pt x="0" y="34"/>
                    <a:pt x="0" y="3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2" y="0"/>
                    <a:pt x="27" y="5"/>
                    <a:pt x="27" y="11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30"/>
                    <a:pt x="22" y="36"/>
                    <a:pt x="15" y="36"/>
                  </a:cubicBezTo>
                  <a:close/>
                  <a:moveTo>
                    <a:pt x="6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18" y="29"/>
                    <a:pt x="20" y="27"/>
                    <a:pt x="20" y="2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9"/>
                    <a:pt x="18" y="6"/>
                    <a:pt x="15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9" y="6"/>
                    <a:pt x="6" y="9"/>
                    <a:pt x="6" y="11"/>
                  </a:cubicBezTo>
                  <a:lnTo>
                    <a:pt x="6" y="2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8" name="Agrupar 1717">
            <a:extLst>
              <a:ext uri="{FF2B5EF4-FFF2-40B4-BE49-F238E27FC236}">
                <a16:creationId xmlns:a16="http://schemas.microsoft.com/office/drawing/2014/main" id="{2DCCB7DC-F8CC-4DB9-A37A-5802BFE96B0E}"/>
              </a:ext>
            </a:extLst>
          </p:cNvPr>
          <p:cNvGrpSpPr/>
          <p:nvPr/>
        </p:nvGrpSpPr>
        <p:grpSpPr>
          <a:xfrm>
            <a:off x="7695977" y="3734397"/>
            <a:ext cx="467897" cy="324998"/>
            <a:chOff x="8377589" y="3734397"/>
            <a:chExt cx="467897" cy="324998"/>
          </a:xfrm>
        </p:grpSpPr>
        <p:sp>
          <p:nvSpPr>
            <p:cNvPr id="1596" name="Freeform 990">
              <a:extLst>
                <a:ext uri="{FF2B5EF4-FFF2-40B4-BE49-F238E27FC236}">
                  <a16:creationId xmlns:a16="http://schemas.microsoft.com/office/drawing/2014/main" id="{3CFDCF22-B83F-4E76-A340-69E12A1E72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7589" y="3864649"/>
              <a:ext cx="196011" cy="194746"/>
            </a:xfrm>
            <a:custGeom>
              <a:avLst/>
              <a:gdLst>
                <a:gd name="T0" fmla="*/ 54 w 108"/>
                <a:gd name="T1" fmla="*/ 107 h 107"/>
                <a:gd name="T2" fmla="*/ 0 w 108"/>
                <a:gd name="T3" fmla="*/ 53 h 107"/>
                <a:gd name="T4" fmla="*/ 54 w 108"/>
                <a:gd name="T5" fmla="*/ 0 h 107"/>
                <a:gd name="T6" fmla="*/ 108 w 108"/>
                <a:gd name="T7" fmla="*/ 53 h 107"/>
                <a:gd name="T8" fmla="*/ 54 w 108"/>
                <a:gd name="T9" fmla="*/ 107 h 107"/>
                <a:gd name="T10" fmla="*/ 54 w 108"/>
                <a:gd name="T11" fmla="*/ 6 h 107"/>
                <a:gd name="T12" fmla="*/ 7 w 108"/>
                <a:gd name="T13" fmla="*/ 53 h 107"/>
                <a:gd name="T14" fmla="*/ 54 w 108"/>
                <a:gd name="T15" fmla="*/ 100 h 107"/>
                <a:gd name="T16" fmla="*/ 101 w 108"/>
                <a:gd name="T17" fmla="*/ 53 h 107"/>
                <a:gd name="T18" fmla="*/ 54 w 108"/>
                <a:gd name="T19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7">
                  <a:moveTo>
                    <a:pt x="54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8" y="24"/>
                    <a:pt x="108" y="53"/>
                  </a:cubicBezTo>
                  <a:cubicBezTo>
                    <a:pt x="108" y="83"/>
                    <a:pt x="83" y="107"/>
                    <a:pt x="54" y="107"/>
                  </a:cubicBezTo>
                  <a:close/>
                  <a:moveTo>
                    <a:pt x="54" y="6"/>
                  </a:moveTo>
                  <a:cubicBezTo>
                    <a:pt x="28" y="6"/>
                    <a:pt x="7" y="27"/>
                    <a:pt x="7" y="53"/>
                  </a:cubicBezTo>
                  <a:cubicBezTo>
                    <a:pt x="7" y="79"/>
                    <a:pt x="28" y="100"/>
                    <a:pt x="54" y="100"/>
                  </a:cubicBezTo>
                  <a:cubicBezTo>
                    <a:pt x="80" y="100"/>
                    <a:pt x="101" y="79"/>
                    <a:pt x="101" y="53"/>
                  </a:cubicBezTo>
                  <a:cubicBezTo>
                    <a:pt x="101" y="27"/>
                    <a:pt x="80" y="6"/>
                    <a:pt x="54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7" name="Freeform 991">
              <a:extLst>
                <a:ext uri="{FF2B5EF4-FFF2-40B4-BE49-F238E27FC236}">
                  <a16:creationId xmlns:a16="http://schemas.microsoft.com/office/drawing/2014/main" id="{E0A17A2A-69DA-4CA8-95B1-1B1FF36D27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9204" y="3893734"/>
              <a:ext cx="134046" cy="134046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7 h 74"/>
                <a:gd name="T12" fmla="*/ 7 w 74"/>
                <a:gd name="T13" fmla="*/ 37 h 74"/>
                <a:gd name="T14" fmla="*/ 37 w 74"/>
                <a:gd name="T15" fmla="*/ 67 h 74"/>
                <a:gd name="T16" fmla="*/ 67 w 74"/>
                <a:gd name="T17" fmla="*/ 37 h 74"/>
                <a:gd name="T18" fmla="*/ 37 w 74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7"/>
                  </a:moveTo>
                  <a:cubicBezTo>
                    <a:pt x="20" y="7"/>
                    <a:pt x="7" y="21"/>
                    <a:pt x="7" y="37"/>
                  </a:cubicBezTo>
                  <a:cubicBezTo>
                    <a:pt x="7" y="54"/>
                    <a:pt x="20" y="67"/>
                    <a:pt x="37" y="67"/>
                  </a:cubicBezTo>
                  <a:cubicBezTo>
                    <a:pt x="53" y="67"/>
                    <a:pt x="67" y="54"/>
                    <a:pt x="67" y="37"/>
                  </a:cubicBezTo>
                  <a:cubicBezTo>
                    <a:pt x="67" y="21"/>
                    <a:pt x="53" y="7"/>
                    <a:pt x="37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8" name="Freeform 992">
              <a:extLst>
                <a:ext uri="{FF2B5EF4-FFF2-40B4-BE49-F238E27FC236}">
                  <a16:creationId xmlns:a16="http://schemas.microsoft.com/office/drawing/2014/main" id="{2F885D76-070C-4F47-BEBE-2E1AFB694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2004" y="3864649"/>
              <a:ext cx="193482" cy="194746"/>
            </a:xfrm>
            <a:custGeom>
              <a:avLst/>
              <a:gdLst>
                <a:gd name="T0" fmla="*/ 54 w 107"/>
                <a:gd name="T1" fmla="*/ 107 h 107"/>
                <a:gd name="T2" fmla="*/ 0 w 107"/>
                <a:gd name="T3" fmla="*/ 53 h 107"/>
                <a:gd name="T4" fmla="*/ 54 w 107"/>
                <a:gd name="T5" fmla="*/ 0 h 107"/>
                <a:gd name="T6" fmla="*/ 107 w 107"/>
                <a:gd name="T7" fmla="*/ 53 h 107"/>
                <a:gd name="T8" fmla="*/ 54 w 107"/>
                <a:gd name="T9" fmla="*/ 107 h 107"/>
                <a:gd name="T10" fmla="*/ 54 w 107"/>
                <a:gd name="T11" fmla="*/ 6 h 107"/>
                <a:gd name="T12" fmla="*/ 7 w 107"/>
                <a:gd name="T13" fmla="*/ 53 h 107"/>
                <a:gd name="T14" fmla="*/ 54 w 107"/>
                <a:gd name="T15" fmla="*/ 100 h 107"/>
                <a:gd name="T16" fmla="*/ 101 w 107"/>
                <a:gd name="T17" fmla="*/ 53 h 107"/>
                <a:gd name="T18" fmla="*/ 54 w 107"/>
                <a:gd name="T19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7">
                  <a:moveTo>
                    <a:pt x="54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7" y="24"/>
                    <a:pt x="107" y="53"/>
                  </a:cubicBezTo>
                  <a:cubicBezTo>
                    <a:pt x="107" y="83"/>
                    <a:pt x="83" y="107"/>
                    <a:pt x="54" y="107"/>
                  </a:cubicBezTo>
                  <a:close/>
                  <a:moveTo>
                    <a:pt x="54" y="6"/>
                  </a:moveTo>
                  <a:cubicBezTo>
                    <a:pt x="28" y="6"/>
                    <a:pt x="7" y="27"/>
                    <a:pt x="7" y="53"/>
                  </a:cubicBezTo>
                  <a:cubicBezTo>
                    <a:pt x="7" y="79"/>
                    <a:pt x="28" y="100"/>
                    <a:pt x="54" y="100"/>
                  </a:cubicBezTo>
                  <a:cubicBezTo>
                    <a:pt x="80" y="100"/>
                    <a:pt x="101" y="79"/>
                    <a:pt x="101" y="53"/>
                  </a:cubicBezTo>
                  <a:cubicBezTo>
                    <a:pt x="101" y="27"/>
                    <a:pt x="80" y="6"/>
                    <a:pt x="54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99" name="Freeform 993">
              <a:extLst>
                <a:ext uri="{FF2B5EF4-FFF2-40B4-BE49-F238E27FC236}">
                  <a16:creationId xmlns:a16="http://schemas.microsoft.com/office/drawing/2014/main" id="{23DD9C64-2324-4F1F-8E86-E409A24EC7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2354" y="3893734"/>
              <a:ext cx="135311" cy="134046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7 h 74"/>
                <a:gd name="T12" fmla="*/ 7 w 74"/>
                <a:gd name="T13" fmla="*/ 37 h 74"/>
                <a:gd name="T14" fmla="*/ 37 w 74"/>
                <a:gd name="T15" fmla="*/ 67 h 74"/>
                <a:gd name="T16" fmla="*/ 67 w 74"/>
                <a:gd name="T17" fmla="*/ 37 h 74"/>
                <a:gd name="T18" fmla="*/ 37 w 74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7"/>
                  </a:moveTo>
                  <a:cubicBezTo>
                    <a:pt x="20" y="7"/>
                    <a:pt x="7" y="21"/>
                    <a:pt x="7" y="37"/>
                  </a:cubicBezTo>
                  <a:cubicBezTo>
                    <a:pt x="7" y="54"/>
                    <a:pt x="20" y="67"/>
                    <a:pt x="37" y="67"/>
                  </a:cubicBezTo>
                  <a:cubicBezTo>
                    <a:pt x="53" y="67"/>
                    <a:pt x="67" y="54"/>
                    <a:pt x="67" y="37"/>
                  </a:cubicBezTo>
                  <a:cubicBezTo>
                    <a:pt x="67" y="21"/>
                    <a:pt x="53" y="7"/>
                    <a:pt x="37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0" name="Freeform 994">
              <a:extLst>
                <a:ext uri="{FF2B5EF4-FFF2-40B4-BE49-F238E27FC236}">
                  <a16:creationId xmlns:a16="http://schemas.microsoft.com/office/drawing/2014/main" id="{95B95F05-39E7-43F1-A3CC-461A74F9BB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8639" y="3817859"/>
              <a:ext cx="140369" cy="150486"/>
            </a:xfrm>
            <a:custGeom>
              <a:avLst/>
              <a:gdLst>
                <a:gd name="T0" fmla="*/ 67 w 77"/>
                <a:gd name="T1" fmla="*/ 83 h 83"/>
                <a:gd name="T2" fmla="*/ 4 w 77"/>
                <a:gd name="T3" fmla="*/ 83 h 83"/>
                <a:gd name="T4" fmla="*/ 1 w 77"/>
                <a:gd name="T5" fmla="*/ 81 h 83"/>
                <a:gd name="T6" fmla="*/ 1 w 77"/>
                <a:gd name="T7" fmla="*/ 78 h 83"/>
                <a:gd name="T8" fmla="*/ 38 w 77"/>
                <a:gd name="T9" fmla="*/ 2 h 83"/>
                <a:gd name="T10" fmla="*/ 42 w 77"/>
                <a:gd name="T11" fmla="*/ 0 h 83"/>
                <a:gd name="T12" fmla="*/ 42 w 77"/>
                <a:gd name="T13" fmla="*/ 0 h 83"/>
                <a:gd name="T14" fmla="*/ 45 w 77"/>
                <a:gd name="T15" fmla="*/ 2 h 83"/>
                <a:gd name="T16" fmla="*/ 77 w 77"/>
                <a:gd name="T17" fmla="*/ 67 h 83"/>
                <a:gd name="T18" fmla="*/ 77 w 77"/>
                <a:gd name="T19" fmla="*/ 69 h 83"/>
                <a:gd name="T20" fmla="*/ 75 w 77"/>
                <a:gd name="T21" fmla="*/ 71 h 83"/>
                <a:gd name="T22" fmla="*/ 70 w 77"/>
                <a:gd name="T23" fmla="*/ 79 h 83"/>
                <a:gd name="T24" fmla="*/ 67 w 77"/>
                <a:gd name="T25" fmla="*/ 83 h 83"/>
                <a:gd name="T26" fmla="*/ 9 w 77"/>
                <a:gd name="T27" fmla="*/ 76 h 83"/>
                <a:gd name="T28" fmla="*/ 64 w 77"/>
                <a:gd name="T29" fmla="*/ 76 h 83"/>
                <a:gd name="T30" fmla="*/ 69 w 77"/>
                <a:gd name="T31" fmla="*/ 67 h 83"/>
                <a:gd name="T32" fmla="*/ 42 w 77"/>
                <a:gd name="T33" fmla="*/ 11 h 83"/>
                <a:gd name="T34" fmla="*/ 9 w 77"/>
                <a:gd name="T35" fmla="*/ 7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" h="83">
                  <a:moveTo>
                    <a:pt x="67" y="83"/>
                  </a:moveTo>
                  <a:cubicBezTo>
                    <a:pt x="4" y="83"/>
                    <a:pt x="4" y="83"/>
                    <a:pt x="4" y="83"/>
                  </a:cubicBezTo>
                  <a:cubicBezTo>
                    <a:pt x="3" y="83"/>
                    <a:pt x="2" y="82"/>
                    <a:pt x="1" y="81"/>
                  </a:cubicBezTo>
                  <a:cubicBezTo>
                    <a:pt x="0" y="80"/>
                    <a:pt x="0" y="79"/>
                    <a:pt x="1" y="78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9" y="1"/>
                    <a:pt x="40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5" y="2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77" y="67"/>
                    <a:pt x="77" y="68"/>
                    <a:pt x="77" y="69"/>
                  </a:cubicBezTo>
                  <a:cubicBezTo>
                    <a:pt x="77" y="70"/>
                    <a:pt x="76" y="71"/>
                    <a:pt x="75" y="71"/>
                  </a:cubicBezTo>
                  <a:cubicBezTo>
                    <a:pt x="72" y="73"/>
                    <a:pt x="70" y="76"/>
                    <a:pt x="70" y="79"/>
                  </a:cubicBezTo>
                  <a:cubicBezTo>
                    <a:pt x="70" y="81"/>
                    <a:pt x="69" y="83"/>
                    <a:pt x="67" y="83"/>
                  </a:cubicBezTo>
                  <a:close/>
                  <a:moveTo>
                    <a:pt x="9" y="76"/>
                  </a:moveTo>
                  <a:cubicBezTo>
                    <a:pt x="64" y="76"/>
                    <a:pt x="64" y="76"/>
                    <a:pt x="64" y="76"/>
                  </a:cubicBezTo>
                  <a:cubicBezTo>
                    <a:pt x="64" y="72"/>
                    <a:pt x="66" y="69"/>
                    <a:pt x="69" y="67"/>
                  </a:cubicBezTo>
                  <a:cubicBezTo>
                    <a:pt x="42" y="11"/>
                    <a:pt x="42" y="11"/>
                    <a:pt x="42" y="11"/>
                  </a:cubicBezTo>
                  <a:lnTo>
                    <a:pt x="9" y="7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1" name="Freeform 995">
              <a:extLst>
                <a:ext uri="{FF2B5EF4-FFF2-40B4-BE49-F238E27FC236}">
                  <a16:creationId xmlns:a16="http://schemas.microsoft.com/office/drawing/2014/main" id="{61259E3C-4768-4E1E-8E16-9D2B640390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8192" y="3817859"/>
              <a:ext cx="188423" cy="132781"/>
            </a:xfrm>
            <a:custGeom>
              <a:avLst/>
              <a:gdLst>
                <a:gd name="T0" fmla="*/ 49 w 104"/>
                <a:gd name="T1" fmla="*/ 73 h 73"/>
                <a:gd name="T2" fmla="*/ 47 w 104"/>
                <a:gd name="T3" fmla="*/ 72 h 73"/>
                <a:gd name="T4" fmla="*/ 37 w 104"/>
                <a:gd name="T5" fmla="*/ 71 h 73"/>
                <a:gd name="T6" fmla="*/ 33 w 104"/>
                <a:gd name="T7" fmla="*/ 70 h 73"/>
                <a:gd name="T8" fmla="*/ 0 w 104"/>
                <a:gd name="T9" fmla="*/ 5 h 73"/>
                <a:gd name="T10" fmla="*/ 1 w 104"/>
                <a:gd name="T11" fmla="*/ 2 h 73"/>
                <a:gd name="T12" fmla="*/ 4 w 104"/>
                <a:gd name="T13" fmla="*/ 0 h 73"/>
                <a:gd name="T14" fmla="*/ 100 w 104"/>
                <a:gd name="T15" fmla="*/ 0 h 73"/>
                <a:gd name="T16" fmla="*/ 103 w 104"/>
                <a:gd name="T17" fmla="*/ 2 h 73"/>
                <a:gd name="T18" fmla="*/ 103 w 104"/>
                <a:gd name="T19" fmla="*/ 6 h 73"/>
                <a:gd name="T20" fmla="*/ 52 w 104"/>
                <a:gd name="T21" fmla="*/ 71 h 73"/>
                <a:gd name="T22" fmla="*/ 49 w 104"/>
                <a:gd name="T23" fmla="*/ 73 h 73"/>
                <a:gd name="T24" fmla="*/ 41 w 104"/>
                <a:gd name="T25" fmla="*/ 63 h 73"/>
                <a:gd name="T26" fmla="*/ 48 w 104"/>
                <a:gd name="T27" fmla="*/ 65 h 73"/>
                <a:gd name="T28" fmla="*/ 93 w 104"/>
                <a:gd name="T29" fmla="*/ 7 h 73"/>
                <a:gd name="T30" fmla="*/ 9 w 104"/>
                <a:gd name="T31" fmla="*/ 7 h 73"/>
                <a:gd name="T32" fmla="*/ 37 w 104"/>
                <a:gd name="T33" fmla="*/ 64 h 73"/>
                <a:gd name="T34" fmla="*/ 41 w 104"/>
                <a:gd name="T35" fmla="*/ 6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73">
                  <a:moveTo>
                    <a:pt x="49" y="73"/>
                  </a:moveTo>
                  <a:cubicBezTo>
                    <a:pt x="48" y="73"/>
                    <a:pt x="47" y="73"/>
                    <a:pt x="47" y="72"/>
                  </a:cubicBezTo>
                  <a:cubicBezTo>
                    <a:pt x="44" y="70"/>
                    <a:pt x="40" y="70"/>
                    <a:pt x="37" y="71"/>
                  </a:cubicBezTo>
                  <a:cubicBezTo>
                    <a:pt x="35" y="72"/>
                    <a:pt x="33" y="71"/>
                    <a:pt x="33" y="7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2" y="1"/>
                    <a:pt x="103" y="2"/>
                  </a:cubicBezTo>
                  <a:cubicBezTo>
                    <a:pt x="104" y="4"/>
                    <a:pt x="103" y="5"/>
                    <a:pt x="103" y="6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1" y="72"/>
                    <a:pt x="50" y="73"/>
                    <a:pt x="49" y="73"/>
                  </a:cubicBezTo>
                  <a:close/>
                  <a:moveTo>
                    <a:pt x="41" y="63"/>
                  </a:moveTo>
                  <a:cubicBezTo>
                    <a:pt x="44" y="63"/>
                    <a:pt x="46" y="64"/>
                    <a:pt x="48" y="65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9" y="63"/>
                    <a:pt x="40" y="63"/>
                    <a:pt x="41" y="6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2" name="Freeform 996">
              <a:extLst>
                <a:ext uri="{FF2B5EF4-FFF2-40B4-BE49-F238E27FC236}">
                  <a16:creationId xmlns:a16="http://schemas.microsoft.com/office/drawing/2014/main" id="{9958E49F-B3D7-4D8D-9990-60CEC0A01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3969" y="3758424"/>
              <a:ext cx="72081" cy="209921"/>
            </a:xfrm>
            <a:custGeom>
              <a:avLst/>
              <a:gdLst>
                <a:gd name="T0" fmla="*/ 20 w 40"/>
                <a:gd name="T1" fmla="*/ 116 h 116"/>
                <a:gd name="T2" fmla="*/ 17 w 40"/>
                <a:gd name="T3" fmla="*/ 115 h 116"/>
                <a:gd name="T4" fmla="*/ 0 w 40"/>
                <a:gd name="T5" fmla="*/ 72 h 116"/>
                <a:gd name="T6" fmla="*/ 0 w 40"/>
                <a:gd name="T7" fmla="*/ 3 h 116"/>
                <a:gd name="T8" fmla="*/ 3 w 40"/>
                <a:gd name="T9" fmla="*/ 0 h 116"/>
                <a:gd name="T10" fmla="*/ 26 w 40"/>
                <a:gd name="T11" fmla="*/ 0 h 116"/>
                <a:gd name="T12" fmla="*/ 40 w 40"/>
                <a:gd name="T13" fmla="*/ 14 h 116"/>
                <a:gd name="T14" fmla="*/ 26 w 40"/>
                <a:gd name="T15" fmla="*/ 28 h 116"/>
                <a:gd name="T16" fmla="*/ 24 w 40"/>
                <a:gd name="T17" fmla="*/ 28 h 116"/>
                <a:gd name="T18" fmla="*/ 20 w 40"/>
                <a:gd name="T19" fmla="*/ 24 h 116"/>
                <a:gd name="T20" fmla="*/ 24 w 40"/>
                <a:gd name="T21" fmla="*/ 21 h 116"/>
                <a:gd name="T22" fmla="*/ 26 w 40"/>
                <a:gd name="T23" fmla="*/ 21 h 116"/>
                <a:gd name="T24" fmla="*/ 33 w 40"/>
                <a:gd name="T25" fmla="*/ 14 h 116"/>
                <a:gd name="T26" fmla="*/ 26 w 40"/>
                <a:gd name="T27" fmla="*/ 7 h 116"/>
                <a:gd name="T28" fmla="*/ 6 w 40"/>
                <a:gd name="T29" fmla="*/ 7 h 116"/>
                <a:gd name="T30" fmla="*/ 6 w 40"/>
                <a:gd name="T31" fmla="*/ 72 h 116"/>
                <a:gd name="T32" fmla="*/ 22 w 40"/>
                <a:gd name="T33" fmla="*/ 110 h 116"/>
                <a:gd name="T34" fmla="*/ 22 w 40"/>
                <a:gd name="T35" fmla="*/ 115 h 116"/>
                <a:gd name="T36" fmla="*/ 20 w 40"/>
                <a:gd name="T3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116">
                  <a:moveTo>
                    <a:pt x="20" y="116"/>
                  </a:moveTo>
                  <a:cubicBezTo>
                    <a:pt x="19" y="116"/>
                    <a:pt x="18" y="115"/>
                    <a:pt x="17" y="115"/>
                  </a:cubicBezTo>
                  <a:cubicBezTo>
                    <a:pt x="6" y="103"/>
                    <a:pt x="0" y="88"/>
                    <a:pt x="0" y="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4" y="0"/>
                    <a:pt x="40" y="6"/>
                    <a:pt x="40" y="14"/>
                  </a:cubicBezTo>
                  <a:cubicBezTo>
                    <a:pt x="40" y="21"/>
                    <a:pt x="34" y="28"/>
                    <a:pt x="26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2" y="28"/>
                    <a:pt x="20" y="26"/>
                    <a:pt x="20" y="24"/>
                  </a:cubicBezTo>
                  <a:cubicBezTo>
                    <a:pt x="20" y="22"/>
                    <a:pt x="22" y="21"/>
                    <a:pt x="24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30" y="21"/>
                    <a:pt x="33" y="18"/>
                    <a:pt x="33" y="14"/>
                  </a:cubicBezTo>
                  <a:cubicBezTo>
                    <a:pt x="33" y="10"/>
                    <a:pt x="30" y="7"/>
                    <a:pt x="2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86"/>
                    <a:pt x="12" y="100"/>
                    <a:pt x="22" y="110"/>
                  </a:cubicBezTo>
                  <a:cubicBezTo>
                    <a:pt x="23" y="111"/>
                    <a:pt x="23" y="113"/>
                    <a:pt x="22" y="115"/>
                  </a:cubicBezTo>
                  <a:cubicBezTo>
                    <a:pt x="21" y="115"/>
                    <a:pt x="21" y="116"/>
                    <a:pt x="20" y="1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3" name="Freeform 997">
              <a:extLst>
                <a:ext uri="{FF2B5EF4-FFF2-40B4-BE49-F238E27FC236}">
                  <a16:creationId xmlns:a16="http://schemas.microsoft.com/office/drawing/2014/main" id="{6696BE35-3452-4D95-BA37-16C4DB75D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2666" y="3734397"/>
              <a:ext cx="96108" cy="58171"/>
            </a:xfrm>
            <a:custGeom>
              <a:avLst/>
              <a:gdLst>
                <a:gd name="T0" fmla="*/ 41 w 53"/>
                <a:gd name="T1" fmla="*/ 32 h 32"/>
                <a:gd name="T2" fmla="*/ 20 w 53"/>
                <a:gd name="T3" fmla="*/ 32 h 32"/>
                <a:gd name="T4" fmla="*/ 0 w 53"/>
                <a:gd name="T5" fmla="*/ 12 h 32"/>
                <a:gd name="T6" fmla="*/ 12 w 53"/>
                <a:gd name="T7" fmla="*/ 0 h 32"/>
                <a:gd name="T8" fmla="*/ 18 w 53"/>
                <a:gd name="T9" fmla="*/ 0 h 32"/>
                <a:gd name="T10" fmla="*/ 31 w 53"/>
                <a:gd name="T11" fmla="*/ 6 h 32"/>
                <a:gd name="T12" fmla="*/ 39 w 53"/>
                <a:gd name="T13" fmla="*/ 9 h 32"/>
                <a:gd name="T14" fmla="*/ 41 w 53"/>
                <a:gd name="T15" fmla="*/ 9 h 32"/>
                <a:gd name="T16" fmla="*/ 53 w 53"/>
                <a:gd name="T17" fmla="*/ 21 h 32"/>
                <a:gd name="T18" fmla="*/ 41 w 53"/>
                <a:gd name="T19" fmla="*/ 32 h 32"/>
                <a:gd name="T20" fmla="*/ 12 w 53"/>
                <a:gd name="T21" fmla="*/ 7 h 32"/>
                <a:gd name="T22" fmla="*/ 7 w 53"/>
                <a:gd name="T23" fmla="*/ 12 h 32"/>
                <a:gd name="T24" fmla="*/ 20 w 53"/>
                <a:gd name="T25" fmla="*/ 25 h 32"/>
                <a:gd name="T26" fmla="*/ 41 w 53"/>
                <a:gd name="T27" fmla="*/ 25 h 32"/>
                <a:gd name="T28" fmla="*/ 46 w 53"/>
                <a:gd name="T29" fmla="*/ 21 h 32"/>
                <a:gd name="T30" fmla="*/ 41 w 53"/>
                <a:gd name="T31" fmla="*/ 16 h 32"/>
                <a:gd name="T32" fmla="*/ 39 w 53"/>
                <a:gd name="T33" fmla="*/ 16 h 32"/>
                <a:gd name="T34" fmla="*/ 26 w 53"/>
                <a:gd name="T35" fmla="*/ 10 h 32"/>
                <a:gd name="T36" fmla="*/ 18 w 53"/>
                <a:gd name="T37" fmla="*/ 7 h 32"/>
                <a:gd name="T38" fmla="*/ 12 w 53"/>
                <a:gd name="T3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2">
                  <a:moveTo>
                    <a:pt x="41" y="32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9" y="32"/>
                    <a:pt x="0" y="23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8" y="2"/>
                    <a:pt x="31" y="6"/>
                  </a:cubicBezTo>
                  <a:cubicBezTo>
                    <a:pt x="33" y="8"/>
                    <a:pt x="36" y="9"/>
                    <a:pt x="39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8" y="9"/>
                    <a:pt x="53" y="14"/>
                    <a:pt x="53" y="21"/>
                  </a:cubicBezTo>
                  <a:cubicBezTo>
                    <a:pt x="53" y="27"/>
                    <a:pt x="48" y="32"/>
                    <a:pt x="41" y="32"/>
                  </a:cubicBezTo>
                  <a:close/>
                  <a:moveTo>
                    <a:pt x="12" y="7"/>
                  </a:moveTo>
                  <a:cubicBezTo>
                    <a:pt x="9" y="7"/>
                    <a:pt x="7" y="9"/>
                    <a:pt x="7" y="12"/>
                  </a:cubicBezTo>
                  <a:cubicBezTo>
                    <a:pt x="7" y="19"/>
                    <a:pt x="13" y="25"/>
                    <a:pt x="2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4" y="25"/>
                    <a:pt x="46" y="23"/>
                    <a:pt x="46" y="21"/>
                  </a:cubicBezTo>
                  <a:cubicBezTo>
                    <a:pt x="46" y="18"/>
                    <a:pt x="44" y="16"/>
                    <a:pt x="41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4" y="16"/>
                    <a:pt x="29" y="14"/>
                    <a:pt x="26" y="10"/>
                  </a:cubicBezTo>
                  <a:cubicBezTo>
                    <a:pt x="24" y="8"/>
                    <a:pt x="21" y="7"/>
                    <a:pt x="18" y="7"/>
                  </a:cubicBezTo>
                  <a:lnTo>
                    <a:pt x="12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4" name="Freeform 998">
              <a:extLst>
                <a:ext uri="{FF2B5EF4-FFF2-40B4-BE49-F238E27FC236}">
                  <a16:creationId xmlns:a16="http://schemas.microsoft.com/office/drawing/2014/main" id="{141E41EF-7A1D-495E-8EA9-EA7114944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8192" y="3779922"/>
              <a:ext cx="12646" cy="50583"/>
            </a:xfrm>
            <a:custGeom>
              <a:avLst/>
              <a:gdLst>
                <a:gd name="T0" fmla="*/ 4 w 7"/>
                <a:gd name="T1" fmla="*/ 28 h 28"/>
                <a:gd name="T2" fmla="*/ 0 w 7"/>
                <a:gd name="T3" fmla="*/ 25 h 28"/>
                <a:gd name="T4" fmla="*/ 0 w 7"/>
                <a:gd name="T5" fmla="*/ 4 h 28"/>
                <a:gd name="T6" fmla="*/ 4 w 7"/>
                <a:gd name="T7" fmla="*/ 0 h 28"/>
                <a:gd name="T8" fmla="*/ 7 w 7"/>
                <a:gd name="T9" fmla="*/ 4 h 28"/>
                <a:gd name="T10" fmla="*/ 7 w 7"/>
                <a:gd name="T11" fmla="*/ 25 h 28"/>
                <a:gd name="T12" fmla="*/ 4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4" y="28"/>
                  </a:moveTo>
                  <a:cubicBezTo>
                    <a:pt x="2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7"/>
                    <a:pt x="5" y="28"/>
                    <a:pt x="4" y="2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5" name="Freeform 999">
              <a:extLst>
                <a:ext uri="{FF2B5EF4-FFF2-40B4-BE49-F238E27FC236}">
                  <a16:creationId xmlns:a16="http://schemas.microsoft.com/office/drawing/2014/main" id="{2AB7D13C-5967-46CD-990D-9B6EA16266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3717" y="3930407"/>
              <a:ext cx="56906" cy="59436"/>
            </a:xfrm>
            <a:custGeom>
              <a:avLst/>
              <a:gdLst>
                <a:gd name="T0" fmla="*/ 16 w 32"/>
                <a:gd name="T1" fmla="*/ 33 h 33"/>
                <a:gd name="T2" fmla="*/ 0 w 32"/>
                <a:gd name="T3" fmla="*/ 17 h 33"/>
                <a:gd name="T4" fmla="*/ 9 w 32"/>
                <a:gd name="T5" fmla="*/ 3 h 33"/>
                <a:gd name="T6" fmla="*/ 26 w 32"/>
                <a:gd name="T7" fmla="*/ 5 h 33"/>
                <a:gd name="T8" fmla="*/ 32 w 32"/>
                <a:gd name="T9" fmla="*/ 17 h 33"/>
                <a:gd name="T10" fmla="*/ 16 w 32"/>
                <a:gd name="T11" fmla="*/ 33 h 33"/>
                <a:gd name="T12" fmla="*/ 16 w 32"/>
                <a:gd name="T13" fmla="*/ 8 h 33"/>
                <a:gd name="T14" fmla="*/ 12 w 32"/>
                <a:gd name="T15" fmla="*/ 9 h 33"/>
                <a:gd name="T16" fmla="*/ 7 w 32"/>
                <a:gd name="T17" fmla="*/ 17 h 33"/>
                <a:gd name="T18" fmla="*/ 16 w 32"/>
                <a:gd name="T19" fmla="*/ 26 h 33"/>
                <a:gd name="T20" fmla="*/ 25 w 32"/>
                <a:gd name="T21" fmla="*/ 17 h 33"/>
                <a:gd name="T22" fmla="*/ 22 w 32"/>
                <a:gd name="T23" fmla="*/ 10 h 33"/>
                <a:gd name="T24" fmla="*/ 16 w 32"/>
                <a:gd name="T25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16" y="33"/>
                  </a:moveTo>
                  <a:cubicBezTo>
                    <a:pt x="7" y="33"/>
                    <a:pt x="0" y="26"/>
                    <a:pt x="0" y="17"/>
                  </a:cubicBezTo>
                  <a:cubicBezTo>
                    <a:pt x="0" y="11"/>
                    <a:pt x="4" y="6"/>
                    <a:pt x="9" y="3"/>
                  </a:cubicBezTo>
                  <a:cubicBezTo>
                    <a:pt x="15" y="0"/>
                    <a:pt x="21" y="1"/>
                    <a:pt x="26" y="5"/>
                  </a:cubicBezTo>
                  <a:cubicBezTo>
                    <a:pt x="30" y="8"/>
                    <a:pt x="32" y="12"/>
                    <a:pt x="32" y="17"/>
                  </a:cubicBezTo>
                  <a:cubicBezTo>
                    <a:pt x="32" y="26"/>
                    <a:pt x="25" y="33"/>
                    <a:pt x="16" y="33"/>
                  </a:cubicBezTo>
                  <a:close/>
                  <a:moveTo>
                    <a:pt x="16" y="8"/>
                  </a:moveTo>
                  <a:cubicBezTo>
                    <a:pt x="15" y="8"/>
                    <a:pt x="13" y="8"/>
                    <a:pt x="12" y="9"/>
                  </a:cubicBezTo>
                  <a:cubicBezTo>
                    <a:pt x="9" y="11"/>
                    <a:pt x="7" y="14"/>
                    <a:pt x="7" y="17"/>
                  </a:cubicBezTo>
                  <a:cubicBezTo>
                    <a:pt x="7" y="22"/>
                    <a:pt x="11" y="26"/>
                    <a:pt x="16" y="26"/>
                  </a:cubicBezTo>
                  <a:cubicBezTo>
                    <a:pt x="21" y="26"/>
                    <a:pt x="25" y="22"/>
                    <a:pt x="25" y="17"/>
                  </a:cubicBezTo>
                  <a:cubicBezTo>
                    <a:pt x="25" y="14"/>
                    <a:pt x="24" y="12"/>
                    <a:pt x="22" y="10"/>
                  </a:cubicBezTo>
                  <a:cubicBezTo>
                    <a:pt x="20" y="9"/>
                    <a:pt x="18" y="8"/>
                    <a:pt x="16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4" name="Agrupar 1713">
            <a:extLst>
              <a:ext uri="{FF2B5EF4-FFF2-40B4-BE49-F238E27FC236}">
                <a16:creationId xmlns:a16="http://schemas.microsoft.com/office/drawing/2014/main" id="{B27134F7-547D-4B2A-96B1-CACF97660C48}"/>
              </a:ext>
            </a:extLst>
          </p:cNvPr>
          <p:cNvGrpSpPr/>
          <p:nvPr/>
        </p:nvGrpSpPr>
        <p:grpSpPr>
          <a:xfrm>
            <a:off x="10380692" y="2932649"/>
            <a:ext cx="405932" cy="405933"/>
            <a:chOff x="11062304" y="2932649"/>
            <a:chExt cx="405932" cy="405933"/>
          </a:xfrm>
        </p:grpSpPr>
        <p:sp>
          <p:nvSpPr>
            <p:cNvPr id="1606" name="Freeform 1000">
              <a:extLst>
                <a:ext uri="{FF2B5EF4-FFF2-40B4-BE49-F238E27FC236}">
                  <a16:creationId xmlns:a16="http://schemas.microsoft.com/office/drawing/2014/main" id="{E62108F2-45D5-4715-8B80-FE59685D3B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3802" y="3091987"/>
              <a:ext cx="362936" cy="246594"/>
            </a:xfrm>
            <a:custGeom>
              <a:avLst/>
              <a:gdLst>
                <a:gd name="T0" fmla="*/ 180 w 200"/>
                <a:gd name="T1" fmla="*/ 136 h 136"/>
                <a:gd name="T2" fmla="*/ 20 w 200"/>
                <a:gd name="T3" fmla="*/ 136 h 136"/>
                <a:gd name="T4" fmla="*/ 0 w 200"/>
                <a:gd name="T5" fmla="*/ 116 h 136"/>
                <a:gd name="T6" fmla="*/ 0 w 200"/>
                <a:gd name="T7" fmla="*/ 99 h 136"/>
                <a:gd name="T8" fmla="*/ 4 w 200"/>
                <a:gd name="T9" fmla="*/ 96 h 136"/>
                <a:gd name="T10" fmla="*/ 63 w 200"/>
                <a:gd name="T11" fmla="*/ 96 h 136"/>
                <a:gd name="T12" fmla="*/ 63 w 200"/>
                <a:gd name="T13" fmla="*/ 86 h 136"/>
                <a:gd name="T14" fmla="*/ 4 w 200"/>
                <a:gd name="T15" fmla="*/ 86 h 136"/>
                <a:gd name="T16" fmla="*/ 0 w 200"/>
                <a:gd name="T17" fmla="*/ 83 h 136"/>
                <a:gd name="T18" fmla="*/ 0 w 200"/>
                <a:gd name="T19" fmla="*/ 16 h 136"/>
                <a:gd name="T20" fmla="*/ 16 w 200"/>
                <a:gd name="T21" fmla="*/ 0 h 136"/>
                <a:gd name="T22" fmla="*/ 66 w 200"/>
                <a:gd name="T23" fmla="*/ 0 h 136"/>
                <a:gd name="T24" fmla="*/ 70 w 200"/>
                <a:gd name="T25" fmla="*/ 3 h 136"/>
                <a:gd name="T26" fmla="*/ 70 w 200"/>
                <a:gd name="T27" fmla="*/ 12 h 136"/>
                <a:gd name="T28" fmla="*/ 130 w 200"/>
                <a:gd name="T29" fmla="*/ 12 h 136"/>
                <a:gd name="T30" fmla="*/ 130 w 200"/>
                <a:gd name="T31" fmla="*/ 3 h 136"/>
                <a:gd name="T32" fmla="*/ 133 w 200"/>
                <a:gd name="T33" fmla="*/ 0 h 136"/>
                <a:gd name="T34" fmla="*/ 184 w 200"/>
                <a:gd name="T35" fmla="*/ 0 h 136"/>
                <a:gd name="T36" fmla="*/ 200 w 200"/>
                <a:gd name="T37" fmla="*/ 16 h 136"/>
                <a:gd name="T38" fmla="*/ 200 w 200"/>
                <a:gd name="T39" fmla="*/ 83 h 136"/>
                <a:gd name="T40" fmla="*/ 196 w 200"/>
                <a:gd name="T41" fmla="*/ 86 h 136"/>
                <a:gd name="T42" fmla="*/ 137 w 200"/>
                <a:gd name="T43" fmla="*/ 86 h 136"/>
                <a:gd name="T44" fmla="*/ 137 w 200"/>
                <a:gd name="T45" fmla="*/ 96 h 136"/>
                <a:gd name="T46" fmla="*/ 196 w 200"/>
                <a:gd name="T47" fmla="*/ 96 h 136"/>
                <a:gd name="T48" fmla="*/ 200 w 200"/>
                <a:gd name="T49" fmla="*/ 99 h 136"/>
                <a:gd name="T50" fmla="*/ 200 w 200"/>
                <a:gd name="T51" fmla="*/ 116 h 136"/>
                <a:gd name="T52" fmla="*/ 180 w 200"/>
                <a:gd name="T53" fmla="*/ 136 h 136"/>
                <a:gd name="T54" fmla="*/ 7 w 200"/>
                <a:gd name="T55" fmla="*/ 103 h 136"/>
                <a:gd name="T56" fmla="*/ 7 w 200"/>
                <a:gd name="T57" fmla="*/ 116 h 136"/>
                <a:gd name="T58" fmla="*/ 20 w 200"/>
                <a:gd name="T59" fmla="*/ 130 h 136"/>
                <a:gd name="T60" fmla="*/ 180 w 200"/>
                <a:gd name="T61" fmla="*/ 130 h 136"/>
                <a:gd name="T62" fmla="*/ 193 w 200"/>
                <a:gd name="T63" fmla="*/ 116 h 136"/>
                <a:gd name="T64" fmla="*/ 193 w 200"/>
                <a:gd name="T65" fmla="*/ 103 h 136"/>
                <a:gd name="T66" fmla="*/ 133 w 200"/>
                <a:gd name="T67" fmla="*/ 103 h 136"/>
                <a:gd name="T68" fmla="*/ 130 w 200"/>
                <a:gd name="T69" fmla="*/ 99 h 136"/>
                <a:gd name="T70" fmla="*/ 130 w 200"/>
                <a:gd name="T71" fmla="*/ 83 h 136"/>
                <a:gd name="T72" fmla="*/ 133 w 200"/>
                <a:gd name="T73" fmla="*/ 79 h 136"/>
                <a:gd name="T74" fmla="*/ 193 w 200"/>
                <a:gd name="T75" fmla="*/ 79 h 136"/>
                <a:gd name="T76" fmla="*/ 193 w 200"/>
                <a:gd name="T77" fmla="*/ 16 h 136"/>
                <a:gd name="T78" fmla="*/ 184 w 200"/>
                <a:gd name="T79" fmla="*/ 7 h 136"/>
                <a:gd name="T80" fmla="*/ 137 w 200"/>
                <a:gd name="T81" fmla="*/ 7 h 136"/>
                <a:gd name="T82" fmla="*/ 137 w 200"/>
                <a:gd name="T83" fmla="*/ 16 h 136"/>
                <a:gd name="T84" fmla="*/ 133 w 200"/>
                <a:gd name="T85" fmla="*/ 19 h 136"/>
                <a:gd name="T86" fmla="*/ 66 w 200"/>
                <a:gd name="T87" fmla="*/ 19 h 136"/>
                <a:gd name="T88" fmla="*/ 63 w 200"/>
                <a:gd name="T89" fmla="*/ 16 h 136"/>
                <a:gd name="T90" fmla="*/ 63 w 200"/>
                <a:gd name="T91" fmla="*/ 7 h 136"/>
                <a:gd name="T92" fmla="*/ 16 w 200"/>
                <a:gd name="T93" fmla="*/ 7 h 136"/>
                <a:gd name="T94" fmla="*/ 7 w 200"/>
                <a:gd name="T95" fmla="*/ 16 h 136"/>
                <a:gd name="T96" fmla="*/ 7 w 200"/>
                <a:gd name="T97" fmla="*/ 79 h 136"/>
                <a:gd name="T98" fmla="*/ 66 w 200"/>
                <a:gd name="T99" fmla="*/ 79 h 136"/>
                <a:gd name="T100" fmla="*/ 70 w 200"/>
                <a:gd name="T101" fmla="*/ 83 h 136"/>
                <a:gd name="T102" fmla="*/ 70 w 200"/>
                <a:gd name="T103" fmla="*/ 99 h 136"/>
                <a:gd name="T104" fmla="*/ 66 w 200"/>
                <a:gd name="T105" fmla="*/ 103 h 136"/>
                <a:gd name="T106" fmla="*/ 7 w 200"/>
                <a:gd name="T107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0" h="136">
                  <a:moveTo>
                    <a:pt x="180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9" y="136"/>
                    <a:pt x="0" y="127"/>
                    <a:pt x="0" y="116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2" y="86"/>
                    <a:pt x="0" y="85"/>
                    <a:pt x="0" y="8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1"/>
                    <a:pt x="70" y="3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30" y="3"/>
                    <a:pt x="130" y="3"/>
                    <a:pt x="130" y="3"/>
                  </a:cubicBezTo>
                  <a:cubicBezTo>
                    <a:pt x="130" y="1"/>
                    <a:pt x="132" y="0"/>
                    <a:pt x="133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93" y="0"/>
                    <a:pt x="200" y="7"/>
                    <a:pt x="200" y="16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5"/>
                    <a:pt x="198" y="86"/>
                    <a:pt x="196" y="86"/>
                  </a:cubicBezTo>
                  <a:cubicBezTo>
                    <a:pt x="137" y="86"/>
                    <a:pt x="137" y="86"/>
                    <a:pt x="137" y="86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198" y="96"/>
                    <a:pt x="200" y="98"/>
                    <a:pt x="200" y="99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0" y="127"/>
                    <a:pt x="191" y="136"/>
                    <a:pt x="180" y="136"/>
                  </a:cubicBezTo>
                  <a:close/>
                  <a:moveTo>
                    <a:pt x="7" y="103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7" y="124"/>
                    <a:pt x="13" y="130"/>
                    <a:pt x="20" y="130"/>
                  </a:cubicBezTo>
                  <a:cubicBezTo>
                    <a:pt x="180" y="130"/>
                    <a:pt x="180" y="130"/>
                    <a:pt x="180" y="130"/>
                  </a:cubicBezTo>
                  <a:cubicBezTo>
                    <a:pt x="187" y="130"/>
                    <a:pt x="193" y="124"/>
                    <a:pt x="193" y="116"/>
                  </a:cubicBezTo>
                  <a:cubicBezTo>
                    <a:pt x="193" y="103"/>
                    <a:pt x="193" y="103"/>
                    <a:pt x="193" y="103"/>
                  </a:cubicBezTo>
                  <a:cubicBezTo>
                    <a:pt x="133" y="103"/>
                    <a:pt x="133" y="103"/>
                    <a:pt x="133" y="103"/>
                  </a:cubicBezTo>
                  <a:cubicBezTo>
                    <a:pt x="132" y="103"/>
                    <a:pt x="130" y="101"/>
                    <a:pt x="130" y="99"/>
                  </a:cubicBezTo>
                  <a:cubicBezTo>
                    <a:pt x="130" y="83"/>
                    <a:pt x="130" y="83"/>
                    <a:pt x="130" y="83"/>
                  </a:cubicBezTo>
                  <a:cubicBezTo>
                    <a:pt x="130" y="81"/>
                    <a:pt x="132" y="79"/>
                    <a:pt x="133" y="79"/>
                  </a:cubicBezTo>
                  <a:cubicBezTo>
                    <a:pt x="193" y="79"/>
                    <a:pt x="193" y="79"/>
                    <a:pt x="193" y="79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3" y="11"/>
                    <a:pt x="189" y="7"/>
                    <a:pt x="184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37" y="18"/>
                    <a:pt x="135" y="19"/>
                    <a:pt x="133" y="1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5" y="19"/>
                    <a:pt x="63" y="18"/>
                    <a:pt x="63" y="16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1" y="7"/>
                    <a:pt x="7" y="11"/>
                    <a:pt x="7" y="16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8" y="79"/>
                    <a:pt x="70" y="81"/>
                    <a:pt x="70" y="83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101"/>
                    <a:pt x="68" y="103"/>
                    <a:pt x="66" y="103"/>
                  </a:cubicBezTo>
                  <a:lnTo>
                    <a:pt x="7" y="10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7" name="Freeform 1001">
              <a:extLst>
                <a:ext uri="{FF2B5EF4-FFF2-40B4-BE49-F238E27FC236}">
                  <a16:creationId xmlns:a16="http://schemas.microsoft.com/office/drawing/2014/main" id="{4E5A3284-7858-475D-81F7-56EEBA129C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8879" y="3145100"/>
              <a:ext cx="134046" cy="193482"/>
            </a:xfrm>
            <a:custGeom>
              <a:avLst/>
              <a:gdLst>
                <a:gd name="T0" fmla="*/ 70 w 74"/>
                <a:gd name="T1" fmla="*/ 107 h 107"/>
                <a:gd name="T2" fmla="*/ 3 w 74"/>
                <a:gd name="T3" fmla="*/ 107 h 107"/>
                <a:gd name="T4" fmla="*/ 0 w 74"/>
                <a:gd name="T5" fmla="*/ 104 h 107"/>
                <a:gd name="T6" fmla="*/ 0 w 74"/>
                <a:gd name="T7" fmla="*/ 3 h 107"/>
                <a:gd name="T8" fmla="*/ 3 w 74"/>
                <a:gd name="T9" fmla="*/ 0 h 107"/>
                <a:gd name="T10" fmla="*/ 70 w 74"/>
                <a:gd name="T11" fmla="*/ 0 h 107"/>
                <a:gd name="T12" fmla="*/ 74 w 74"/>
                <a:gd name="T13" fmla="*/ 3 h 107"/>
                <a:gd name="T14" fmla="*/ 74 w 74"/>
                <a:gd name="T15" fmla="*/ 104 h 107"/>
                <a:gd name="T16" fmla="*/ 70 w 74"/>
                <a:gd name="T17" fmla="*/ 107 h 107"/>
                <a:gd name="T18" fmla="*/ 7 w 74"/>
                <a:gd name="T19" fmla="*/ 101 h 107"/>
                <a:gd name="T20" fmla="*/ 67 w 74"/>
                <a:gd name="T21" fmla="*/ 101 h 107"/>
                <a:gd name="T22" fmla="*/ 67 w 74"/>
                <a:gd name="T23" fmla="*/ 7 h 107"/>
                <a:gd name="T24" fmla="*/ 7 w 74"/>
                <a:gd name="T25" fmla="*/ 7 h 107"/>
                <a:gd name="T26" fmla="*/ 7 w 74"/>
                <a:gd name="T2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107">
                  <a:moveTo>
                    <a:pt x="70" y="107"/>
                  </a:moveTo>
                  <a:cubicBezTo>
                    <a:pt x="3" y="107"/>
                    <a:pt x="3" y="107"/>
                    <a:pt x="3" y="107"/>
                  </a:cubicBezTo>
                  <a:cubicBezTo>
                    <a:pt x="2" y="107"/>
                    <a:pt x="0" y="106"/>
                    <a:pt x="0" y="10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74" y="106"/>
                    <a:pt x="72" y="107"/>
                    <a:pt x="70" y="107"/>
                  </a:cubicBezTo>
                  <a:close/>
                  <a:moveTo>
                    <a:pt x="7" y="101"/>
                  </a:moveTo>
                  <a:cubicBezTo>
                    <a:pt x="67" y="101"/>
                    <a:pt x="67" y="101"/>
                    <a:pt x="67" y="101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0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8" name="Freeform 1002">
              <a:extLst>
                <a:ext uri="{FF2B5EF4-FFF2-40B4-BE49-F238E27FC236}">
                  <a16:creationId xmlns:a16="http://schemas.microsoft.com/office/drawing/2014/main" id="{885F9AD2-AB3F-48BB-A98B-7244AEF033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20280" y="3236150"/>
              <a:ext cx="147956" cy="42996"/>
            </a:xfrm>
            <a:custGeom>
              <a:avLst/>
              <a:gdLst>
                <a:gd name="T0" fmla="*/ 71 w 82"/>
                <a:gd name="T1" fmla="*/ 24 h 24"/>
                <a:gd name="T2" fmla="*/ 3 w 82"/>
                <a:gd name="T3" fmla="*/ 24 h 24"/>
                <a:gd name="T4" fmla="*/ 0 w 82"/>
                <a:gd name="T5" fmla="*/ 20 h 24"/>
                <a:gd name="T6" fmla="*/ 0 w 82"/>
                <a:gd name="T7" fmla="*/ 4 h 24"/>
                <a:gd name="T8" fmla="*/ 3 w 82"/>
                <a:gd name="T9" fmla="*/ 0 h 24"/>
                <a:gd name="T10" fmla="*/ 71 w 82"/>
                <a:gd name="T11" fmla="*/ 0 h 24"/>
                <a:gd name="T12" fmla="*/ 82 w 82"/>
                <a:gd name="T13" fmla="*/ 12 h 24"/>
                <a:gd name="T14" fmla="*/ 79 w 82"/>
                <a:gd name="T15" fmla="*/ 20 h 24"/>
                <a:gd name="T16" fmla="*/ 71 w 82"/>
                <a:gd name="T17" fmla="*/ 24 h 24"/>
                <a:gd name="T18" fmla="*/ 7 w 82"/>
                <a:gd name="T19" fmla="*/ 17 h 24"/>
                <a:gd name="T20" fmla="*/ 71 w 82"/>
                <a:gd name="T21" fmla="*/ 17 h 24"/>
                <a:gd name="T22" fmla="*/ 74 w 82"/>
                <a:gd name="T23" fmla="*/ 16 h 24"/>
                <a:gd name="T24" fmla="*/ 75 w 82"/>
                <a:gd name="T25" fmla="*/ 12 h 24"/>
                <a:gd name="T26" fmla="*/ 71 w 82"/>
                <a:gd name="T27" fmla="*/ 7 h 24"/>
                <a:gd name="T28" fmla="*/ 7 w 82"/>
                <a:gd name="T29" fmla="*/ 7 h 24"/>
                <a:gd name="T30" fmla="*/ 7 w 82"/>
                <a:gd name="T31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24">
                  <a:moveTo>
                    <a:pt x="71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7" y="0"/>
                    <a:pt x="82" y="6"/>
                    <a:pt x="82" y="12"/>
                  </a:cubicBezTo>
                  <a:cubicBezTo>
                    <a:pt x="82" y="15"/>
                    <a:pt x="81" y="18"/>
                    <a:pt x="79" y="20"/>
                  </a:cubicBezTo>
                  <a:cubicBezTo>
                    <a:pt x="77" y="23"/>
                    <a:pt x="74" y="24"/>
                    <a:pt x="71" y="24"/>
                  </a:cubicBezTo>
                  <a:close/>
                  <a:moveTo>
                    <a:pt x="7" y="17"/>
                  </a:moveTo>
                  <a:cubicBezTo>
                    <a:pt x="71" y="17"/>
                    <a:pt x="71" y="17"/>
                    <a:pt x="71" y="17"/>
                  </a:cubicBezTo>
                  <a:cubicBezTo>
                    <a:pt x="72" y="17"/>
                    <a:pt x="73" y="17"/>
                    <a:pt x="74" y="16"/>
                  </a:cubicBezTo>
                  <a:cubicBezTo>
                    <a:pt x="75" y="15"/>
                    <a:pt x="75" y="13"/>
                    <a:pt x="75" y="12"/>
                  </a:cubicBezTo>
                  <a:cubicBezTo>
                    <a:pt x="75" y="9"/>
                    <a:pt x="73" y="7"/>
                    <a:pt x="71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9" name="Freeform 1003">
              <a:extLst>
                <a:ext uri="{FF2B5EF4-FFF2-40B4-BE49-F238E27FC236}">
                  <a16:creationId xmlns:a16="http://schemas.microsoft.com/office/drawing/2014/main" id="{E1B3305D-EB2D-440B-92D2-081BFB010A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2304" y="3236150"/>
              <a:ext cx="149221" cy="42996"/>
            </a:xfrm>
            <a:custGeom>
              <a:avLst/>
              <a:gdLst>
                <a:gd name="T0" fmla="*/ 78 w 82"/>
                <a:gd name="T1" fmla="*/ 24 h 24"/>
                <a:gd name="T2" fmla="*/ 11 w 82"/>
                <a:gd name="T3" fmla="*/ 24 h 24"/>
                <a:gd name="T4" fmla="*/ 0 w 82"/>
                <a:gd name="T5" fmla="*/ 12 h 24"/>
                <a:gd name="T6" fmla="*/ 3 w 82"/>
                <a:gd name="T7" fmla="*/ 4 h 24"/>
                <a:gd name="T8" fmla="*/ 11 w 82"/>
                <a:gd name="T9" fmla="*/ 0 h 24"/>
                <a:gd name="T10" fmla="*/ 78 w 82"/>
                <a:gd name="T11" fmla="*/ 0 h 24"/>
                <a:gd name="T12" fmla="*/ 82 w 82"/>
                <a:gd name="T13" fmla="*/ 4 h 24"/>
                <a:gd name="T14" fmla="*/ 82 w 82"/>
                <a:gd name="T15" fmla="*/ 20 h 24"/>
                <a:gd name="T16" fmla="*/ 78 w 82"/>
                <a:gd name="T17" fmla="*/ 24 h 24"/>
                <a:gd name="T18" fmla="*/ 11 w 82"/>
                <a:gd name="T19" fmla="*/ 7 h 24"/>
                <a:gd name="T20" fmla="*/ 8 w 82"/>
                <a:gd name="T21" fmla="*/ 9 h 24"/>
                <a:gd name="T22" fmla="*/ 6 w 82"/>
                <a:gd name="T23" fmla="*/ 12 h 24"/>
                <a:gd name="T24" fmla="*/ 11 w 82"/>
                <a:gd name="T25" fmla="*/ 17 h 24"/>
                <a:gd name="T26" fmla="*/ 75 w 82"/>
                <a:gd name="T27" fmla="*/ 17 h 24"/>
                <a:gd name="T28" fmla="*/ 75 w 82"/>
                <a:gd name="T29" fmla="*/ 7 h 24"/>
                <a:gd name="T30" fmla="*/ 11 w 82"/>
                <a:gd name="T3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24">
                  <a:moveTo>
                    <a:pt x="78" y="24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9"/>
                    <a:pt x="1" y="6"/>
                    <a:pt x="3" y="4"/>
                  </a:cubicBezTo>
                  <a:cubicBezTo>
                    <a:pt x="5" y="2"/>
                    <a:pt x="8" y="0"/>
                    <a:pt x="11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0" y="0"/>
                    <a:pt x="82" y="2"/>
                    <a:pt x="82" y="4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2"/>
                    <a:pt x="80" y="24"/>
                    <a:pt x="78" y="24"/>
                  </a:cubicBezTo>
                  <a:close/>
                  <a:moveTo>
                    <a:pt x="11" y="7"/>
                  </a:moveTo>
                  <a:cubicBezTo>
                    <a:pt x="10" y="7"/>
                    <a:pt x="9" y="8"/>
                    <a:pt x="8" y="9"/>
                  </a:cubicBezTo>
                  <a:cubicBezTo>
                    <a:pt x="7" y="10"/>
                    <a:pt x="6" y="11"/>
                    <a:pt x="6" y="12"/>
                  </a:cubicBezTo>
                  <a:cubicBezTo>
                    <a:pt x="6" y="15"/>
                    <a:pt x="9" y="17"/>
                    <a:pt x="11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7"/>
                    <a:pt x="75" y="7"/>
                    <a:pt x="75" y="7"/>
                  </a:cubicBezTo>
                  <a:lnTo>
                    <a:pt x="11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10" name="Freeform 1004">
              <a:extLst>
                <a:ext uri="{FF2B5EF4-FFF2-40B4-BE49-F238E27FC236}">
                  <a16:creationId xmlns:a16="http://schemas.microsoft.com/office/drawing/2014/main" id="{6745EF40-E7E3-4E42-8BBF-C1C94FD836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3802" y="3145100"/>
              <a:ext cx="127723" cy="103696"/>
            </a:xfrm>
            <a:custGeom>
              <a:avLst/>
              <a:gdLst>
                <a:gd name="T0" fmla="*/ 66 w 70"/>
                <a:gd name="T1" fmla="*/ 57 h 57"/>
                <a:gd name="T2" fmla="*/ 4 w 70"/>
                <a:gd name="T3" fmla="*/ 57 h 57"/>
                <a:gd name="T4" fmla="*/ 0 w 70"/>
                <a:gd name="T5" fmla="*/ 54 h 57"/>
                <a:gd name="T6" fmla="*/ 0 w 70"/>
                <a:gd name="T7" fmla="*/ 3 h 57"/>
                <a:gd name="T8" fmla="*/ 4 w 70"/>
                <a:gd name="T9" fmla="*/ 0 h 57"/>
                <a:gd name="T10" fmla="*/ 66 w 70"/>
                <a:gd name="T11" fmla="*/ 0 h 57"/>
                <a:gd name="T12" fmla="*/ 70 w 70"/>
                <a:gd name="T13" fmla="*/ 3 h 57"/>
                <a:gd name="T14" fmla="*/ 70 w 70"/>
                <a:gd name="T15" fmla="*/ 54 h 57"/>
                <a:gd name="T16" fmla="*/ 66 w 70"/>
                <a:gd name="T17" fmla="*/ 57 h 57"/>
                <a:gd name="T18" fmla="*/ 7 w 70"/>
                <a:gd name="T19" fmla="*/ 50 h 57"/>
                <a:gd name="T20" fmla="*/ 63 w 70"/>
                <a:gd name="T21" fmla="*/ 50 h 57"/>
                <a:gd name="T22" fmla="*/ 63 w 70"/>
                <a:gd name="T23" fmla="*/ 7 h 57"/>
                <a:gd name="T24" fmla="*/ 7 w 70"/>
                <a:gd name="T25" fmla="*/ 7 h 57"/>
                <a:gd name="T26" fmla="*/ 7 w 70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66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3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6"/>
                    <a:pt x="68" y="57"/>
                    <a:pt x="66" y="57"/>
                  </a:cubicBezTo>
                  <a:close/>
                  <a:moveTo>
                    <a:pt x="7" y="50"/>
                  </a:moveTo>
                  <a:cubicBezTo>
                    <a:pt x="63" y="50"/>
                    <a:pt x="63" y="50"/>
                    <a:pt x="63" y="5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11" name="Freeform 1005">
              <a:extLst>
                <a:ext uri="{FF2B5EF4-FFF2-40B4-BE49-F238E27FC236}">
                  <a16:creationId xmlns:a16="http://schemas.microsoft.com/office/drawing/2014/main" id="{D5B5E6CA-C42C-42AF-AA25-6B4551B5C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20280" y="3145100"/>
              <a:ext cx="126459" cy="103696"/>
            </a:xfrm>
            <a:custGeom>
              <a:avLst/>
              <a:gdLst>
                <a:gd name="T0" fmla="*/ 66 w 70"/>
                <a:gd name="T1" fmla="*/ 57 h 57"/>
                <a:gd name="T2" fmla="*/ 3 w 70"/>
                <a:gd name="T3" fmla="*/ 57 h 57"/>
                <a:gd name="T4" fmla="*/ 0 w 70"/>
                <a:gd name="T5" fmla="*/ 54 h 57"/>
                <a:gd name="T6" fmla="*/ 0 w 70"/>
                <a:gd name="T7" fmla="*/ 3 h 57"/>
                <a:gd name="T8" fmla="*/ 3 w 70"/>
                <a:gd name="T9" fmla="*/ 0 h 57"/>
                <a:gd name="T10" fmla="*/ 66 w 70"/>
                <a:gd name="T11" fmla="*/ 0 h 57"/>
                <a:gd name="T12" fmla="*/ 70 w 70"/>
                <a:gd name="T13" fmla="*/ 3 h 57"/>
                <a:gd name="T14" fmla="*/ 70 w 70"/>
                <a:gd name="T15" fmla="*/ 54 h 57"/>
                <a:gd name="T16" fmla="*/ 66 w 70"/>
                <a:gd name="T17" fmla="*/ 57 h 57"/>
                <a:gd name="T18" fmla="*/ 7 w 70"/>
                <a:gd name="T19" fmla="*/ 50 h 57"/>
                <a:gd name="T20" fmla="*/ 63 w 70"/>
                <a:gd name="T21" fmla="*/ 50 h 57"/>
                <a:gd name="T22" fmla="*/ 63 w 70"/>
                <a:gd name="T23" fmla="*/ 7 h 57"/>
                <a:gd name="T24" fmla="*/ 7 w 70"/>
                <a:gd name="T25" fmla="*/ 7 h 57"/>
                <a:gd name="T26" fmla="*/ 7 w 70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66" y="57"/>
                  </a:moveTo>
                  <a:cubicBezTo>
                    <a:pt x="3" y="57"/>
                    <a:pt x="3" y="57"/>
                    <a:pt x="3" y="57"/>
                  </a:cubicBezTo>
                  <a:cubicBezTo>
                    <a:pt x="2" y="57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3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6"/>
                    <a:pt x="68" y="57"/>
                    <a:pt x="66" y="57"/>
                  </a:cubicBezTo>
                  <a:close/>
                  <a:moveTo>
                    <a:pt x="7" y="50"/>
                  </a:moveTo>
                  <a:cubicBezTo>
                    <a:pt x="63" y="50"/>
                    <a:pt x="63" y="50"/>
                    <a:pt x="63" y="5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12" name="Freeform 1006">
              <a:extLst>
                <a:ext uri="{FF2B5EF4-FFF2-40B4-BE49-F238E27FC236}">
                  <a16:creationId xmlns:a16="http://schemas.microsoft.com/office/drawing/2014/main" id="{6CECC977-679B-40C6-91C7-825A432670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417" y="3046462"/>
              <a:ext cx="300971" cy="58171"/>
            </a:xfrm>
            <a:custGeom>
              <a:avLst/>
              <a:gdLst>
                <a:gd name="T0" fmla="*/ 163 w 166"/>
                <a:gd name="T1" fmla="*/ 32 h 32"/>
                <a:gd name="T2" fmla="*/ 163 w 166"/>
                <a:gd name="T3" fmla="*/ 32 h 32"/>
                <a:gd name="T4" fmla="*/ 116 w 166"/>
                <a:gd name="T5" fmla="*/ 32 h 32"/>
                <a:gd name="T6" fmla="*/ 113 w 166"/>
                <a:gd name="T7" fmla="*/ 28 h 32"/>
                <a:gd name="T8" fmla="*/ 113 w 166"/>
                <a:gd name="T9" fmla="*/ 23 h 32"/>
                <a:gd name="T10" fmla="*/ 53 w 166"/>
                <a:gd name="T11" fmla="*/ 23 h 32"/>
                <a:gd name="T12" fmla="*/ 53 w 166"/>
                <a:gd name="T13" fmla="*/ 28 h 32"/>
                <a:gd name="T14" fmla="*/ 49 w 166"/>
                <a:gd name="T15" fmla="*/ 32 h 32"/>
                <a:gd name="T16" fmla="*/ 3 w 166"/>
                <a:gd name="T17" fmla="*/ 32 h 32"/>
                <a:gd name="T18" fmla="*/ 0 w 166"/>
                <a:gd name="T19" fmla="*/ 28 h 32"/>
                <a:gd name="T20" fmla="*/ 8 w 166"/>
                <a:gd name="T21" fmla="*/ 8 h 32"/>
                <a:gd name="T22" fmla="*/ 28 w 166"/>
                <a:gd name="T23" fmla="*/ 0 h 32"/>
                <a:gd name="T24" fmla="*/ 137 w 166"/>
                <a:gd name="T25" fmla="*/ 0 h 32"/>
                <a:gd name="T26" fmla="*/ 166 w 166"/>
                <a:gd name="T27" fmla="*/ 27 h 32"/>
                <a:gd name="T28" fmla="*/ 166 w 166"/>
                <a:gd name="T29" fmla="*/ 28 h 32"/>
                <a:gd name="T30" fmla="*/ 163 w 166"/>
                <a:gd name="T31" fmla="*/ 32 h 32"/>
                <a:gd name="T32" fmla="*/ 120 w 166"/>
                <a:gd name="T33" fmla="*/ 25 h 32"/>
                <a:gd name="T34" fmla="*/ 159 w 166"/>
                <a:gd name="T35" fmla="*/ 25 h 32"/>
                <a:gd name="T36" fmla="*/ 137 w 166"/>
                <a:gd name="T37" fmla="*/ 6 h 32"/>
                <a:gd name="T38" fmla="*/ 28 w 166"/>
                <a:gd name="T39" fmla="*/ 6 h 32"/>
                <a:gd name="T40" fmla="*/ 13 w 166"/>
                <a:gd name="T41" fmla="*/ 13 h 32"/>
                <a:gd name="T42" fmla="*/ 7 w 166"/>
                <a:gd name="T43" fmla="*/ 25 h 32"/>
                <a:gd name="T44" fmla="*/ 46 w 166"/>
                <a:gd name="T45" fmla="*/ 25 h 32"/>
                <a:gd name="T46" fmla="*/ 46 w 166"/>
                <a:gd name="T47" fmla="*/ 20 h 32"/>
                <a:gd name="T48" fmla="*/ 49 w 166"/>
                <a:gd name="T49" fmla="*/ 16 h 32"/>
                <a:gd name="T50" fmla="*/ 116 w 166"/>
                <a:gd name="T51" fmla="*/ 16 h 32"/>
                <a:gd name="T52" fmla="*/ 120 w 166"/>
                <a:gd name="T53" fmla="*/ 20 h 32"/>
                <a:gd name="T54" fmla="*/ 120 w 166"/>
                <a:gd name="T55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6" h="32">
                  <a:moveTo>
                    <a:pt x="163" y="32"/>
                  </a:moveTo>
                  <a:cubicBezTo>
                    <a:pt x="163" y="32"/>
                    <a:pt x="163" y="32"/>
                    <a:pt x="163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5" y="32"/>
                    <a:pt x="113" y="30"/>
                    <a:pt x="113" y="28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30"/>
                    <a:pt x="51" y="32"/>
                    <a:pt x="49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4" y="3"/>
                    <a:pt x="21" y="0"/>
                    <a:pt x="28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53" y="0"/>
                    <a:pt x="166" y="12"/>
                    <a:pt x="166" y="27"/>
                  </a:cubicBezTo>
                  <a:cubicBezTo>
                    <a:pt x="166" y="28"/>
                    <a:pt x="166" y="28"/>
                    <a:pt x="166" y="28"/>
                  </a:cubicBezTo>
                  <a:cubicBezTo>
                    <a:pt x="166" y="30"/>
                    <a:pt x="165" y="32"/>
                    <a:pt x="163" y="32"/>
                  </a:cubicBezTo>
                  <a:close/>
                  <a:moveTo>
                    <a:pt x="120" y="25"/>
                  </a:moveTo>
                  <a:cubicBezTo>
                    <a:pt x="159" y="25"/>
                    <a:pt x="159" y="25"/>
                    <a:pt x="159" y="25"/>
                  </a:cubicBezTo>
                  <a:cubicBezTo>
                    <a:pt x="157" y="14"/>
                    <a:pt x="148" y="6"/>
                    <a:pt x="137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3" y="6"/>
                    <a:pt x="17" y="9"/>
                    <a:pt x="13" y="13"/>
                  </a:cubicBezTo>
                  <a:cubicBezTo>
                    <a:pt x="10" y="16"/>
                    <a:pt x="8" y="20"/>
                    <a:pt x="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18"/>
                    <a:pt x="48" y="16"/>
                    <a:pt x="49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18" y="16"/>
                    <a:pt x="120" y="18"/>
                    <a:pt x="120" y="20"/>
                  </a:cubicBezTo>
                  <a:lnTo>
                    <a:pt x="120" y="2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13" name="Freeform 1007">
              <a:extLst>
                <a:ext uri="{FF2B5EF4-FFF2-40B4-BE49-F238E27FC236}">
                  <a16:creationId xmlns:a16="http://schemas.microsoft.com/office/drawing/2014/main" id="{7314E969-7206-4875-AB95-859B836D9E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8879" y="3075548"/>
              <a:ext cx="134046" cy="51848"/>
            </a:xfrm>
            <a:custGeom>
              <a:avLst/>
              <a:gdLst>
                <a:gd name="T0" fmla="*/ 70 w 74"/>
                <a:gd name="T1" fmla="*/ 28 h 28"/>
                <a:gd name="T2" fmla="*/ 3 w 74"/>
                <a:gd name="T3" fmla="*/ 28 h 28"/>
                <a:gd name="T4" fmla="*/ 0 w 74"/>
                <a:gd name="T5" fmla="*/ 25 h 28"/>
                <a:gd name="T6" fmla="*/ 0 w 74"/>
                <a:gd name="T7" fmla="*/ 4 h 28"/>
                <a:gd name="T8" fmla="*/ 3 w 74"/>
                <a:gd name="T9" fmla="*/ 0 h 28"/>
                <a:gd name="T10" fmla="*/ 70 w 74"/>
                <a:gd name="T11" fmla="*/ 0 h 28"/>
                <a:gd name="T12" fmla="*/ 74 w 74"/>
                <a:gd name="T13" fmla="*/ 4 h 28"/>
                <a:gd name="T14" fmla="*/ 74 w 74"/>
                <a:gd name="T15" fmla="*/ 25 h 28"/>
                <a:gd name="T16" fmla="*/ 70 w 74"/>
                <a:gd name="T17" fmla="*/ 28 h 28"/>
                <a:gd name="T18" fmla="*/ 7 w 74"/>
                <a:gd name="T19" fmla="*/ 21 h 28"/>
                <a:gd name="T20" fmla="*/ 67 w 74"/>
                <a:gd name="T21" fmla="*/ 21 h 28"/>
                <a:gd name="T22" fmla="*/ 67 w 74"/>
                <a:gd name="T23" fmla="*/ 7 h 28"/>
                <a:gd name="T24" fmla="*/ 7 w 74"/>
                <a:gd name="T25" fmla="*/ 7 h 28"/>
                <a:gd name="T26" fmla="*/ 7 w 74"/>
                <a:gd name="T27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28">
                  <a:moveTo>
                    <a:pt x="70" y="28"/>
                  </a:moveTo>
                  <a:cubicBezTo>
                    <a:pt x="3" y="28"/>
                    <a:pt x="3" y="28"/>
                    <a:pt x="3" y="28"/>
                  </a:cubicBezTo>
                  <a:cubicBezTo>
                    <a:pt x="2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4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7"/>
                    <a:pt x="72" y="28"/>
                    <a:pt x="70" y="28"/>
                  </a:cubicBezTo>
                  <a:close/>
                  <a:moveTo>
                    <a:pt x="7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14" name="Freeform 1008">
              <a:extLst>
                <a:ext uri="{FF2B5EF4-FFF2-40B4-BE49-F238E27FC236}">
                  <a16:creationId xmlns:a16="http://schemas.microsoft.com/office/drawing/2014/main" id="{EA57C27A-7839-4BBF-B270-2DB9CFF49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8665" y="3236150"/>
              <a:ext cx="12646" cy="29085"/>
            </a:xfrm>
            <a:custGeom>
              <a:avLst/>
              <a:gdLst>
                <a:gd name="T0" fmla="*/ 4 w 7"/>
                <a:gd name="T1" fmla="*/ 16 h 16"/>
                <a:gd name="T2" fmla="*/ 0 w 7"/>
                <a:gd name="T3" fmla="*/ 12 h 16"/>
                <a:gd name="T4" fmla="*/ 0 w 7"/>
                <a:gd name="T5" fmla="*/ 4 h 16"/>
                <a:gd name="T6" fmla="*/ 4 w 7"/>
                <a:gd name="T7" fmla="*/ 0 h 16"/>
                <a:gd name="T8" fmla="*/ 7 w 7"/>
                <a:gd name="T9" fmla="*/ 4 h 16"/>
                <a:gd name="T10" fmla="*/ 7 w 7"/>
                <a:gd name="T11" fmla="*/ 12 h 16"/>
                <a:gd name="T12" fmla="*/ 4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4" y="16"/>
                  </a:moveTo>
                  <a:cubicBezTo>
                    <a:pt x="2" y="16"/>
                    <a:pt x="0" y="14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6"/>
                    <a:pt x="4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15" name="Freeform 1009">
              <a:extLst>
                <a:ext uri="{FF2B5EF4-FFF2-40B4-BE49-F238E27FC236}">
                  <a16:creationId xmlns:a16="http://schemas.microsoft.com/office/drawing/2014/main" id="{F81F1834-8E47-4AE9-A7B5-97A65B73E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2692" y="2954147"/>
              <a:ext cx="155544" cy="12646"/>
            </a:xfrm>
            <a:custGeom>
              <a:avLst/>
              <a:gdLst>
                <a:gd name="T0" fmla="*/ 83 w 86"/>
                <a:gd name="T1" fmla="*/ 7 h 7"/>
                <a:gd name="T2" fmla="*/ 3 w 86"/>
                <a:gd name="T3" fmla="*/ 7 h 7"/>
                <a:gd name="T4" fmla="*/ 0 w 86"/>
                <a:gd name="T5" fmla="*/ 4 h 7"/>
                <a:gd name="T6" fmla="*/ 3 w 86"/>
                <a:gd name="T7" fmla="*/ 0 h 7"/>
                <a:gd name="T8" fmla="*/ 83 w 86"/>
                <a:gd name="T9" fmla="*/ 0 h 7"/>
                <a:gd name="T10" fmla="*/ 86 w 86"/>
                <a:gd name="T11" fmla="*/ 4 h 7"/>
                <a:gd name="T12" fmla="*/ 83 w 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">
                  <a:moveTo>
                    <a:pt x="8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5" y="0"/>
                    <a:pt x="86" y="2"/>
                    <a:pt x="86" y="4"/>
                  </a:cubicBezTo>
                  <a:cubicBezTo>
                    <a:pt x="86" y="6"/>
                    <a:pt x="85" y="7"/>
                    <a:pt x="8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16" name="Freeform 1010">
              <a:extLst>
                <a:ext uri="{FF2B5EF4-FFF2-40B4-BE49-F238E27FC236}">
                  <a16:creationId xmlns:a16="http://schemas.microsoft.com/office/drawing/2014/main" id="{3B007A2E-B910-402C-B213-D233272A1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2304" y="2954147"/>
              <a:ext cx="155544" cy="12646"/>
            </a:xfrm>
            <a:custGeom>
              <a:avLst/>
              <a:gdLst>
                <a:gd name="T0" fmla="*/ 83 w 86"/>
                <a:gd name="T1" fmla="*/ 7 h 7"/>
                <a:gd name="T2" fmla="*/ 3 w 86"/>
                <a:gd name="T3" fmla="*/ 7 h 7"/>
                <a:gd name="T4" fmla="*/ 0 w 86"/>
                <a:gd name="T5" fmla="*/ 4 h 7"/>
                <a:gd name="T6" fmla="*/ 3 w 86"/>
                <a:gd name="T7" fmla="*/ 0 h 7"/>
                <a:gd name="T8" fmla="*/ 83 w 86"/>
                <a:gd name="T9" fmla="*/ 0 h 7"/>
                <a:gd name="T10" fmla="*/ 86 w 86"/>
                <a:gd name="T11" fmla="*/ 4 h 7"/>
                <a:gd name="T12" fmla="*/ 83 w 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">
                  <a:moveTo>
                    <a:pt x="8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6" y="2"/>
                    <a:pt x="86" y="4"/>
                  </a:cubicBezTo>
                  <a:cubicBezTo>
                    <a:pt x="86" y="6"/>
                    <a:pt x="84" y="7"/>
                    <a:pt x="8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17" name="Freeform 1011">
              <a:extLst>
                <a:ext uri="{FF2B5EF4-FFF2-40B4-BE49-F238E27FC236}">
                  <a16:creationId xmlns:a16="http://schemas.microsoft.com/office/drawing/2014/main" id="{523E92E7-5DE9-429C-93F4-5EDF6DEF20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6817" y="2932649"/>
              <a:ext cx="58171" cy="58171"/>
            </a:xfrm>
            <a:custGeom>
              <a:avLst/>
              <a:gdLst>
                <a:gd name="T0" fmla="*/ 16 w 32"/>
                <a:gd name="T1" fmla="*/ 32 h 32"/>
                <a:gd name="T2" fmla="*/ 6 w 32"/>
                <a:gd name="T3" fmla="*/ 28 h 32"/>
                <a:gd name="T4" fmla="*/ 4 w 32"/>
                <a:gd name="T5" fmla="*/ 26 h 32"/>
                <a:gd name="T6" fmla="*/ 0 w 32"/>
                <a:gd name="T7" fmla="*/ 16 h 32"/>
                <a:gd name="T8" fmla="*/ 4 w 32"/>
                <a:gd name="T9" fmla="*/ 5 h 32"/>
                <a:gd name="T10" fmla="*/ 16 w 32"/>
                <a:gd name="T11" fmla="*/ 0 h 32"/>
                <a:gd name="T12" fmla="*/ 28 w 32"/>
                <a:gd name="T13" fmla="*/ 5 h 32"/>
                <a:gd name="T14" fmla="*/ 32 w 32"/>
                <a:gd name="T15" fmla="*/ 16 h 32"/>
                <a:gd name="T16" fmla="*/ 28 w 32"/>
                <a:gd name="T17" fmla="*/ 26 h 32"/>
                <a:gd name="T18" fmla="*/ 25 w 32"/>
                <a:gd name="T19" fmla="*/ 28 h 32"/>
                <a:gd name="T20" fmla="*/ 16 w 32"/>
                <a:gd name="T21" fmla="*/ 32 h 32"/>
                <a:gd name="T22" fmla="*/ 16 w 32"/>
                <a:gd name="T23" fmla="*/ 7 h 32"/>
                <a:gd name="T24" fmla="*/ 9 w 32"/>
                <a:gd name="T25" fmla="*/ 10 h 32"/>
                <a:gd name="T26" fmla="*/ 7 w 32"/>
                <a:gd name="T27" fmla="*/ 16 h 32"/>
                <a:gd name="T28" fmla="*/ 9 w 32"/>
                <a:gd name="T29" fmla="*/ 22 h 32"/>
                <a:gd name="T30" fmla="*/ 10 w 32"/>
                <a:gd name="T31" fmla="*/ 23 h 32"/>
                <a:gd name="T32" fmla="*/ 21 w 32"/>
                <a:gd name="T33" fmla="*/ 23 h 32"/>
                <a:gd name="T34" fmla="*/ 23 w 32"/>
                <a:gd name="T35" fmla="*/ 22 h 32"/>
                <a:gd name="T36" fmla="*/ 25 w 32"/>
                <a:gd name="T37" fmla="*/ 16 h 32"/>
                <a:gd name="T38" fmla="*/ 23 w 32"/>
                <a:gd name="T39" fmla="*/ 10 h 32"/>
                <a:gd name="T40" fmla="*/ 16 w 32"/>
                <a:gd name="T4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12" y="32"/>
                    <a:pt x="9" y="31"/>
                    <a:pt x="6" y="28"/>
                  </a:cubicBezTo>
                  <a:cubicBezTo>
                    <a:pt x="5" y="28"/>
                    <a:pt x="5" y="27"/>
                    <a:pt x="4" y="26"/>
                  </a:cubicBezTo>
                  <a:cubicBezTo>
                    <a:pt x="1" y="23"/>
                    <a:pt x="0" y="20"/>
                    <a:pt x="0" y="16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2"/>
                    <a:pt x="11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0" y="8"/>
                    <a:pt x="32" y="12"/>
                    <a:pt x="32" y="16"/>
                  </a:cubicBezTo>
                  <a:cubicBezTo>
                    <a:pt x="32" y="20"/>
                    <a:pt x="30" y="23"/>
                    <a:pt x="28" y="26"/>
                  </a:cubicBezTo>
                  <a:cubicBezTo>
                    <a:pt x="27" y="27"/>
                    <a:pt x="26" y="28"/>
                    <a:pt x="25" y="28"/>
                  </a:cubicBezTo>
                  <a:cubicBezTo>
                    <a:pt x="23" y="31"/>
                    <a:pt x="19" y="32"/>
                    <a:pt x="16" y="32"/>
                  </a:cubicBezTo>
                  <a:close/>
                  <a:moveTo>
                    <a:pt x="16" y="7"/>
                  </a:moveTo>
                  <a:cubicBezTo>
                    <a:pt x="13" y="7"/>
                    <a:pt x="11" y="8"/>
                    <a:pt x="9" y="10"/>
                  </a:cubicBezTo>
                  <a:cubicBezTo>
                    <a:pt x="8" y="11"/>
                    <a:pt x="7" y="13"/>
                    <a:pt x="7" y="16"/>
                  </a:cubicBezTo>
                  <a:cubicBezTo>
                    <a:pt x="7" y="18"/>
                    <a:pt x="8" y="20"/>
                    <a:pt x="9" y="22"/>
                  </a:cubicBezTo>
                  <a:cubicBezTo>
                    <a:pt x="10" y="22"/>
                    <a:pt x="10" y="23"/>
                    <a:pt x="10" y="23"/>
                  </a:cubicBezTo>
                  <a:cubicBezTo>
                    <a:pt x="14" y="25"/>
                    <a:pt x="18" y="25"/>
                    <a:pt x="21" y="23"/>
                  </a:cubicBezTo>
                  <a:cubicBezTo>
                    <a:pt x="22" y="23"/>
                    <a:pt x="22" y="22"/>
                    <a:pt x="23" y="22"/>
                  </a:cubicBezTo>
                  <a:cubicBezTo>
                    <a:pt x="24" y="20"/>
                    <a:pt x="25" y="18"/>
                    <a:pt x="25" y="16"/>
                  </a:cubicBezTo>
                  <a:cubicBezTo>
                    <a:pt x="25" y="13"/>
                    <a:pt x="24" y="11"/>
                    <a:pt x="23" y="10"/>
                  </a:cubicBezTo>
                  <a:cubicBezTo>
                    <a:pt x="21" y="8"/>
                    <a:pt x="19" y="7"/>
                    <a:pt x="16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8" name="Freeform 1013">
              <a:extLst>
                <a:ext uri="{FF2B5EF4-FFF2-40B4-BE49-F238E27FC236}">
                  <a16:creationId xmlns:a16="http://schemas.microsoft.com/office/drawing/2014/main" id="{E79B00E6-A8FB-4821-9B03-49FD58A59E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1291" y="2973117"/>
              <a:ext cx="147956" cy="84727"/>
            </a:xfrm>
            <a:custGeom>
              <a:avLst/>
              <a:gdLst>
                <a:gd name="T0" fmla="*/ 79 w 82"/>
                <a:gd name="T1" fmla="*/ 47 h 47"/>
                <a:gd name="T2" fmla="*/ 79 w 82"/>
                <a:gd name="T3" fmla="*/ 47 h 47"/>
                <a:gd name="T4" fmla="*/ 3 w 82"/>
                <a:gd name="T5" fmla="*/ 47 h 47"/>
                <a:gd name="T6" fmla="*/ 0 w 82"/>
                <a:gd name="T7" fmla="*/ 45 h 47"/>
                <a:gd name="T8" fmla="*/ 0 w 82"/>
                <a:gd name="T9" fmla="*/ 42 h 47"/>
                <a:gd name="T10" fmla="*/ 31 w 82"/>
                <a:gd name="T11" fmla="*/ 2 h 47"/>
                <a:gd name="T12" fmla="*/ 35 w 82"/>
                <a:gd name="T13" fmla="*/ 1 h 47"/>
                <a:gd name="T14" fmla="*/ 46 w 82"/>
                <a:gd name="T15" fmla="*/ 1 h 47"/>
                <a:gd name="T16" fmla="*/ 51 w 82"/>
                <a:gd name="T17" fmla="*/ 2 h 47"/>
                <a:gd name="T18" fmla="*/ 81 w 82"/>
                <a:gd name="T19" fmla="*/ 41 h 47"/>
                <a:gd name="T20" fmla="*/ 82 w 82"/>
                <a:gd name="T21" fmla="*/ 44 h 47"/>
                <a:gd name="T22" fmla="*/ 79 w 82"/>
                <a:gd name="T23" fmla="*/ 47 h 47"/>
                <a:gd name="T24" fmla="*/ 10 w 82"/>
                <a:gd name="T25" fmla="*/ 41 h 47"/>
                <a:gd name="T26" fmla="*/ 72 w 82"/>
                <a:gd name="T27" fmla="*/ 41 h 47"/>
                <a:gd name="T28" fmla="*/ 48 w 82"/>
                <a:gd name="T29" fmla="*/ 8 h 47"/>
                <a:gd name="T30" fmla="*/ 34 w 82"/>
                <a:gd name="T31" fmla="*/ 8 h 47"/>
                <a:gd name="T32" fmla="*/ 10 w 82"/>
                <a:gd name="T33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47">
                  <a:moveTo>
                    <a:pt x="79" y="47"/>
                  </a:moveTo>
                  <a:cubicBezTo>
                    <a:pt x="79" y="47"/>
                    <a:pt x="79" y="47"/>
                    <a:pt x="79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2" y="47"/>
                    <a:pt x="1" y="47"/>
                    <a:pt x="0" y="45"/>
                  </a:cubicBezTo>
                  <a:cubicBezTo>
                    <a:pt x="0" y="44"/>
                    <a:pt x="0" y="43"/>
                    <a:pt x="0" y="4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0"/>
                    <a:pt x="34" y="0"/>
                    <a:pt x="35" y="1"/>
                  </a:cubicBezTo>
                  <a:cubicBezTo>
                    <a:pt x="39" y="3"/>
                    <a:pt x="43" y="3"/>
                    <a:pt x="46" y="1"/>
                  </a:cubicBezTo>
                  <a:cubicBezTo>
                    <a:pt x="48" y="0"/>
                    <a:pt x="50" y="0"/>
                    <a:pt x="51" y="2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2" y="42"/>
                    <a:pt x="82" y="43"/>
                    <a:pt x="82" y="44"/>
                  </a:cubicBezTo>
                  <a:cubicBezTo>
                    <a:pt x="82" y="46"/>
                    <a:pt x="81" y="47"/>
                    <a:pt x="79" y="47"/>
                  </a:cubicBezTo>
                  <a:close/>
                  <a:moveTo>
                    <a:pt x="10" y="41"/>
                  </a:moveTo>
                  <a:cubicBezTo>
                    <a:pt x="72" y="41"/>
                    <a:pt x="72" y="41"/>
                    <a:pt x="72" y="4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3" y="10"/>
                    <a:pt x="38" y="10"/>
                    <a:pt x="34" y="8"/>
                  </a:cubicBezTo>
                  <a:lnTo>
                    <a:pt x="10" y="4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9" name="Freeform 1014">
              <a:extLst>
                <a:ext uri="{FF2B5EF4-FFF2-40B4-BE49-F238E27FC236}">
                  <a16:creationId xmlns:a16="http://schemas.microsoft.com/office/drawing/2014/main" id="{9736E3F5-4863-479A-8952-91FFA34E7D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05202" y="2940237"/>
              <a:ext cx="49319" cy="41731"/>
            </a:xfrm>
            <a:custGeom>
              <a:avLst/>
              <a:gdLst>
                <a:gd name="T0" fmla="*/ 24 w 27"/>
                <a:gd name="T1" fmla="*/ 23 h 23"/>
                <a:gd name="T2" fmla="*/ 24 w 27"/>
                <a:gd name="T3" fmla="*/ 23 h 23"/>
                <a:gd name="T4" fmla="*/ 12 w 27"/>
                <a:gd name="T5" fmla="*/ 23 h 23"/>
                <a:gd name="T6" fmla="*/ 0 w 27"/>
                <a:gd name="T7" fmla="*/ 12 h 23"/>
                <a:gd name="T8" fmla="*/ 4 w 27"/>
                <a:gd name="T9" fmla="*/ 3 h 23"/>
                <a:gd name="T10" fmla="*/ 12 w 27"/>
                <a:gd name="T11" fmla="*/ 0 h 23"/>
                <a:gd name="T12" fmla="*/ 24 w 27"/>
                <a:gd name="T13" fmla="*/ 0 h 23"/>
                <a:gd name="T14" fmla="*/ 27 w 27"/>
                <a:gd name="T15" fmla="*/ 2 h 23"/>
                <a:gd name="T16" fmla="*/ 26 w 27"/>
                <a:gd name="T17" fmla="*/ 6 h 23"/>
                <a:gd name="T18" fmla="*/ 24 w 27"/>
                <a:gd name="T19" fmla="*/ 12 h 23"/>
                <a:gd name="T20" fmla="*/ 26 w 27"/>
                <a:gd name="T21" fmla="*/ 17 h 23"/>
                <a:gd name="T22" fmla="*/ 27 w 27"/>
                <a:gd name="T23" fmla="*/ 20 h 23"/>
                <a:gd name="T24" fmla="*/ 24 w 27"/>
                <a:gd name="T25" fmla="*/ 23 h 23"/>
                <a:gd name="T26" fmla="*/ 12 w 27"/>
                <a:gd name="T27" fmla="*/ 7 h 23"/>
                <a:gd name="T28" fmla="*/ 9 w 27"/>
                <a:gd name="T29" fmla="*/ 8 h 23"/>
                <a:gd name="T30" fmla="*/ 7 w 27"/>
                <a:gd name="T31" fmla="*/ 12 h 23"/>
                <a:gd name="T32" fmla="*/ 12 w 27"/>
                <a:gd name="T33" fmla="*/ 17 h 23"/>
                <a:gd name="T34" fmla="*/ 18 w 27"/>
                <a:gd name="T35" fmla="*/ 17 h 23"/>
                <a:gd name="T36" fmla="*/ 17 w 27"/>
                <a:gd name="T37" fmla="*/ 12 h 23"/>
                <a:gd name="T38" fmla="*/ 18 w 27"/>
                <a:gd name="T39" fmla="*/ 7 h 23"/>
                <a:gd name="T40" fmla="*/ 12 w 27"/>
                <a:gd name="T41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23"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5" y="23"/>
                    <a:pt x="0" y="18"/>
                    <a:pt x="0" y="12"/>
                  </a:cubicBezTo>
                  <a:cubicBezTo>
                    <a:pt x="0" y="8"/>
                    <a:pt x="1" y="6"/>
                    <a:pt x="4" y="3"/>
                  </a:cubicBezTo>
                  <a:cubicBezTo>
                    <a:pt x="6" y="1"/>
                    <a:pt x="9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ubicBezTo>
                    <a:pt x="27" y="3"/>
                    <a:pt x="27" y="5"/>
                    <a:pt x="26" y="6"/>
                  </a:cubicBezTo>
                  <a:cubicBezTo>
                    <a:pt x="25" y="7"/>
                    <a:pt x="24" y="9"/>
                    <a:pt x="24" y="12"/>
                  </a:cubicBezTo>
                  <a:cubicBezTo>
                    <a:pt x="24" y="14"/>
                    <a:pt x="24" y="16"/>
                    <a:pt x="26" y="17"/>
                  </a:cubicBezTo>
                  <a:cubicBezTo>
                    <a:pt x="27" y="18"/>
                    <a:pt x="27" y="19"/>
                    <a:pt x="27" y="20"/>
                  </a:cubicBezTo>
                  <a:cubicBezTo>
                    <a:pt x="27" y="22"/>
                    <a:pt x="26" y="23"/>
                    <a:pt x="24" y="23"/>
                  </a:cubicBezTo>
                  <a:close/>
                  <a:moveTo>
                    <a:pt x="12" y="7"/>
                  </a:moveTo>
                  <a:cubicBezTo>
                    <a:pt x="11" y="7"/>
                    <a:pt x="9" y="7"/>
                    <a:pt x="9" y="8"/>
                  </a:cubicBezTo>
                  <a:cubicBezTo>
                    <a:pt x="8" y="9"/>
                    <a:pt x="7" y="10"/>
                    <a:pt x="7" y="12"/>
                  </a:cubicBezTo>
                  <a:cubicBezTo>
                    <a:pt x="7" y="14"/>
                    <a:pt x="9" y="17"/>
                    <a:pt x="12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5"/>
                    <a:pt x="17" y="13"/>
                    <a:pt x="17" y="12"/>
                  </a:cubicBezTo>
                  <a:cubicBezTo>
                    <a:pt x="17" y="10"/>
                    <a:pt x="17" y="8"/>
                    <a:pt x="18" y="7"/>
                  </a:cubicBezTo>
                  <a:lnTo>
                    <a:pt x="12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0" name="Freeform 1015">
              <a:extLst>
                <a:ext uri="{FF2B5EF4-FFF2-40B4-BE49-F238E27FC236}">
                  <a16:creationId xmlns:a16="http://schemas.microsoft.com/office/drawing/2014/main" id="{C07167B3-C643-4BE8-97B5-FFB26771D5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76018" y="2940237"/>
              <a:ext cx="49319" cy="41731"/>
            </a:xfrm>
            <a:custGeom>
              <a:avLst/>
              <a:gdLst>
                <a:gd name="T0" fmla="*/ 15 w 27"/>
                <a:gd name="T1" fmla="*/ 23 h 23"/>
                <a:gd name="T2" fmla="*/ 3 w 27"/>
                <a:gd name="T3" fmla="*/ 23 h 23"/>
                <a:gd name="T4" fmla="*/ 0 w 27"/>
                <a:gd name="T5" fmla="*/ 21 h 23"/>
                <a:gd name="T6" fmla="*/ 1 w 27"/>
                <a:gd name="T7" fmla="*/ 18 h 23"/>
                <a:gd name="T8" fmla="*/ 3 w 27"/>
                <a:gd name="T9" fmla="*/ 12 h 23"/>
                <a:gd name="T10" fmla="*/ 1 w 27"/>
                <a:gd name="T11" fmla="*/ 6 h 23"/>
                <a:gd name="T12" fmla="*/ 0 w 27"/>
                <a:gd name="T13" fmla="*/ 2 h 23"/>
                <a:gd name="T14" fmla="*/ 3 w 27"/>
                <a:gd name="T15" fmla="*/ 0 h 23"/>
                <a:gd name="T16" fmla="*/ 15 w 27"/>
                <a:gd name="T17" fmla="*/ 0 h 23"/>
                <a:gd name="T18" fmla="*/ 27 w 27"/>
                <a:gd name="T19" fmla="*/ 12 h 23"/>
                <a:gd name="T20" fmla="*/ 23 w 27"/>
                <a:gd name="T21" fmla="*/ 20 h 23"/>
                <a:gd name="T22" fmla="*/ 15 w 27"/>
                <a:gd name="T23" fmla="*/ 23 h 23"/>
                <a:gd name="T24" fmla="*/ 9 w 27"/>
                <a:gd name="T25" fmla="*/ 17 h 23"/>
                <a:gd name="T26" fmla="*/ 15 w 27"/>
                <a:gd name="T27" fmla="*/ 17 h 23"/>
                <a:gd name="T28" fmla="*/ 18 w 27"/>
                <a:gd name="T29" fmla="*/ 15 h 23"/>
                <a:gd name="T30" fmla="*/ 20 w 27"/>
                <a:gd name="T31" fmla="*/ 12 h 23"/>
                <a:gd name="T32" fmla="*/ 15 w 27"/>
                <a:gd name="T33" fmla="*/ 7 h 23"/>
                <a:gd name="T34" fmla="*/ 9 w 27"/>
                <a:gd name="T35" fmla="*/ 7 h 23"/>
                <a:gd name="T36" fmla="*/ 10 w 27"/>
                <a:gd name="T37" fmla="*/ 12 h 23"/>
                <a:gd name="T38" fmla="*/ 9 w 27"/>
                <a:gd name="T39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" h="23">
                  <a:moveTo>
                    <a:pt x="15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2" y="23"/>
                    <a:pt x="1" y="23"/>
                    <a:pt x="0" y="21"/>
                  </a:cubicBezTo>
                  <a:cubicBezTo>
                    <a:pt x="0" y="20"/>
                    <a:pt x="0" y="19"/>
                    <a:pt x="1" y="18"/>
                  </a:cubicBezTo>
                  <a:cubicBezTo>
                    <a:pt x="2" y="16"/>
                    <a:pt x="3" y="14"/>
                    <a:pt x="3" y="12"/>
                  </a:cubicBezTo>
                  <a:cubicBezTo>
                    <a:pt x="3" y="9"/>
                    <a:pt x="2" y="7"/>
                    <a:pt x="1" y="6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1" y="0"/>
                    <a:pt x="27" y="5"/>
                    <a:pt x="27" y="12"/>
                  </a:cubicBezTo>
                  <a:cubicBezTo>
                    <a:pt x="27" y="15"/>
                    <a:pt x="25" y="18"/>
                    <a:pt x="23" y="20"/>
                  </a:cubicBezTo>
                  <a:cubicBezTo>
                    <a:pt x="21" y="22"/>
                    <a:pt x="18" y="23"/>
                    <a:pt x="15" y="23"/>
                  </a:cubicBezTo>
                  <a:close/>
                  <a:moveTo>
                    <a:pt x="9" y="17"/>
                  </a:move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7" y="16"/>
                    <a:pt x="18" y="15"/>
                  </a:cubicBezTo>
                  <a:cubicBezTo>
                    <a:pt x="19" y="14"/>
                    <a:pt x="20" y="13"/>
                    <a:pt x="20" y="12"/>
                  </a:cubicBezTo>
                  <a:cubicBezTo>
                    <a:pt x="20" y="9"/>
                    <a:pt x="18" y="7"/>
                    <a:pt x="15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8"/>
                    <a:pt x="10" y="10"/>
                    <a:pt x="10" y="12"/>
                  </a:cubicBezTo>
                  <a:cubicBezTo>
                    <a:pt x="10" y="13"/>
                    <a:pt x="10" y="15"/>
                    <a:pt x="9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5" name="Agrupar 1714">
            <a:extLst>
              <a:ext uri="{FF2B5EF4-FFF2-40B4-BE49-F238E27FC236}">
                <a16:creationId xmlns:a16="http://schemas.microsoft.com/office/drawing/2014/main" id="{10C4F000-BA74-4BF0-8B66-01A8532B4B78}"/>
              </a:ext>
            </a:extLst>
          </p:cNvPr>
          <p:cNvGrpSpPr/>
          <p:nvPr/>
        </p:nvGrpSpPr>
        <p:grpSpPr>
          <a:xfrm>
            <a:off x="9611824" y="2931385"/>
            <a:ext cx="408461" cy="407197"/>
            <a:chOff x="10293436" y="2931385"/>
            <a:chExt cx="408461" cy="407197"/>
          </a:xfrm>
        </p:grpSpPr>
        <p:sp>
          <p:nvSpPr>
            <p:cNvPr id="1221" name="Freeform 1016">
              <a:extLst>
                <a:ext uri="{FF2B5EF4-FFF2-40B4-BE49-F238E27FC236}">
                  <a16:creationId xmlns:a16="http://schemas.microsoft.com/office/drawing/2014/main" id="{E7004C4D-BC58-433B-A61E-87410108B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2326" y="2931385"/>
              <a:ext cx="156809" cy="226361"/>
            </a:xfrm>
            <a:custGeom>
              <a:avLst/>
              <a:gdLst>
                <a:gd name="T0" fmla="*/ 3 w 87"/>
                <a:gd name="T1" fmla="*/ 125 h 125"/>
                <a:gd name="T2" fmla="*/ 1 w 87"/>
                <a:gd name="T3" fmla="*/ 124 h 125"/>
                <a:gd name="T4" fmla="*/ 1 w 87"/>
                <a:gd name="T5" fmla="*/ 120 h 125"/>
                <a:gd name="T6" fmla="*/ 80 w 87"/>
                <a:gd name="T7" fmla="*/ 2 h 125"/>
                <a:gd name="T8" fmla="*/ 85 w 87"/>
                <a:gd name="T9" fmla="*/ 1 h 125"/>
                <a:gd name="T10" fmla="*/ 86 w 87"/>
                <a:gd name="T11" fmla="*/ 6 h 125"/>
                <a:gd name="T12" fmla="*/ 6 w 87"/>
                <a:gd name="T13" fmla="*/ 123 h 125"/>
                <a:gd name="T14" fmla="*/ 3 w 87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125">
                  <a:moveTo>
                    <a:pt x="3" y="125"/>
                  </a:moveTo>
                  <a:cubicBezTo>
                    <a:pt x="3" y="125"/>
                    <a:pt x="2" y="125"/>
                    <a:pt x="1" y="124"/>
                  </a:cubicBezTo>
                  <a:cubicBezTo>
                    <a:pt x="0" y="123"/>
                    <a:pt x="0" y="121"/>
                    <a:pt x="1" y="12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1" y="1"/>
                    <a:pt x="83" y="0"/>
                    <a:pt x="85" y="1"/>
                  </a:cubicBezTo>
                  <a:cubicBezTo>
                    <a:pt x="87" y="2"/>
                    <a:pt x="87" y="4"/>
                    <a:pt x="86" y="6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4"/>
                    <a:pt x="4" y="125"/>
                    <a:pt x="3" y="12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2" name="Freeform 1017">
              <a:extLst>
                <a:ext uri="{FF2B5EF4-FFF2-40B4-BE49-F238E27FC236}">
                  <a16:creationId xmlns:a16="http://schemas.microsoft.com/office/drawing/2014/main" id="{22D4C2D9-3A19-41D6-9230-A1E740418D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2423" y="3037610"/>
              <a:ext cx="88521" cy="89786"/>
            </a:xfrm>
            <a:custGeom>
              <a:avLst/>
              <a:gdLst>
                <a:gd name="T0" fmla="*/ 25 w 49"/>
                <a:gd name="T1" fmla="*/ 49 h 49"/>
                <a:gd name="T2" fmla="*/ 0 w 49"/>
                <a:gd name="T3" fmla="*/ 25 h 49"/>
                <a:gd name="T4" fmla="*/ 25 w 49"/>
                <a:gd name="T5" fmla="*/ 0 h 49"/>
                <a:gd name="T6" fmla="*/ 49 w 49"/>
                <a:gd name="T7" fmla="*/ 25 h 49"/>
                <a:gd name="T8" fmla="*/ 25 w 49"/>
                <a:gd name="T9" fmla="*/ 49 h 49"/>
                <a:gd name="T10" fmla="*/ 25 w 49"/>
                <a:gd name="T11" fmla="*/ 7 h 49"/>
                <a:gd name="T12" fmla="*/ 7 w 49"/>
                <a:gd name="T13" fmla="*/ 25 h 49"/>
                <a:gd name="T14" fmla="*/ 25 w 49"/>
                <a:gd name="T15" fmla="*/ 42 h 49"/>
                <a:gd name="T16" fmla="*/ 42 w 49"/>
                <a:gd name="T17" fmla="*/ 25 h 49"/>
                <a:gd name="T18" fmla="*/ 25 w 49"/>
                <a:gd name="T19" fmla="*/ 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5" y="49"/>
                  </a:moveTo>
                  <a:cubicBezTo>
                    <a:pt x="11" y="49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8"/>
                    <a:pt x="38" y="49"/>
                    <a:pt x="25" y="49"/>
                  </a:cubicBezTo>
                  <a:close/>
                  <a:moveTo>
                    <a:pt x="25" y="7"/>
                  </a:moveTo>
                  <a:cubicBezTo>
                    <a:pt x="15" y="7"/>
                    <a:pt x="7" y="15"/>
                    <a:pt x="7" y="25"/>
                  </a:cubicBezTo>
                  <a:cubicBezTo>
                    <a:pt x="7" y="34"/>
                    <a:pt x="15" y="42"/>
                    <a:pt x="25" y="42"/>
                  </a:cubicBezTo>
                  <a:cubicBezTo>
                    <a:pt x="35" y="42"/>
                    <a:pt x="42" y="34"/>
                    <a:pt x="42" y="25"/>
                  </a:cubicBezTo>
                  <a:cubicBezTo>
                    <a:pt x="42" y="15"/>
                    <a:pt x="35" y="7"/>
                    <a:pt x="25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3" name="Freeform 1018">
              <a:extLst>
                <a:ext uri="{FF2B5EF4-FFF2-40B4-BE49-F238E27FC236}">
                  <a16:creationId xmlns:a16="http://schemas.microsoft.com/office/drawing/2014/main" id="{5F93C81A-43A7-4356-A5EA-7D2A9DF41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311" y="2931385"/>
              <a:ext cx="103696" cy="118871"/>
            </a:xfrm>
            <a:custGeom>
              <a:avLst/>
              <a:gdLst>
                <a:gd name="T0" fmla="*/ 54 w 57"/>
                <a:gd name="T1" fmla="*/ 66 h 66"/>
                <a:gd name="T2" fmla="*/ 50 w 57"/>
                <a:gd name="T3" fmla="*/ 63 h 66"/>
                <a:gd name="T4" fmla="*/ 8 w 57"/>
                <a:gd name="T5" fmla="*/ 9 h 66"/>
                <a:gd name="T6" fmla="*/ 3 w 57"/>
                <a:gd name="T7" fmla="*/ 7 h 66"/>
                <a:gd name="T8" fmla="*/ 0 w 57"/>
                <a:gd name="T9" fmla="*/ 3 h 66"/>
                <a:gd name="T10" fmla="*/ 4 w 57"/>
                <a:gd name="T11" fmla="*/ 1 h 66"/>
                <a:gd name="T12" fmla="*/ 10 w 57"/>
                <a:gd name="T13" fmla="*/ 2 h 66"/>
                <a:gd name="T14" fmla="*/ 57 w 57"/>
                <a:gd name="T15" fmla="*/ 63 h 66"/>
                <a:gd name="T16" fmla="*/ 54 w 57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6">
                  <a:moveTo>
                    <a:pt x="54" y="66"/>
                  </a:moveTo>
                  <a:cubicBezTo>
                    <a:pt x="52" y="66"/>
                    <a:pt x="50" y="65"/>
                    <a:pt x="50" y="63"/>
                  </a:cubicBezTo>
                  <a:cubicBezTo>
                    <a:pt x="50" y="37"/>
                    <a:pt x="33" y="15"/>
                    <a:pt x="8" y="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38" y="9"/>
                    <a:pt x="57" y="34"/>
                    <a:pt x="57" y="63"/>
                  </a:cubicBezTo>
                  <a:cubicBezTo>
                    <a:pt x="57" y="65"/>
                    <a:pt x="56" y="66"/>
                    <a:pt x="54" y="6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4" name="Freeform 1019">
              <a:extLst>
                <a:ext uri="{FF2B5EF4-FFF2-40B4-BE49-F238E27FC236}">
                  <a16:creationId xmlns:a16="http://schemas.microsoft.com/office/drawing/2014/main" id="{DB6D26B8-8700-476A-AA1A-60107C638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6898" y="3091988"/>
              <a:ext cx="61965" cy="12646"/>
            </a:xfrm>
            <a:custGeom>
              <a:avLst/>
              <a:gdLst>
                <a:gd name="T0" fmla="*/ 31 w 34"/>
                <a:gd name="T1" fmla="*/ 7 h 7"/>
                <a:gd name="T2" fmla="*/ 4 w 34"/>
                <a:gd name="T3" fmla="*/ 7 h 7"/>
                <a:gd name="T4" fmla="*/ 0 w 34"/>
                <a:gd name="T5" fmla="*/ 3 h 7"/>
                <a:gd name="T6" fmla="*/ 4 w 34"/>
                <a:gd name="T7" fmla="*/ 0 h 7"/>
                <a:gd name="T8" fmla="*/ 31 w 34"/>
                <a:gd name="T9" fmla="*/ 0 h 7"/>
                <a:gd name="T10" fmla="*/ 34 w 34"/>
                <a:gd name="T11" fmla="*/ 3 h 7"/>
                <a:gd name="T12" fmla="*/ 31 w 3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7">
                  <a:moveTo>
                    <a:pt x="31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1"/>
                    <a:pt x="34" y="3"/>
                  </a:cubicBezTo>
                  <a:cubicBezTo>
                    <a:pt x="34" y="5"/>
                    <a:pt x="33" y="7"/>
                    <a:pt x="31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5" name="Freeform 1020">
              <a:extLst>
                <a:ext uri="{FF2B5EF4-FFF2-40B4-BE49-F238E27FC236}">
                  <a16:creationId xmlns:a16="http://schemas.microsoft.com/office/drawing/2014/main" id="{931E3796-BC71-4757-B1FB-02A255EAD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7034" y="3091988"/>
              <a:ext cx="121400" cy="12646"/>
            </a:xfrm>
            <a:custGeom>
              <a:avLst/>
              <a:gdLst>
                <a:gd name="T0" fmla="*/ 63 w 67"/>
                <a:gd name="T1" fmla="*/ 7 h 7"/>
                <a:gd name="T2" fmla="*/ 3 w 67"/>
                <a:gd name="T3" fmla="*/ 7 h 7"/>
                <a:gd name="T4" fmla="*/ 0 w 67"/>
                <a:gd name="T5" fmla="*/ 3 h 7"/>
                <a:gd name="T6" fmla="*/ 3 w 67"/>
                <a:gd name="T7" fmla="*/ 0 h 7"/>
                <a:gd name="T8" fmla="*/ 63 w 67"/>
                <a:gd name="T9" fmla="*/ 0 h 7"/>
                <a:gd name="T10" fmla="*/ 67 w 67"/>
                <a:gd name="T11" fmla="*/ 3 h 7"/>
                <a:gd name="T12" fmla="*/ 63 w 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7">
                  <a:moveTo>
                    <a:pt x="6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1"/>
                    <a:pt x="67" y="3"/>
                  </a:cubicBezTo>
                  <a:cubicBezTo>
                    <a:pt x="67" y="5"/>
                    <a:pt x="65" y="7"/>
                    <a:pt x="6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6" name="Freeform 1021">
              <a:extLst>
                <a:ext uri="{FF2B5EF4-FFF2-40B4-BE49-F238E27FC236}">
                  <a16:creationId xmlns:a16="http://schemas.microsoft.com/office/drawing/2014/main" id="{4649296F-E0CE-4489-9DFB-4D7818C027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3436" y="3008525"/>
              <a:ext cx="408461" cy="208657"/>
            </a:xfrm>
            <a:custGeom>
              <a:avLst/>
              <a:gdLst>
                <a:gd name="T0" fmla="*/ 113 w 225"/>
                <a:gd name="T1" fmla="*/ 115 h 115"/>
                <a:gd name="T2" fmla="*/ 110 w 225"/>
                <a:gd name="T3" fmla="*/ 114 h 115"/>
                <a:gd name="T4" fmla="*/ 1 w 225"/>
                <a:gd name="T5" fmla="*/ 5 h 115"/>
                <a:gd name="T6" fmla="*/ 1 w 225"/>
                <a:gd name="T7" fmla="*/ 2 h 115"/>
                <a:gd name="T8" fmla="*/ 4 w 225"/>
                <a:gd name="T9" fmla="*/ 0 h 115"/>
                <a:gd name="T10" fmla="*/ 222 w 225"/>
                <a:gd name="T11" fmla="*/ 0 h 115"/>
                <a:gd name="T12" fmla="*/ 225 w 225"/>
                <a:gd name="T13" fmla="*/ 2 h 115"/>
                <a:gd name="T14" fmla="*/ 224 w 225"/>
                <a:gd name="T15" fmla="*/ 5 h 115"/>
                <a:gd name="T16" fmla="*/ 115 w 225"/>
                <a:gd name="T17" fmla="*/ 114 h 115"/>
                <a:gd name="T18" fmla="*/ 113 w 225"/>
                <a:gd name="T19" fmla="*/ 115 h 115"/>
                <a:gd name="T20" fmla="*/ 12 w 225"/>
                <a:gd name="T21" fmla="*/ 6 h 115"/>
                <a:gd name="T22" fmla="*/ 113 w 225"/>
                <a:gd name="T23" fmla="*/ 107 h 115"/>
                <a:gd name="T24" fmla="*/ 213 w 225"/>
                <a:gd name="T25" fmla="*/ 6 h 115"/>
                <a:gd name="T26" fmla="*/ 12 w 225"/>
                <a:gd name="T27" fmla="*/ 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5" h="115">
                  <a:moveTo>
                    <a:pt x="113" y="115"/>
                  </a:moveTo>
                  <a:cubicBezTo>
                    <a:pt x="112" y="115"/>
                    <a:pt x="111" y="115"/>
                    <a:pt x="110" y="11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3" y="0"/>
                    <a:pt x="224" y="0"/>
                    <a:pt x="225" y="2"/>
                  </a:cubicBezTo>
                  <a:cubicBezTo>
                    <a:pt x="225" y="3"/>
                    <a:pt x="225" y="4"/>
                    <a:pt x="224" y="5"/>
                  </a:cubicBezTo>
                  <a:cubicBezTo>
                    <a:pt x="115" y="114"/>
                    <a:pt x="115" y="114"/>
                    <a:pt x="115" y="114"/>
                  </a:cubicBezTo>
                  <a:cubicBezTo>
                    <a:pt x="114" y="115"/>
                    <a:pt x="114" y="115"/>
                    <a:pt x="113" y="115"/>
                  </a:cubicBezTo>
                  <a:close/>
                  <a:moveTo>
                    <a:pt x="12" y="6"/>
                  </a:moveTo>
                  <a:cubicBezTo>
                    <a:pt x="113" y="107"/>
                    <a:pt x="113" y="107"/>
                    <a:pt x="113" y="107"/>
                  </a:cubicBezTo>
                  <a:cubicBezTo>
                    <a:pt x="213" y="6"/>
                    <a:pt x="213" y="6"/>
                    <a:pt x="213" y="6"/>
                  </a:cubicBezTo>
                  <a:lnTo>
                    <a:pt x="12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7" name="Freeform 1022">
              <a:extLst>
                <a:ext uri="{FF2B5EF4-FFF2-40B4-BE49-F238E27FC236}">
                  <a16:creationId xmlns:a16="http://schemas.microsoft.com/office/drawing/2014/main" id="{ECD863FE-F170-4EB8-8499-5409DAE8BE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0925" y="3290528"/>
              <a:ext cx="193482" cy="48054"/>
            </a:xfrm>
            <a:custGeom>
              <a:avLst/>
              <a:gdLst>
                <a:gd name="T0" fmla="*/ 104 w 107"/>
                <a:gd name="T1" fmla="*/ 27 h 27"/>
                <a:gd name="T2" fmla="*/ 104 w 107"/>
                <a:gd name="T3" fmla="*/ 27 h 27"/>
                <a:gd name="T4" fmla="*/ 3 w 107"/>
                <a:gd name="T5" fmla="*/ 27 h 27"/>
                <a:gd name="T6" fmla="*/ 0 w 107"/>
                <a:gd name="T7" fmla="*/ 25 h 27"/>
                <a:gd name="T8" fmla="*/ 2 w 107"/>
                <a:gd name="T9" fmla="*/ 21 h 27"/>
                <a:gd name="T10" fmla="*/ 52 w 107"/>
                <a:gd name="T11" fmla="*/ 0 h 27"/>
                <a:gd name="T12" fmla="*/ 55 w 107"/>
                <a:gd name="T13" fmla="*/ 0 h 27"/>
                <a:gd name="T14" fmla="*/ 105 w 107"/>
                <a:gd name="T15" fmla="*/ 21 h 27"/>
                <a:gd name="T16" fmla="*/ 107 w 107"/>
                <a:gd name="T17" fmla="*/ 24 h 27"/>
                <a:gd name="T18" fmla="*/ 104 w 107"/>
                <a:gd name="T19" fmla="*/ 27 h 27"/>
                <a:gd name="T20" fmla="*/ 20 w 107"/>
                <a:gd name="T21" fmla="*/ 21 h 27"/>
                <a:gd name="T22" fmla="*/ 87 w 107"/>
                <a:gd name="T23" fmla="*/ 21 h 27"/>
                <a:gd name="T24" fmla="*/ 54 w 107"/>
                <a:gd name="T25" fmla="*/ 7 h 27"/>
                <a:gd name="T26" fmla="*/ 20 w 107"/>
                <a:gd name="T27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" h="27">
                  <a:moveTo>
                    <a:pt x="104" y="27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7"/>
                    <a:pt x="0" y="26"/>
                    <a:pt x="0" y="25"/>
                  </a:cubicBezTo>
                  <a:cubicBezTo>
                    <a:pt x="0" y="23"/>
                    <a:pt x="1" y="21"/>
                    <a:pt x="2" y="2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3" y="0"/>
                    <a:pt x="54" y="0"/>
                    <a:pt x="55" y="0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6" y="21"/>
                    <a:pt x="107" y="22"/>
                    <a:pt x="107" y="24"/>
                  </a:cubicBezTo>
                  <a:cubicBezTo>
                    <a:pt x="107" y="26"/>
                    <a:pt x="106" y="27"/>
                    <a:pt x="104" y="27"/>
                  </a:cubicBezTo>
                  <a:close/>
                  <a:moveTo>
                    <a:pt x="20" y="21"/>
                  </a:moveTo>
                  <a:cubicBezTo>
                    <a:pt x="87" y="21"/>
                    <a:pt x="87" y="21"/>
                    <a:pt x="87" y="21"/>
                  </a:cubicBezTo>
                  <a:cubicBezTo>
                    <a:pt x="54" y="7"/>
                    <a:pt x="54" y="7"/>
                    <a:pt x="54" y="7"/>
                  </a:cubicBezTo>
                  <a:lnTo>
                    <a:pt x="20" y="2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8" name="Freeform 1023">
              <a:extLst>
                <a:ext uri="{FF2B5EF4-FFF2-40B4-BE49-F238E27FC236}">
                  <a16:creationId xmlns:a16="http://schemas.microsoft.com/office/drawing/2014/main" id="{8F38F200-ADD3-4B3B-8D2F-553F5CDA8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0711" y="3207065"/>
              <a:ext cx="12646" cy="93579"/>
            </a:xfrm>
            <a:custGeom>
              <a:avLst/>
              <a:gdLst>
                <a:gd name="T0" fmla="*/ 4 w 7"/>
                <a:gd name="T1" fmla="*/ 52 h 52"/>
                <a:gd name="T2" fmla="*/ 0 w 7"/>
                <a:gd name="T3" fmla="*/ 49 h 52"/>
                <a:gd name="T4" fmla="*/ 0 w 7"/>
                <a:gd name="T5" fmla="*/ 3 h 52"/>
                <a:gd name="T6" fmla="*/ 4 w 7"/>
                <a:gd name="T7" fmla="*/ 0 h 52"/>
                <a:gd name="T8" fmla="*/ 7 w 7"/>
                <a:gd name="T9" fmla="*/ 3 h 52"/>
                <a:gd name="T10" fmla="*/ 7 w 7"/>
                <a:gd name="T11" fmla="*/ 49 h 52"/>
                <a:gd name="T12" fmla="*/ 4 w 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52">
                  <a:moveTo>
                    <a:pt x="4" y="52"/>
                  </a:moveTo>
                  <a:cubicBezTo>
                    <a:pt x="2" y="52"/>
                    <a:pt x="0" y="51"/>
                    <a:pt x="0" y="4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1"/>
                    <a:pt x="6" y="52"/>
                    <a:pt x="4" y="5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6" name="Agrupar 1715">
            <a:extLst>
              <a:ext uri="{FF2B5EF4-FFF2-40B4-BE49-F238E27FC236}">
                <a16:creationId xmlns:a16="http://schemas.microsoft.com/office/drawing/2014/main" id="{572F764E-B645-45BD-9635-847CC66B8FCA}"/>
              </a:ext>
            </a:extLst>
          </p:cNvPr>
          <p:cNvGrpSpPr/>
          <p:nvPr/>
        </p:nvGrpSpPr>
        <p:grpSpPr>
          <a:xfrm>
            <a:off x="8670972" y="2932650"/>
            <a:ext cx="405932" cy="405932"/>
            <a:chOff x="9352584" y="2932650"/>
            <a:chExt cx="405932" cy="405932"/>
          </a:xfrm>
        </p:grpSpPr>
        <p:sp>
          <p:nvSpPr>
            <p:cNvPr id="1229" name="Freeform 1024">
              <a:extLst>
                <a:ext uri="{FF2B5EF4-FFF2-40B4-BE49-F238E27FC236}">
                  <a16:creationId xmlns:a16="http://schemas.microsoft.com/office/drawing/2014/main" id="{B9EFDF7E-16FB-4E3A-9900-4B0281A30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5930" y="2978175"/>
              <a:ext cx="256711" cy="360407"/>
            </a:xfrm>
            <a:custGeom>
              <a:avLst/>
              <a:gdLst>
                <a:gd name="T0" fmla="*/ 138 w 141"/>
                <a:gd name="T1" fmla="*/ 199 h 199"/>
                <a:gd name="T2" fmla="*/ 4 w 141"/>
                <a:gd name="T3" fmla="*/ 199 h 199"/>
                <a:gd name="T4" fmla="*/ 0 w 141"/>
                <a:gd name="T5" fmla="*/ 196 h 199"/>
                <a:gd name="T6" fmla="*/ 0 w 141"/>
                <a:gd name="T7" fmla="*/ 3 h 199"/>
                <a:gd name="T8" fmla="*/ 4 w 141"/>
                <a:gd name="T9" fmla="*/ 0 h 199"/>
                <a:gd name="T10" fmla="*/ 138 w 141"/>
                <a:gd name="T11" fmla="*/ 0 h 199"/>
                <a:gd name="T12" fmla="*/ 141 w 141"/>
                <a:gd name="T13" fmla="*/ 3 h 199"/>
                <a:gd name="T14" fmla="*/ 141 w 141"/>
                <a:gd name="T15" fmla="*/ 196 h 199"/>
                <a:gd name="T16" fmla="*/ 138 w 141"/>
                <a:gd name="T17" fmla="*/ 199 h 199"/>
                <a:gd name="T18" fmla="*/ 7 w 141"/>
                <a:gd name="T19" fmla="*/ 193 h 199"/>
                <a:gd name="T20" fmla="*/ 135 w 141"/>
                <a:gd name="T21" fmla="*/ 193 h 199"/>
                <a:gd name="T22" fmla="*/ 135 w 141"/>
                <a:gd name="T23" fmla="*/ 7 h 199"/>
                <a:gd name="T24" fmla="*/ 7 w 141"/>
                <a:gd name="T25" fmla="*/ 7 h 199"/>
                <a:gd name="T26" fmla="*/ 7 w 141"/>
                <a:gd name="T27" fmla="*/ 19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1" h="199">
                  <a:moveTo>
                    <a:pt x="138" y="199"/>
                  </a:moveTo>
                  <a:cubicBezTo>
                    <a:pt x="4" y="199"/>
                    <a:pt x="4" y="199"/>
                    <a:pt x="4" y="199"/>
                  </a:cubicBezTo>
                  <a:cubicBezTo>
                    <a:pt x="2" y="199"/>
                    <a:pt x="0" y="198"/>
                    <a:pt x="0" y="19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1" y="3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1" y="198"/>
                    <a:pt x="140" y="199"/>
                    <a:pt x="138" y="199"/>
                  </a:cubicBezTo>
                  <a:close/>
                  <a:moveTo>
                    <a:pt x="7" y="193"/>
                  </a:moveTo>
                  <a:cubicBezTo>
                    <a:pt x="135" y="193"/>
                    <a:pt x="135" y="193"/>
                    <a:pt x="135" y="193"/>
                  </a:cubicBezTo>
                  <a:cubicBezTo>
                    <a:pt x="135" y="7"/>
                    <a:pt x="135" y="7"/>
                    <a:pt x="13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9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0" name="Freeform 1025">
              <a:extLst>
                <a:ext uri="{FF2B5EF4-FFF2-40B4-BE49-F238E27FC236}">
                  <a16:creationId xmlns:a16="http://schemas.microsoft.com/office/drawing/2014/main" id="{91A1FC89-A20A-4B87-B7DB-C61917451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80307" y="3220975"/>
              <a:ext cx="149221" cy="44260"/>
            </a:xfrm>
            <a:custGeom>
              <a:avLst/>
              <a:gdLst>
                <a:gd name="T0" fmla="*/ 79 w 82"/>
                <a:gd name="T1" fmla="*/ 24 h 24"/>
                <a:gd name="T2" fmla="*/ 3 w 82"/>
                <a:gd name="T3" fmla="*/ 24 h 24"/>
                <a:gd name="T4" fmla="*/ 0 w 82"/>
                <a:gd name="T5" fmla="*/ 20 h 24"/>
                <a:gd name="T6" fmla="*/ 0 w 82"/>
                <a:gd name="T7" fmla="*/ 3 h 24"/>
                <a:gd name="T8" fmla="*/ 3 w 82"/>
                <a:gd name="T9" fmla="*/ 0 h 24"/>
                <a:gd name="T10" fmla="*/ 79 w 82"/>
                <a:gd name="T11" fmla="*/ 0 h 24"/>
                <a:gd name="T12" fmla="*/ 82 w 82"/>
                <a:gd name="T13" fmla="*/ 3 h 24"/>
                <a:gd name="T14" fmla="*/ 82 w 82"/>
                <a:gd name="T15" fmla="*/ 20 h 24"/>
                <a:gd name="T16" fmla="*/ 79 w 82"/>
                <a:gd name="T17" fmla="*/ 24 h 24"/>
                <a:gd name="T18" fmla="*/ 7 w 82"/>
                <a:gd name="T19" fmla="*/ 17 h 24"/>
                <a:gd name="T20" fmla="*/ 75 w 82"/>
                <a:gd name="T21" fmla="*/ 17 h 24"/>
                <a:gd name="T22" fmla="*/ 75 w 82"/>
                <a:gd name="T23" fmla="*/ 7 h 24"/>
                <a:gd name="T24" fmla="*/ 7 w 82"/>
                <a:gd name="T25" fmla="*/ 7 h 24"/>
                <a:gd name="T26" fmla="*/ 7 w 82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24">
                  <a:moveTo>
                    <a:pt x="79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2" y="1"/>
                    <a:pt x="82" y="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2"/>
                    <a:pt x="81" y="24"/>
                    <a:pt x="79" y="24"/>
                  </a:cubicBezTo>
                  <a:close/>
                  <a:moveTo>
                    <a:pt x="7" y="17"/>
                  </a:moveTo>
                  <a:cubicBezTo>
                    <a:pt x="75" y="17"/>
                    <a:pt x="75" y="17"/>
                    <a:pt x="75" y="1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1" name="Freeform 1026">
              <a:extLst>
                <a:ext uri="{FF2B5EF4-FFF2-40B4-BE49-F238E27FC236}">
                  <a16:creationId xmlns:a16="http://schemas.microsoft.com/office/drawing/2014/main" id="{E73A03E4-A84E-42A8-AEF7-9CBCD4879B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87895" y="3251325"/>
              <a:ext cx="73346" cy="87256"/>
            </a:xfrm>
            <a:custGeom>
              <a:avLst/>
              <a:gdLst>
                <a:gd name="T0" fmla="*/ 37 w 40"/>
                <a:gd name="T1" fmla="*/ 48 h 48"/>
                <a:gd name="T2" fmla="*/ 3 w 40"/>
                <a:gd name="T3" fmla="*/ 48 h 48"/>
                <a:gd name="T4" fmla="*/ 0 w 40"/>
                <a:gd name="T5" fmla="*/ 45 h 48"/>
                <a:gd name="T6" fmla="*/ 0 w 40"/>
                <a:gd name="T7" fmla="*/ 3 h 48"/>
                <a:gd name="T8" fmla="*/ 3 w 40"/>
                <a:gd name="T9" fmla="*/ 0 h 48"/>
                <a:gd name="T10" fmla="*/ 37 w 40"/>
                <a:gd name="T11" fmla="*/ 0 h 48"/>
                <a:gd name="T12" fmla="*/ 40 w 40"/>
                <a:gd name="T13" fmla="*/ 3 h 48"/>
                <a:gd name="T14" fmla="*/ 40 w 40"/>
                <a:gd name="T15" fmla="*/ 45 h 48"/>
                <a:gd name="T16" fmla="*/ 37 w 40"/>
                <a:gd name="T17" fmla="*/ 48 h 48"/>
                <a:gd name="T18" fmla="*/ 7 w 40"/>
                <a:gd name="T19" fmla="*/ 42 h 48"/>
                <a:gd name="T20" fmla="*/ 34 w 40"/>
                <a:gd name="T21" fmla="*/ 42 h 48"/>
                <a:gd name="T22" fmla="*/ 34 w 40"/>
                <a:gd name="T23" fmla="*/ 7 h 48"/>
                <a:gd name="T24" fmla="*/ 7 w 40"/>
                <a:gd name="T25" fmla="*/ 7 h 48"/>
                <a:gd name="T26" fmla="*/ 7 w 40"/>
                <a:gd name="T27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8">
                  <a:moveTo>
                    <a:pt x="37" y="48"/>
                  </a:moveTo>
                  <a:cubicBezTo>
                    <a:pt x="3" y="48"/>
                    <a:pt x="3" y="48"/>
                    <a:pt x="3" y="48"/>
                  </a:cubicBezTo>
                  <a:cubicBezTo>
                    <a:pt x="2" y="48"/>
                    <a:pt x="0" y="47"/>
                    <a:pt x="0" y="4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0" y="1"/>
                    <a:pt x="40" y="3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7"/>
                    <a:pt x="39" y="48"/>
                    <a:pt x="37" y="48"/>
                  </a:cubicBezTo>
                  <a:close/>
                  <a:moveTo>
                    <a:pt x="7" y="42"/>
                  </a:moveTo>
                  <a:cubicBezTo>
                    <a:pt x="34" y="42"/>
                    <a:pt x="34" y="42"/>
                    <a:pt x="34" y="4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4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2" name="Freeform 1027">
              <a:extLst>
                <a:ext uri="{FF2B5EF4-FFF2-40B4-BE49-F238E27FC236}">
                  <a16:creationId xmlns:a16="http://schemas.microsoft.com/office/drawing/2014/main" id="{656F9A9E-9382-40A3-8558-4DF1B2EC81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49859" y="3251325"/>
              <a:ext cx="72081" cy="87256"/>
            </a:xfrm>
            <a:custGeom>
              <a:avLst/>
              <a:gdLst>
                <a:gd name="T0" fmla="*/ 36 w 40"/>
                <a:gd name="T1" fmla="*/ 48 h 48"/>
                <a:gd name="T2" fmla="*/ 3 w 40"/>
                <a:gd name="T3" fmla="*/ 48 h 48"/>
                <a:gd name="T4" fmla="*/ 0 w 40"/>
                <a:gd name="T5" fmla="*/ 45 h 48"/>
                <a:gd name="T6" fmla="*/ 0 w 40"/>
                <a:gd name="T7" fmla="*/ 3 h 48"/>
                <a:gd name="T8" fmla="*/ 3 w 40"/>
                <a:gd name="T9" fmla="*/ 0 h 48"/>
                <a:gd name="T10" fmla="*/ 36 w 40"/>
                <a:gd name="T11" fmla="*/ 0 h 48"/>
                <a:gd name="T12" fmla="*/ 40 w 40"/>
                <a:gd name="T13" fmla="*/ 3 h 48"/>
                <a:gd name="T14" fmla="*/ 40 w 40"/>
                <a:gd name="T15" fmla="*/ 45 h 48"/>
                <a:gd name="T16" fmla="*/ 36 w 40"/>
                <a:gd name="T17" fmla="*/ 48 h 48"/>
                <a:gd name="T18" fmla="*/ 6 w 40"/>
                <a:gd name="T19" fmla="*/ 42 h 48"/>
                <a:gd name="T20" fmla="*/ 33 w 40"/>
                <a:gd name="T21" fmla="*/ 42 h 48"/>
                <a:gd name="T22" fmla="*/ 33 w 40"/>
                <a:gd name="T23" fmla="*/ 7 h 48"/>
                <a:gd name="T24" fmla="*/ 6 w 40"/>
                <a:gd name="T25" fmla="*/ 7 h 48"/>
                <a:gd name="T26" fmla="*/ 6 w 40"/>
                <a:gd name="T27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8">
                  <a:moveTo>
                    <a:pt x="36" y="48"/>
                  </a:moveTo>
                  <a:cubicBezTo>
                    <a:pt x="3" y="48"/>
                    <a:pt x="3" y="48"/>
                    <a:pt x="3" y="48"/>
                  </a:cubicBezTo>
                  <a:cubicBezTo>
                    <a:pt x="1" y="48"/>
                    <a:pt x="0" y="47"/>
                    <a:pt x="0" y="4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1"/>
                    <a:pt x="40" y="3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7"/>
                    <a:pt x="38" y="48"/>
                    <a:pt x="36" y="48"/>
                  </a:cubicBezTo>
                  <a:close/>
                  <a:moveTo>
                    <a:pt x="6" y="42"/>
                  </a:moveTo>
                  <a:cubicBezTo>
                    <a:pt x="33" y="42"/>
                    <a:pt x="33" y="42"/>
                    <a:pt x="33" y="42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4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3" name="Freeform 1028">
              <a:extLst>
                <a:ext uri="{FF2B5EF4-FFF2-40B4-BE49-F238E27FC236}">
                  <a16:creationId xmlns:a16="http://schemas.microsoft.com/office/drawing/2014/main" id="{46C5F9D4-1F95-4F60-A69D-9F3E33681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9957" y="2932650"/>
              <a:ext cx="209921" cy="58171"/>
            </a:xfrm>
            <a:custGeom>
              <a:avLst/>
              <a:gdLst>
                <a:gd name="T0" fmla="*/ 112 w 116"/>
                <a:gd name="T1" fmla="*/ 32 h 32"/>
                <a:gd name="T2" fmla="*/ 3 w 116"/>
                <a:gd name="T3" fmla="*/ 32 h 32"/>
                <a:gd name="T4" fmla="*/ 0 w 116"/>
                <a:gd name="T5" fmla="*/ 28 h 32"/>
                <a:gd name="T6" fmla="*/ 0 w 116"/>
                <a:gd name="T7" fmla="*/ 3 h 32"/>
                <a:gd name="T8" fmla="*/ 3 w 116"/>
                <a:gd name="T9" fmla="*/ 0 h 32"/>
                <a:gd name="T10" fmla="*/ 112 w 116"/>
                <a:gd name="T11" fmla="*/ 0 h 32"/>
                <a:gd name="T12" fmla="*/ 116 w 116"/>
                <a:gd name="T13" fmla="*/ 3 h 32"/>
                <a:gd name="T14" fmla="*/ 116 w 116"/>
                <a:gd name="T15" fmla="*/ 28 h 32"/>
                <a:gd name="T16" fmla="*/ 112 w 116"/>
                <a:gd name="T17" fmla="*/ 32 h 32"/>
                <a:gd name="T18" fmla="*/ 7 w 116"/>
                <a:gd name="T19" fmla="*/ 25 h 32"/>
                <a:gd name="T20" fmla="*/ 109 w 116"/>
                <a:gd name="T21" fmla="*/ 25 h 32"/>
                <a:gd name="T22" fmla="*/ 109 w 116"/>
                <a:gd name="T23" fmla="*/ 7 h 32"/>
                <a:gd name="T24" fmla="*/ 7 w 116"/>
                <a:gd name="T25" fmla="*/ 7 h 32"/>
                <a:gd name="T26" fmla="*/ 7 w 116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2">
                  <a:moveTo>
                    <a:pt x="112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2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4" y="0"/>
                    <a:pt x="116" y="1"/>
                    <a:pt x="116" y="3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6" y="30"/>
                    <a:pt x="114" y="32"/>
                    <a:pt x="112" y="32"/>
                  </a:cubicBezTo>
                  <a:close/>
                  <a:moveTo>
                    <a:pt x="7" y="25"/>
                  </a:moveTo>
                  <a:cubicBezTo>
                    <a:pt x="109" y="25"/>
                    <a:pt x="109" y="25"/>
                    <a:pt x="109" y="25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4" name="Freeform 1029">
              <a:extLst>
                <a:ext uri="{FF2B5EF4-FFF2-40B4-BE49-F238E27FC236}">
                  <a16:creationId xmlns:a16="http://schemas.microsoft.com/office/drawing/2014/main" id="{15CAAB25-0A81-479B-95B8-EF99679242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65132" y="3016113"/>
              <a:ext cx="42996" cy="41731"/>
            </a:xfrm>
            <a:custGeom>
              <a:avLst/>
              <a:gdLst>
                <a:gd name="T0" fmla="*/ 21 w 24"/>
                <a:gd name="T1" fmla="*/ 23 h 23"/>
                <a:gd name="T2" fmla="*/ 4 w 24"/>
                <a:gd name="T3" fmla="*/ 23 h 23"/>
                <a:gd name="T4" fmla="*/ 0 w 24"/>
                <a:gd name="T5" fmla="*/ 20 h 23"/>
                <a:gd name="T6" fmla="*/ 0 w 24"/>
                <a:gd name="T7" fmla="*/ 3 h 23"/>
                <a:gd name="T8" fmla="*/ 4 w 24"/>
                <a:gd name="T9" fmla="*/ 0 h 23"/>
                <a:gd name="T10" fmla="*/ 21 w 24"/>
                <a:gd name="T11" fmla="*/ 0 h 23"/>
                <a:gd name="T12" fmla="*/ 24 w 24"/>
                <a:gd name="T13" fmla="*/ 3 h 23"/>
                <a:gd name="T14" fmla="*/ 24 w 24"/>
                <a:gd name="T15" fmla="*/ 20 h 23"/>
                <a:gd name="T16" fmla="*/ 21 w 24"/>
                <a:gd name="T17" fmla="*/ 23 h 23"/>
                <a:gd name="T18" fmla="*/ 7 w 24"/>
                <a:gd name="T19" fmla="*/ 17 h 23"/>
                <a:gd name="T20" fmla="*/ 17 w 24"/>
                <a:gd name="T21" fmla="*/ 17 h 23"/>
                <a:gd name="T22" fmla="*/ 17 w 24"/>
                <a:gd name="T23" fmla="*/ 7 h 23"/>
                <a:gd name="T24" fmla="*/ 7 w 24"/>
                <a:gd name="T25" fmla="*/ 7 h 23"/>
                <a:gd name="T26" fmla="*/ 7 w 24"/>
                <a:gd name="T2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3">
                  <a:moveTo>
                    <a:pt x="21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4" y="1"/>
                    <a:pt x="24" y="3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2"/>
                    <a:pt x="22" y="23"/>
                    <a:pt x="21" y="23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5" name="Freeform 1030">
              <a:extLst>
                <a:ext uri="{FF2B5EF4-FFF2-40B4-BE49-F238E27FC236}">
                  <a16:creationId xmlns:a16="http://schemas.microsoft.com/office/drawing/2014/main" id="{C4B87C71-0290-41BA-9279-E47A02560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33420" y="3016113"/>
              <a:ext cx="42996" cy="41731"/>
            </a:xfrm>
            <a:custGeom>
              <a:avLst/>
              <a:gdLst>
                <a:gd name="T0" fmla="*/ 20 w 24"/>
                <a:gd name="T1" fmla="*/ 23 h 23"/>
                <a:gd name="T2" fmla="*/ 4 w 24"/>
                <a:gd name="T3" fmla="*/ 23 h 23"/>
                <a:gd name="T4" fmla="*/ 0 w 24"/>
                <a:gd name="T5" fmla="*/ 20 h 23"/>
                <a:gd name="T6" fmla="*/ 0 w 24"/>
                <a:gd name="T7" fmla="*/ 3 h 23"/>
                <a:gd name="T8" fmla="*/ 4 w 24"/>
                <a:gd name="T9" fmla="*/ 0 h 23"/>
                <a:gd name="T10" fmla="*/ 20 w 24"/>
                <a:gd name="T11" fmla="*/ 0 h 23"/>
                <a:gd name="T12" fmla="*/ 24 w 24"/>
                <a:gd name="T13" fmla="*/ 3 h 23"/>
                <a:gd name="T14" fmla="*/ 24 w 24"/>
                <a:gd name="T15" fmla="*/ 20 h 23"/>
                <a:gd name="T16" fmla="*/ 20 w 24"/>
                <a:gd name="T17" fmla="*/ 23 h 23"/>
                <a:gd name="T18" fmla="*/ 7 w 24"/>
                <a:gd name="T19" fmla="*/ 17 h 23"/>
                <a:gd name="T20" fmla="*/ 17 w 24"/>
                <a:gd name="T21" fmla="*/ 17 h 23"/>
                <a:gd name="T22" fmla="*/ 17 w 24"/>
                <a:gd name="T23" fmla="*/ 7 h 23"/>
                <a:gd name="T24" fmla="*/ 7 w 24"/>
                <a:gd name="T25" fmla="*/ 7 h 23"/>
                <a:gd name="T26" fmla="*/ 7 w 24"/>
                <a:gd name="T2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3">
                  <a:moveTo>
                    <a:pt x="20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4" y="1"/>
                    <a:pt x="24" y="3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2"/>
                    <a:pt x="22" y="23"/>
                    <a:pt x="20" y="23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6" name="Freeform 1031">
              <a:extLst>
                <a:ext uri="{FF2B5EF4-FFF2-40B4-BE49-F238E27FC236}">
                  <a16:creationId xmlns:a16="http://schemas.microsoft.com/office/drawing/2014/main" id="{3AC84E28-8B35-4632-91B0-9AB0536403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2972" y="3016113"/>
              <a:ext cx="41731" cy="41731"/>
            </a:xfrm>
            <a:custGeom>
              <a:avLst/>
              <a:gdLst>
                <a:gd name="T0" fmla="*/ 20 w 23"/>
                <a:gd name="T1" fmla="*/ 23 h 23"/>
                <a:gd name="T2" fmla="*/ 3 w 23"/>
                <a:gd name="T3" fmla="*/ 23 h 23"/>
                <a:gd name="T4" fmla="*/ 0 w 23"/>
                <a:gd name="T5" fmla="*/ 20 h 23"/>
                <a:gd name="T6" fmla="*/ 0 w 23"/>
                <a:gd name="T7" fmla="*/ 3 h 23"/>
                <a:gd name="T8" fmla="*/ 3 w 23"/>
                <a:gd name="T9" fmla="*/ 0 h 23"/>
                <a:gd name="T10" fmla="*/ 20 w 23"/>
                <a:gd name="T11" fmla="*/ 0 h 23"/>
                <a:gd name="T12" fmla="*/ 23 w 23"/>
                <a:gd name="T13" fmla="*/ 3 h 23"/>
                <a:gd name="T14" fmla="*/ 23 w 23"/>
                <a:gd name="T15" fmla="*/ 20 h 23"/>
                <a:gd name="T16" fmla="*/ 20 w 23"/>
                <a:gd name="T17" fmla="*/ 23 h 23"/>
                <a:gd name="T18" fmla="*/ 7 w 23"/>
                <a:gd name="T19" fmla="*/ 17 h 23"/>
                <a:gd name="T20" fmla="*/ 17 w 23"/>
                <a:gd name="T21" fmla="*/ 17 h 23"/>
                <a:gd name="T22" fmla="*/ 17 w 23"/>
                <a:gd name="T23" fmla="*/ 7 h 23"/>
                <a:gd name="T24" fmla="*/ 7 w 23"/>
                <a:gd name="T25" fmla="*/ 7 h 23"/>
                <a:gd name="T26" fmla="*/ 7 w 23"/>
                <a:gd name="T2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3">
                  <a:moveTo>
                    <a:pt x="20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1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3" y="1"/>
                    <a:pt x="23" y="3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2"/>
                    <a:pt x="22" y="23"/>
                    <a:pt x="20" y="23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7" name="Freeform 1032">
              <a:extLst>
                <a:ext uri="{FF2B5EF4-FFF2-40B4-BE49-F238E27FC236}">
                  <a16:creationId xmlns:a16="http://schemas.microsoft.com/office/drawing/2014/main" id="{4FF30DEE-1429-45C2-80F5-706A4B9C41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65132" y="3083136"/>
              <a:ext cx="42996" cy="44260"/>
            </a:xfrm>
            <a:custGeom>
              <a:avLst/>
              <a:gdLst>
                <a:gd name="T0" fmla="*/ 21 w 24"/>
                <a:gd name="T1" fmla="*/ 24 h 24"/>
                <a:gd name="T2" fmla="*/ 4 w 24"/>
                <a:gd name="T3" fmla="*/ 24 h 24"/>
                <a:gd name="T4" fmla="*/ 0 w 24"/>
                <a:gd name="T5" fmla="*/ 21 h 24"/>
                <a:gd name="T6" fmla="*/ 0 w 24"/>
                <a:gd name="T7" fmla="*/ 4 h 24"/>
                <a:gd name="T8" fmla="*/ 4 w 24"/>
                <a:gd name="T9" fmla="*/ 0 h 24"/>
                <a:gd name="T10" fmla="*/ 21 w 24"/>
                <a:gd name="T11" fmla="*/ 0 h 24"/>
                <a:gd name="T12" fmla="*/ 24 w 24"/>
                <a:gd name="T13" fmla="*/ 4 h 24"/>
                <a:gd name="T14" fmla="*/ 24 w 24"/>
                <a:gd name="T15" fmla="*/ 21 h 24"/>
                <a:gd name="T16" fmla="*/ 21 w 24"/>
                <a:gd name="T17" fmla="*/ 24 h 24"/>
                <a:gd name="T18" fmla="*/ 7 w 24"/>
                <a:gd name="T19" fmla="*/ 17 h 24"/>
                <a:gd name="T20" fmla="*/ 17 w 24"/>
                <a:gd name="T21" fmla="*/ 17 h 24"/>
                <a:gd name="T22" fmla="*/ 17 w 24"/>
                <a:gd name="T23" fmla="*/ 7 h 24"/>
                <a:gd name="T24" fmla="*/ 7 w 24"/>
                <a:gd name="T25" fmla="*/ 7 h 24"/>
                <a:gd name="T26" fmla="*/ 7 w 24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4">
                  <a:moveTo>
                    <a:pt x="21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3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1" y="24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8" name="Freeform 1033">
              <a:extLst>
                <a:ext uri="{FF2B5EF4-FFF2-40B4-BE49-F238E27FC236}">
                  <a16:creationId xmlns:a16="http://schemas.microsoft.com/office/drawing/2014/main" id="{A9DD4875-5F21-4B45-97FF-D85A79D9D2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33420" y="3083136"/>
              <a:ext cx="42996" cy="44260"/>
            </a:xfrm>
            <a:custGeom>
              <a:avLst/>
              <a:gdLst>
                <a:gd name="T0" fmla="*/ 20 w 24"/>
                <a:gd name="T1" fmla="*/ 24 h 24"/>
                <a:gd name="T2" fmla="*/ 4 w 24"/>
                <a:gd name="T3" fmla="*/ 24 h 24"/>
                <a:gd name="T4" fmla="*/ 0 w 24"/>
                <a:gd name="T5" fmla="*/ 21 h 24"/>
                <a:gd name="T6" fmla="*/ 0 w 24"/>
                <a:gd name="T7" fmla="*/ 4 h 24"/>
                <a:gd name="T8" fmla="*/ 4 w 24"/>
                <a:gd name="T9" fmla="*/ 0 h 24"/>
                <a:gd name="T10" fmla="*/ 20 w 24"/>
                <a:gd name="T11" fmla="*/ 0 h 24"/>
                <a:gd name="T12" fmla="*/ 24 w 24"/>
                <a:gd name="T13" fmla="*/ 4 h 24"/>
                <a:gd name="T14" fmla="*/ 24 w 24"/>
                <a:gd name="T15" fmla="*/ 21 h 24"/>
                <a:gd name="T16" fmla="*/ 20 w 24"/>
                <a:gd name="T17" fmla="*/ 24 h 24"/>
                <a:gd name="T18" fmla="*/ 7 w 24"/>
                <a:gd name="T19" fmla="*/ 17 h 24"/>
                <a:gd name="T20" fmla="*/ 17 w 24"/>
                <a:gd name="T21" fmla="*/ 17 h 24"/>
                <a:gd name="T22" fmla="*/ 17 w 24"/>
                <a:gd name="T23" fmla="*/ 7 h 24"/>
                <a:gd name="T24" fmla="*/ 7 w 24"/>
                <a:gd name="T25" fmla="*/ 7 h 24"/>
                <a:gd name="T26" fmla="*/ 7 w 24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4">
                  <a:moveTo>
                    <a:pt x="20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3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39" name="Freeform 1034">
              <a:extLst>
                <a:ext uri="{FF2B5EF4-FFF2-40B4-BE49-F238E27FC236}">
                  <a16:creationId xmlns:a16="http://schemas.microsoft.com/office/drawing/2014/main" id="{9AB6A251-0375-4B20-8390-85AD9127A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2972" y="3083136"/>
              <a:ext cx="41731" cy="44260"/>
            </a:xfrm>
            <a:custGeom>
              <a:avLst/>
              <a:gdLst>
                <a:gd name="T0" fmla="*/ 20 w 23"/>
                <a:gd name="T1" fmla="*/ 24 h 24"/>
                <a:gd name="T2" fmla="*/ 3 w 23"/>
                <a:gd name="T3" fmla="*/ 24 h 24"/>
                <a:gd name="T4" fmla="*/ 0 w 23"/>
                <a:gd name="T5" fmla="*/ 21 h 24"/>
                <a:gd name="T6" fmla="*/ 0 w 23"/>
                <a:gd name="T7" fmla="*/ 4 h 24"/>
                <a:gd name="T8" fmla="*/ 3 w 23"/>
                <a:gd name="T9" fmla="*/ 0 h 24"/>
                <a:gd name="T10" fmla="*/ 20 w 23"/>
                <a:gd name="T11" fmla="*/ 0 h 24"/>
                <a:gd name="T12" fmla="*/ 23 w 23"/>
                <a:gd name="T13" fmla="*/ 4 h 24"/>
                <a:gd name="T14" fmla="*/ 23 w 23"/>
                <a:gd name="T15" fmla="*/ 21 h 24"/>
                <a:gd name="T16" fmla="*/ 20 w 23"/>
                <a:gd name="T17" fmla="*/ 24 h 24"/>
                <a:gd name="T18" fmla="*/ 7 w 23"/>
                <a:gd name="T19" fmla="*/ 17 h 24"/>
                <a:gd name="T20" fmla="*/ 17 w 23"/>
                <a:gd name="T21" fmla="*/ 17 h 24"/>
                <a:gd name="T22" fmla="*/ 17 w 23"/>
                <a:gd name="T23" fmla="*/ 7 h 24"/>
                <a:gd name="T24" fmla="*/ 7 w 23"/>
                <a:gd name="T25" fmla="*/ 7 h 24"/>
                <a:gd name="T26" fmla="*/ 7 w 23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4">
                  <a:moveTo>
                    <a:pt x="20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4"/>
                    <a:pt x="0" y="23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3" y="2"/>
                    <a:pt x="23" y="4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3"/>
                    <a:pt x="22" y="24"/>
                    <a:pt x="20" y="24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0" name="Freeform 1035">
              <a:extLst>
                <a:ext uri="{FF2B5EF4-FFF2-40B4-BE49-F238E27FC236}">
                  <a16:creationId xmlns:a16="http://schemas.microsoft.com/office/drawing/2014/main" id="{6C79189E-78A1-4960-8795-98F8CB46F0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65132" y="3152688"/>
              <a:ext cx="42996" cy="42996"/>
            </a:xfrm>
            <a:custGeom>
              <a:avLst/>
              <a:gdLst>
                <a:gd name="T0" fmla="*/ 21 w 24"/>
                <a:gd name="T1" fmla="*/ 24 h 24"/>
                <a:gd name="T2" fmla="*/ 4 w 24"/>
                <a:gd name="T3" fmla="*/ 24 h 24"/>
                <a:gd name="T4" fmla="*/ 0 w 24"/>
                <a:gd name="T5" fmla="*/ 20 h 24"/>
                <a:gd name="T6" fmla="*/ 0 w 24"/>
                <a:gd name="T7" fmla="*/ 4 h 24"/>
                <a:gd name="T8" fmla="*/ 4 w 24"/>
                <a:gd name="T9" fmla="*/ 0 h 24"/>
                <a:gd name="T10" fmla="*/ 21 w 24"/>
                <a:gd name="T11" fmla="*/ 0 h 24"/>
                <a:gd name="T12" fmla="*/ 24 w 24"/>
                <a:gd name="T13" fmla="*/ 4 h 24"/>
                <a:gd name="T14" fmla="*/ 24 w 24"/>
                <a:gd name="T15" fmla="*/ 20 h 24"/>
                <a:gd name="T16" fmla="*/ 21 w 24"/>
                <a:gd name="T17" fmla="*/ 24 h 24"/>
                <a:gd name="T18" fmla="*/ 7 w 24"/>
                <a:gd name="T19" fmla="*/ 17 h 24"/>
                <a:gd name="T20" fmla="*/ 17 w 24"/>
                <a:gd name="T21" fmla="*/ 17 h 24"/>
                <a:gd name="T22" fmla="*/ 17 w 24"/>
                <a:gd name="T23" fmla="*/ 7 h 24"/>
                <a:gd name="T24" fmla="*/ 7 w 24"/>
                <a:gd name="T25" fmla="*/ 7 h 24"/>
                <a:gd name="T26" fmla="*/ 7 w 24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4">
                  <a:moveTo>
                    <a:pt x="21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2"/>
                    <a:pt x="22" y="24"/>
                    <a:pt x="21" y="24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1" name="Freeform 1036">
              <a:extLst>
                <a:ext uri="{FF2B5EF4-FFF2-40B4-BE49-F238E27FC236}">
                  <a16:creationId xmlns:a16="http://schemas.microsoft.com/office/drawing/2014/main" id="{F2DA3C1E-472E-4A11-8860-850A29C9BE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33420" y="3152688"/>
              <a:ext cx="42996" cy="42996"/>
            </a:xfrm>
            <a:custGeom>
              <a:avLst/>
              <a:gdLst>
                <a:gd name="T0" fmla="*/ 20 w 24"/>
                <a:gd name="T1" fmla="*/ 24 h 24"/>
                <a:gd name="T2" fmla="*/ 4 w 24"/>
                <a:gd name="T3" fmla="*/ 24 h 24"/>
                <a:gd name="T4" fmla="*/ 0 w 24"/>
                <a:gd name="T5" fmla="*/ 20 h 24"/>
                <a:gd name="T6" fmla="*/ 0 w 24"/>
                <a:gd name="T7" fmla="*/ 4 h 24"/>
                <a:gd name="T8" fmla="*/ 4 w 24"/>
                <a:gd name="T9" fmla="*/ 0 h 24"/>
                <a:gd name="T10" fmla="*/ 20 w 24"/>
                <a:gd name="T11" fmla="*/ 0 h 24"/>
                <a:gd name="T12" fmla="*/ 24 w 24"/>
                <a:gd name="T13" fmla="*/ 4 h 24"/>
                <a:gd name="T14" fmla="*/ 24 w 24"/>
                <a:gd name="T15" fmla="*/ 20 h 24"/>
                <a:gd name="T16" fmla="*/ 20 w 24"/>
                <a:gd name="T17" fmla="*/ 24 h 24"/>
                <a:gd name="T18" fmla="*/ 7 w 24"/>
                <a:gd name="T19" fmla="*/ 17 h 24"/>
                <a:gd name="T20" fmla="*/ 17 w 24"/>
                <a:gd name="T21" fmla="*/ 17 h 24"/>
                <a:gd name="T22" fmla="*/ 17 w 24"/>
                <a:gd name="T23" fmla="*/ 7 h 24"/>
                <a:gd name="T24" fmla="*/ 7 w 24"/>
                <a:gd name="T25" fmla="*/ 7 h 24"/>
                <a:gd name="T26" fmla="*/ 7 w 24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4">
                  <a:moveTo>
                    <a:pt x="20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2"/>
                    <a:pt x="22" y="24"/>
                    <a:pt x="20" y="24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2" name="Freeform 1037">
              <a:extLst>
                <a:ext uri="{FF2B5EF4-FFF2-40B4-BE49-F238E27FC236}">
                  <a16:creationId xmlns:a16="http://schemas.microsoft.com/office/drawing/2014/main" id="{04C6BB11-ED5F-44CA-8B4C-8BCD5F296A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2972" y="3152688"/>
              <a:ext cx="41731" cy="42996"/>
            </a:xfrm>
            <a:custGeom>
              <a:avLst/>
              <a:gdLst>
                <a:gd name="T0" fmla="*/ 20 w 23"/>
                <a:gd name="T1" fmla="*/ 24 h 24"/>
                <a:gd name="T2" fmla="*/ 3 w 23"/>
                <a:gd name="T3" fmla="*/ 24 h 24"/>
                <a:gd name="T4" fmla="*/ 0 w 23"/>
                <a:gd name="T5" fmla="*/ 20 h 24"/>
                <a:gd name="T6" fmla="*/ 0 w 23"/>
                <a:gd name="T7" fmla="*/ 4 h 24"/>
                <a:gd name="T8" fmla="*/ 3 w 23"/>
                <a:gd name="T9" fmla="*/ 0 h 24"/>
                <a:gd name="T10" fmla="*/ 20 w 23"/>
                <a:gd name="T11" fmla="*/ 0 h 24"/>
                <a:gd name="T12" fmla="*/ 23 w 23"/>
                <a:gd name="T13" fmla="*/ 4 h 24"/>
                <a:gd name="T14" fmla="*/ 23 w 23"/>
                <a:gd name="T15" fmla="*/ 20 h 24"/>
                <a:gd name="T16" fmla="*/ 20 w 23"/>
                <a:gd name="T17" fmla="*/ 24 h 24"/>
                <a:gd name="T18" fmla="*/ 7 w 23"/>
                <a:gd name="T19" fmla="*/ 17 h 24"/>
                <a:gd name="T20" fmla="*/ 17 w 23"/>
                <a:gd name="T21" fmla="*/ 17 h 24"/>
                <a:gd name="T22" fmla="*/ 17 w 23"/>
                <a:gd name="T23" fmla="*/ 7 h 24"/>
                <a:gd name="T24" fmla="*/ 7 w 23"/>
                <a:gd name="T25" fmla="*/ 7 h 24"/>
                <a:gd name="T26" fmla="*/ 7 w 23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4">
                  <a:moveTo>
                    <a:pt x="20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3" y="2"/>
                    <a:pt x="23" y="4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2"/>
                    <a:pt x="22" y="24"/>
                    <a:pt x="20" y="24"/>
                  </a:cubicBezTo>
                  <a:close/>
                  <a:moveTo>
                    <a:pt x="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3" name="Freeform 1038">
              <a:extLst>
                <a:ext uri="{FF2B5EF4-FFF2-40B4-BE49-F238E27FC236}">
                  <a16:creationId xmlns:a16="http://schemas.microsoft.com/office/drawing/2014/main" id="{54561FE5-678A-47FE-9C5A-39D59DACB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66495" y="3220975"/>
              <a:ext cx="72081" cy="117606"/>
            </a:xfrm>
            <a:custGeom>
              <a:avLst/>
              <a:gdLst>
                <a:gd name="T0" fmla="*/ 37 w 40"/>
                <a:gd name="T1" fmla="*/ 65 h 65"/>
                <a:gd name="T2" fmla="*/ 3 w 40"/>
                <a:gd name="T3" fmla="*/ 65 h 65"/>
                <a:gd name="T4" fmla="*/ 0 w 40"/>
                <a:gd name="T5" fmla="*/ 62 h 65"/>
                <a:gd name="T6" fmla="*/ 0 w 40"/>
                <a:gd name="T7" fmla="*/ 3 h 65"/>
                <a:gd name="T8" fmla="*/ 3 w 40"/>
                <a:gd name="T9" fmla="*/ 0 h 65"/>
                <a:gd name="T10" fmla="*/ 37 w 40"/>
                <a:gd name="T11" fmla="*/ 0 h 65"/>
                <a:gd name="T12" fmla="*/ 40 w 40"/>
                <a:gd name="T13" fmla="*/ 3 h 65"/>
                <a:gd name="T14" fmla="*/ 40 w 40"/>
                <a:gd name="T15" fmla="*/ 62 h 65"/>
                <a:gd name="T16" fmla="*/ 37 w 40"/>
                <a:gd name="T17" fmla="*/ 65 h 65"/>
                <a:gd name="T18" fmla="*/ 7 w 40"/>
                <a:gd name="T19" fmla="*/ 59 h 65"/>
                <a:gd name="T20" fmla="*/ 33 w 40"/>
                <a:gd name="T21" fmla="*/ 59 h 65"/>
                <a:gd name="T22" fmla="*/ 33 w 40"/>
                <a:gd name="T23" fmla="*/ 7 h 65"/>
                <a:gd name="T24" fmla="*/ 7 w 40"/>
                <a:gd name="T25" fmla="*/ 7 h 65"/>
                <a:gd name="T26" fmla="*/ 7 w 40"/>
                <a:gd name="T27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65">
                  <a:moveTo>
                    <a:pt x="37" y="65"/>
                  </a:moveTo>
                  <a:cubicBezTo>
                    <a:pt x="3" y="65"/>
                    <a:pt x="3" y="65"/>
                    <a:pt x="3" y="65"/>
                  </a:cubicBezTo>
                  <a:cubicBezTo>
                    <a:pt x="1" y="65"/>
                    <a:pt x="0" y="64"/>
                    <a:pt x="0" y="6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0" y="1"/>
                    <a:pt x="40" y="3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4"/>
                    <a:pt x="39" y="65"/>
                    <a:pt x="37" y="65"/>
                  </a:cubicBezTo>
                  <a:close/>
                  <a:moveTo>
                    <a:pt x="7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4" name="Freeform 1039">
              <a:extLst>
                <a:ext uri="{FF2B5EF4-FFF2-40B4-BE49-F238E27FC236}">
                  <a16:creationId xmlns:a16="http://schemas.microsoft.com/office/drawing/2014/main" id="{A8E0580B-DF4A-41C3-A9FC-007CF19840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2584" y="3069225"/>
              <a:ext cx="85992" cy="164396"/>
            </a:xfrm>
            <a:custGeom>
              <a:avLst/>
              <a:gdLst>
                <a:gd name="T0" fmla="*/ 45 w 48"/>
                <a:gd name="T1" fmla="*/ 91 h 91"/>
                <a:gd name="T2" fmla="*/ 3 w 48"/>
                <a:gd name="T3" fmla="*/ 91 h 91"/>
                <a:gd name="T4" fmla="*/ 0 w 48"/>
                <a:gd name="T5" fmla="*/ 87 h 91"/>
                <a:gd name="T6" fmla="*/ 0 w 48"/>
                <a:gd name="T7" fmla="*/ 4 h 91"/>
                <a:gd name="T8" fmla="*/ 3 w 48"/>
                <a:gd name="T9" fmla="*/ 0 h 91"/>
                <a:gd name="T10" fmla="*/ 45 w 48"/>
                <a:gd name="T11" fmla="*/ 0 h 91"/>
                <a:gd name="T12" fmla="*/ 48 w 48"/>
                <a:gd name="T13" fmla="*/ 4 h 91"/>
                <a:gd name="T14" fmla="*/ 48 w 48"/>
                <a:gd name="T15" fmla="*/ 87 h 91"/>
                <a:gd name="T16" fmla="*/ 45 w 48"/>
                <a:gd name="T17" fmla="*/ 91 h 91"/>
                <a:gd name="T18" fmla="*/ 6 w 48"/>
                <a:gd name="T19" fmla="*/ 84 h 91"/>
                <a:gd name="T20" fmla="*/ 41 w 48"/>
                <a:gd name="T21" fmla="*/ 84 h 91"/>
                <a:gd name="T22" fmla="*/ 41 w 48"/>
                <a:gd name="T23" fmla="*/ 7 h 91"/>
                <a:gd name="T24" fmla="*/ 6 w 48"/>
                <a:gd name="T25" fmla="*/ 7 h 91"/>
                <a:gd name="T26" fmla="*/ 6 w 48"/>
                <a:gd name="T27" fmla="*/ 8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1">
                  <a:moveTo>
                    <a:pt x="45" y="91"/>
                  </a:moveTo>
                  <a:cubicBezTo>
                    <a:pt x="3" y="91"/>
                    <a:pt x="3" y="91"/>
                    <a:pt x="3" y="91"/>
                  </a:cubicBezTo>
                  <a:cubicBezTo>
                    <a:pt x="1" y="91"/>
                    <a:pt x="0" y="89"/>
                    <a:pt x="0" y="8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7" y="0"/>
                    <a:pt x="48" y="2"/>
                    <a:pt x="48" y="4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9"/>
                    <a:pt x="47" y="91"/>
                    <a:pt x="45" y="91"/>
                  </a:cubicBezTo>
                  <a:close/>
                  <a:moveTo>
                    <a:pt x="6" y="84"/>
                  </a:moveTo>
                  <a:cubicBezTo>
                    <a:pt x="41" y="84"/>
                    <a:pt x="41" y="84"/>
                    <a:pt x="41" y="84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8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5" name="Freeform 1040">
              <a:extLst>
                <a:ext uri="{FF2B5EF4-FFF2-40B4-BE49-F238E27FC236}">
                  <a16:creationId xmlns:a16="http://schemas.microsoft.com/office/drawing/2014/main" id="{BD56DF33-1A7F-467D-891D-56073E6E53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1260" y="3220975"/>
              <a:ext cx="72081" cy="117606"/>
            </a:xfrm>
            <a:custGeom>
              <a:avLst/>
              <a:gdLst>
                <a:gd name="T0" fmla="*/ 37 w 40"/>
                <a:gd name="T1" fmla="*/ 65 h 65"/>
                <a:gd name="T2" fmla="*/ 3 w 40"/>
                <a:gd name="T3" fmla="*/ 65 h 65"/>
                <a:gd name="T4" fmla="*/ 0 w 40"/>
                <a:gd name="T5" fmla="*/ 62 h 65"/>
                <a:gd name="T6" fmla="*/ 0 w 40"/>
                <a:gd name="T7" fmla="*/ 3 h 65"/>
                <a:gd name="T8" fmla="*/ 3 w 40"/>
                <a:gd name="T9" fmla="*/ 0 h 65"/>
                <a:gd name="T10" fmla="*/ 37 w 40"/>
                <a:gd name="T11" fmla="*/ 0 h 65"/>
                <a:gd name="T12" fmla="*/ 40 w 40"/>
                <a:gd name="T13" fmla="*/ 3 h 65"/>
                <a:gd name="T14" fmla="*/ 40 w 40"/>
                <a:gd name="T15" fmla="*/ 62 h 65"/>
                <a:gd name="T16" fmla="*/ 37 w 40"/>
                <a:gd name="T17" fmla="*/ 65 h 65"/>
                <a:gd name="T18" fmla="*/ 6 w 40"/>
                <a:gd name="T19" fmla="*/ 59 h 65"/>
                <a:gd name="T20" fmla="*/ 33 w 40"/>
                <a:gd name="T21" fmla="*/ 59 h 65"/>
                <a:gd name="T22" fmla="*/ 33 w 40"/>
                <a:gd name="T23" fmla="*/ 7 h 65"/>
                <a:gd name="T24" fmla="*/ 6 w 40"/>
                <a:gd name="T25" fmla="*/ 7 h 65"/>
                <a:gd name="T26" fmla="*/ 6 w 40"/>
                <a:gd name="T27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65">
                  <a:moveTo>
                    <a:pt x="37" y="65"/>
                  </a:moveTo>
                  <a:cubicBezTo>
                    <a:pt x="3" y="65"/>
                    <a:pt x="3" y="65"/>
                    <a:pt x="3" y="65"/>
                  </a:cubicBezTo>
                  <a:cubicBezTo>
                    <a:pt x="1" y="65"/>
                    <a:pt x="0" y="64"/>
                    <a:pt x="0" y="6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40" y="1"/>
                    <a:pt x="40" y="3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4"/>
                    <a:pt x="38" y="65"/>
                    <a:pt x="37" y="65"/>
                  </a:cubicBezTo>
                  <a:close/>
                  <a:moveTo>
                    <a:pt x="6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5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6" name="Freeform 1041">
              <a:extLst>
                <a:ext uri="{FF2B5EF4-FFF2-40B4-BE49-F238E27FC236}">
                  <a16:creationId xmlns:a16="http://schemas.microsoft.com/office/drawing/2014/main" id="{3C6DE42D-BDEB-423D-8D07-D9AF6D775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1260" y="3069225"/>
              <a:ext cx="87256" cy="164396"/>
            </a:xfrm>
            <a:custGeom>
              <a:avLst/>
              <a:gdLst>
                <a:gd name="T0" fmla="*/ 45 w 48"/>
                <a:gd name="T1" fmla="*/ 91 h 91"/>
                <a:gd name="T2" fmla="*/ 3 w 48"/>
                <a:gd name="T3" fmla="*/ 91 h 91"/>
                <a:gd name="T4" fmla="*/ 0 w 48"/>
                <a:gd name="T5" fmla="*/ 87 h 91"/>
                <a:gd name="T6" fmla="*/ 0 w 48"/>
                <a:gd name="T7" fmla="*/ 4 h 91"/>
                <a:gd name="T8" fmla="*/ 3 w 48"/>
                <a:gd name="T9" fmla="*/ 0 h 91"/>
                <a:gd name="T10" fmla="*/ 45 w 48"/>
                <a:gd name="T11" fmla="*/ 0 h 91"/>
                <a:gd name="T12" fmla="*/ 48 w 48"/>
                <a:gd name="T13" fmla="*/ 4 h 91"/>
                <a:gd name="T14" fmla="*/ 48 w 48"/>
                <a:gd name="T15" fmla="*/ 87 h 91"/>
                <a:gd name="T16" fmla="*/ 45 w 48"/>
                <a:gd name="T17" fmla="*/ 91 h 91"/>
                <a:gd name="T18" fmla="*/ 6 w 48"/>
                <a:gd name="T19" fmla="*/ 84 h 91"/>
                <a:gd name="T20" fmla="*/ 41 w 48"/>
                <a:gd name="T21" fmla="*/ 84 h 91"/>
                <a:gd name="T22" fmla="*/ 41 w 48"/>
                <a:gd name="T23" fmla="*/ 7 h 91"/>
                <a:gd name="T24" fmla="*/ 6 w 48"/>
                <a:gd name="T25" fmla="*/ 7 h 91"/>
                <a:gd name="T26" fmla="*/ 6 w 48"/>
                <a:gd name="T27" fmla="*/ 8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1">
                  <a:moveTo>
                    <a:pt x="45" y="91"/>
                  </a:moveTo>
                  <a:cubicBezTo>
                    <a:pt x="3" y="91"/>
                    <a:pt x="3" y="91"/>
                    <a:pt x="3" y="91"/>
                  </a:cubicBezTo>
                  <a:cubicBezTo>
                    <a:pt x="1" y="91"/>
                    <a:pt x="0" y="89"/>
                    <a:pt x="0" y="8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7" y="0"/>
                    <a:pt x="48" y="2"/>
                    <a:pt x="48" y="4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9"/>
                    <a:pt x="47" y="91"/>
                    <a:pt x="45" y="91"/>
                  </a:cubicBezTo>
                  <a:close/>
                  <a:moveTo>
                    <a:pt x="6" y="84"/>
                  </a:moveTo>
                  <a:cubicBezTo>
                    <a:pt x="41" y="84"/>
                    <a:pt x="41" y="84"/>
                    <a:pt x="41" y="84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8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7" name="Freeform 1042">
              <a:extLst>
                <a:ext uri="{FF2B5EF4-FFF2-40B4-BE49-F238E27FC236}">
                  <a16:creationId xmlns:a16="http://schemas.microsoft.com/office/drawing/2014/main" id="{726BC8BD-EF93-4753-81F9-F1C2CF365D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1670" y="3099575"/>
              <a:ext cx="56906" cy="41731"/>
            </a:xfrm>
            <a:custGeom>
              <a:avLst/>
              <a:gdLst>
                <a:gd name="T0" fmla="*/ 29 w 32"/>
                <a:gd name="T1" fmla="*/ 23 h 23"/>
                <a:gd name="T2" fmla="*/ 4 w 32"/>
                <a:gd name="T3" fmla="*/ 23 h 23"/>
                <a:gd name="T4" fmla="*/ 0 w 32"/>
                <a:gd name="T5" fmla="*/ 20 h 23"/>
                <a:gd name="T6" fmla="*/ 0 w 32"/>
                <a:gd name="T7" fmla="*/ 3 h 23"/>
                <a:gd name="T8" fmla="*/ 4 w 32"/>
                <a:gd name="T9" fmla="*/ 0 h 23"/>
                <a:gd name="T10" fmla="*/ 29 w 32"/>
                <a:gd name="T11" fmla="*/ 0 h 23"/>
                <a:gd name="T12" fmla="*/ 32 w 32"/>
                <a:gd name="T13" fmla="*/ 3 h 23"/>
                <a:gd name="T14" fmla="*/ 32 w 32"/>
                <a:gd name="T15" fmla="*/ 20 h 23"/>
                <a:gd name="T16" fmla="*/ 29 w 32"/>
                <a:gd name="T17" fmla="*/ 23 h 23"/>
                <a:gd name="T18" fmla="*/ 7 w 32"/>
                <a:gd name="T19" fmla="*/ 17 h 23"/>
                <a:gd name="T20" fmla="*/ 25 w 32"/>
                <a:gd name="T21" fmla="*/ 17 h 23"/>
                <a:gd name="T22" fmla="*/ 25 w 32"/>
                <a:gd name="T23" fmla="*/ 7 h 23"/>
                <a:gd name="T24" fmla="*/ 7 w 32"/>
                <a:gd name="T25" fmla="*/ 7 h 23"/>
                <a:gd name="T26" fmla="*/ 7 w 32"/>
                <a:gd name="T2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3">
                  <a:moveTo>
                    <a:pt x="29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2"/>
                    <a:pt x="31" y="23"/>
                    <a:pt x="29" y="23"/>
                  </a:cubicBezTo>
                  <a:close/>
                  <a:moveTo>
                    <a:pt x="7" y="17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8" name="Freeform 1043">
              <a:extLst>
                <a:ext uri="{FF2B5EF4-FFF2-40B4-BE49-F238E27FC236}">
                  <a16:creationId xmlns:a16="http://schemas.microsoft.com/office/drawing/2014/main" id="{456C0641-2DAA-4BBC-B536-9673E431E6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1670" y="3159011"/>
              <a:ext cx="56906" cy="44260"/>
            </a:xfrm>
            <a:custGeom>
              <a:avLst/>
              <a:gdLst>
                <a:gd name="T0" fmla="*/ 29 w 32"/>
                <a:gd name="T1" fmla="*/ 24 h 24"/>
                <a:gd name="T2" fmla="*/ 4 w 32"/>
                <a:gd name="T3" fmla="*/ 24 h 24"/>
                <a:gd name="T4" fmla="*/ 0 w 32"/>
                <a:gd name="T5" fmla="*/ 21 h 24"/>
                <a:gd name="T6" fmla="*/ 0 w 32"/>
                <a:gd name="T7" fmla="*/ 4 h 24"/>
                <a:gd name="T8" fmla="*/ 4 w 32"/>
                <a:gd name="T9" fmla="*/ 0 h 24"/>
                <a:gd name="T10" fmla="*/ 29 w 32"/>
                <a:gd name="T11" fmla="*/ 0 h 24"/>
                <a:gd name="T12" fmla="*/ 32 w 32"/>
                <a:gd name="T13" fmla="*/ 4 h 24"/>
                <a:gd name="T14" fmla="*/ 32 w 32"/>
                <a:gd name="T15" fmla="*/ 21 h 24"/>
                <a:gd name="T16" fmla="*/ 29 w 32"/>
                <a:gd name="T17" fmla="*/ 24 h 24"/>
                <a:gd name="T18" fmla="*/ 7 w 32"/>
                <a:gd name="T19" fmla="*/ 17 h 24"/>
                <a:gd name="T20" fmla="*/ 25 w 32"/>
                <a:gd name="T21" fmla="*/ 17 h 24"/>
                <a:gd name="T22" fmla="*/ 25 w 32"/>
                <a:gd name="T23" fmla="*/ 7 h 24"/>
                <a:gd name="T24" fmla="*/ 7 w 32"/>
                <a:gd name="T25" fmla="*/ 7 h 24"/>
                <a:gd name="T26" fmla="*/ 7 w 32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4">
                  <a:moveTo>
                    <a:pt x="29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2"/>
                    <a:pt x="32" y="4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2"/>
                    <a:pt x="31" y="24"/>
                    <a:pt x="29" y="24"/>
                  </a:cubicBezTo>
                  <a:close/>
                  <a:moveTo>
                    <a:pt x="7" y="17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9" name="Freeform 1044">
              <a:extLst>
                <a:ext uri="{FF2B5EF4-FFF2-40B4-BE49-F238E27FC236}">
                  <a16:creationId xmlns:a16="http://schemas.microsoft.com/office/drawing/2014/main" id="{F0A10F9F-81DC-4C53-8C75-4E6023E304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1260" y="3099575"/>
              <a:ext cx="58171" cy="41731"/>
            </a:xfrm>
            <a:custGeom>
              <a:avLst/>
              <a:gdLst>
                <a:gd name="T0" fmla="*/ 28 w 32"/>
                <a:gd name="T1" fmla="*/ 23 h 23"/>
                <a:gd name="T2" fmla="*/ 3 w 32"/>
                <a:gd name="T3" fmla="*/ 23 h 23"/>
                <a:gd name="T4" fmla="*/ 0 w 32"/>
                <a:gd name="T5" fmla="*/ 20 h 23"/>
                <a:gd name="T6" fmla="*/ 0 w 32"/>
                <a:gd name="T7" fmla="*/ 3 h 23"/>
                <a:gd name="T8" fmla="*/ 3 w 32"/>
                <a:gd name="T9" fmla="*/ 0 h 23"/>
                <a:gd name="T10" fmla="*/ 28 w 32"/>
                <a:gd name="T11" fmla="*/ 0 h 23"/>
                <a:gd name="T12" fmla="*/ 32 w 32"/>
                <a:gd name="T13" fmla="*/ 3 h 23"/>
                <a:gd name="T14" fmla="*/ 32 w 32"/>
                <a:gd name="T15" fmla="*/ 20 h 23"/>
                <a:gd name="T16" fmla="*/ 28 w 32"/>
                <a:gd name="T17" fmla="*/ 23 h 23"/>
                <a:gd name="T18" fmla="*/ 6 w 32"/>
                <a:gd name="T19" fmla="*/ 17 h 23"/>
                <a:gd name="T20" fmla="*/ 25 w 32"/>
                <a:gd name="T21" fmla="*/ 17 h 23"/>
                <a:gd name="T22" fmla="*/ 25 w 32"/>
                <a:gd name="T23" fmla="*/ 7 h 23"/>
                <a:gd name="T24" fmla="*/ 6 w 32"/>
                <a:gd name="T25" fmla="*/ 7 h 23"/>
                <a:gd name="T26" fmla="*/ 6 w 32"/>
                <a:gd name="T2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3">
                  <a:moveTo>
                    <a:pt x="28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1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2"/>
                    <a:pt x="30" y="23"/>
                    <a:pt x="28" y="23"/>
                  </a:cubicBezTo>
                  <a:close/>
                  <a:moveTo>
                    <a:pt x="6" y="17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0" name="Freeform 1045">
              <a:extLst>
                <a:ext uri="{FF2B5EF4-FFF2-40B4-BE49-F238E27FC236}">
                  <a16:creationId xmlns:a16="http://schemas.microsoft.com/office/drawing/2014/main" id="{E58C150D-2525-4D65-B336-F0CE95FB18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1260" y="3159011"/>
              <a:ext cx="58171" cy="44260"/>
            </a:xfrm>
            <a:custGeom>
              <a:avLst/>
              <a:gdLst>
                <a:gd name="T0" fmla="*/ 28 w 32"/>
                <a:gd name="T1" fmla="*/ 24 h 24"/>
                <a:gd name="T2" fmla="*/ 3 w 32"/>
                <a:gd name="T3" fmla="*/ 24 h 24"/>
                <a:gd name="T4" fmla="*/ 0 w 32"/>
                <a:gd name="T5" fmla="*/ 21 h 24"/>
                <a:gd name="T6" fmla="*/ 0 w 32"/>
                <a:gd name="T7" fmla="*/ 4 h 24"/>
                <a:gd name="T8" fmla="*/ 3 w 32"/>
                <a:gd name="T9" fmla="*/ 0 h 24"/>
                <a:gd name="T10" fmla="*/ 28 w 32"/>
                <a:gd name="T11" fmla="*/ 0 h 24"/>
                <a:gd name="T12" fmla="*/ 32 w 32"/>
                <a:gd name="T13" fmla="*/ 4 h 24"/>
                <a:gd name="T14" fmla="*/ 32 w 32"/>
                <a:gd name="T15" fmla="*/ 21 h 24"/>
                <a:gd name="T16" fmla="*/ 28 w 32"/>
                <a:gd name="T17" fmla="*/ 24 h 24"/>
                <a:gd name="T18" fmla="*/ 6 w 32"/>
                <a:gd name="T19" fmla="*/ 17 h 24"/>
                <a:gd name="T20" fmla="*/ 25 w 32"/>
                <a:gd name="T21" fmla="*/ 17 h 24"/>
                <a:gd name="T22" fmla="*/ 25 w 32"/>
                <a:gd name="T23" fmla="*/ 7 h 24"/>
                <a:gd name="T24" fmla="*/ 6 w 32"/>
                <a:gd name="T25" fmla="*/ 7 h 24"/>
                <a:gd name="T26" fmla="*/ 6 w 32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4">
                  <a:moveTo>
                    <a:pt x="28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4"/>
                    <a:pt x="0" y="22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2"/>
                    <a:pt x="30" y="24"/>
                    <a:pt x="28" y="24"/>
                  </a:cubicBezTo>
                  <a:close/>
                  <a:moveTo>
                    <a:pt x="6" y="17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1" name="Freeform 1046">
              <a:extLst>
                <a:ext uri="{FF2B5EF4-FFF2-40B4-BE49-F238E27FC236}">
                  <a16:creationId xmlns:a16="http://schemas.microsoft.com/office/drawing/2014/main" id="{DE792860-07E6-4C4D-A974-2BF9BB4A8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584" y="3328465"/>
              <a:ext cx="405932" cy="10117"/>
            </a:xfrm>
            <a:custGeom>
              <a:avLst/>
              <a:gdLst>
                <a:gd name="T0" fmla="*/ 221 w 224"/>
                <a:gd name="T1" fmla="*/ 6 h 6"/>
                <a:gd name="T2" fmla="*/ 3 w 224"/>
                <a:gd name="T3" fmla="*/ 6 h 6"/>
                <a:gd name="T4" fmla="*/ 0 w 224"/>
                <a:gd name="T5" fmla="*/ 3 h 6"/>
                <a:gd name="T6" fmla="*/ 3 w 224"/>
                <a:gd name="T7" fmla="*/ 0 h 6"/>
                <a:gd name="T8" fmla="*/ 221 w 224"/>
                <a:gd name="T9" fmla="*/ 0 h 6"/>
                <a:gd name="T10" fmla="*/ 224 w 224"/>
                <a:gd name="T11" fmla="*/ 3 h 6"/>
                <a:gd name="T12" fmla="*/ 221 w 22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6">
                  <a:moveTo>
                    <a:pt x="22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3" y="0"/>
                    <a:pt x="224" y="1"/>
                    <a:pt x="224" y="3"/>
                  </a:cubicBezTo>
                  <a:cubicBezTo>
                    <a:pt x="224" y="5"/>
                    <a:pt x="223" y="6"/>
                    <a:pt x="221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7" name="Agrupar 1716">
            <a:extLst>
              <a:ext uri="{FF2B5EF4-FFF2-40B4-BE49-F238E27FC236}">
                <a16:creationId xmlns:a16="http://schemas.microsoft.com/office/drawing/2014/main" id="{79A02D2D-E45C-4613-BCFC-5EB99040DF82}"/>
              </a:ext>
            </a:extLst>
          </p:cNvPr>
          <p:cNvGrpSpPr/>
          <p:nvPr/>
        </p:nvGrpSpPr>
        <p:grpSpPr>
          <a:xfrm>
            <a:off x="7695977" y="2961735"/>
            <a:ext cx="467897" cy="347761"/>
            <a:chOff x="8377589" y="2961735"/>
            <a:chExt cx="467897" cy="347761"/>
          </a:xfrm>
        </p:grpSpPr>
        <p:sp>
          <p:nvSpPr>
            <p:cNvPr id="1252" name="Freeform 1047">
              <a:extLst>
                <a:ext uri="{FF2B5EF4-FFF2-40B4-BE49-F238E27FC236}">
                  <a16:creationId xmlns:a16="http://schemas.microsoft.com/office/drawing/2014/main" id="{FC18D805-5C89-4E3A-A916-892ED25D9C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7589" y="2961735"/>
              <a:ext cx="467897" cy="347761"/>
            </a:xfrm>
            <a:custGeom>
              <a:avLst/>
              <a:gdLst>
                <a:gd name="T0" fmla="*/ 255 w 258"/>
                <a:gd name="T1" fmla="*/ 192 h 192"/>
                <a:gd name="T2" fmla="*/ 4 w 258"/>
                <a:gd name="T3" fmla="*/ 192 h 192"/>
                <a:gd name="T4" fmla="*/ 0 w 258"/>
                <a:gd name="T5" fmla="*/ 188 h 192"/>
                <a:gd name="T6" fmla="*/ 0 w 258"/>
                <a:gd name="T7" fmla="*/ 4 h 192"/>
                <a:gd name="T8" fmla="*/ 4 w 258"/>
                <a:gd name="T9" fmla="*/ 0 h 192"/>
                <a:gd name="T10" fmla="*/ 255 w 258"/>
                <a:gd name="T11" fmla="*/ 0 h 192"/>
                <a:gd name="T12" fmla="*/ 258 w 258"/>
                <a:gd name="T13" fmla="*/ 4 h 192"/>
                <a:gd name="T14" fmla="*/ 258 w 258"/>
                <a:gd name="T15" fmla="*/ 188 h 192"/>
                <a:gd name="T16" fmla="*/ 255 w 258"/>
                <a:gd name="T17" fmla="*/ 192 h 192"/>
                <a:gd name="T18" fmla="*/ 7 w 258"/>
                <a:gd name="T19" fmla="*/ 185 h 192"/>
                <a:gd name="T20" fmla="*/ 252 w 258"/>
                <a:gd name="T21" fmla="*/ 185 h 192"/>
                <a:gd name="T22" fmla="*/ 252 w 258"/>
                <a:gd name="T23" fmla="*/ 7 h 192"/>
                <a:gd name="T24" fmla="*/ 7 w 258"/>
                <a:gd name="T25" fmla="*/ 7 h 192"/>
                <a:gd name="T26" fmla="*/ 7 w 258"/>
                <a:gd name="T27" fmla="*/ 18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192">
                  <a:moveTo>
                    <a:pt x="255" y="192"/>
                  </a:moveTo>
                  <a:cubicBezTo>
                    <a:pt x="4" y="192"/>
                    <a:pt x="4" y="192"/>
                    <a:pt x="4" y="192"/>
                  </a:cubicBezTo>
                  <a:cubicBezTo>
                    <a:pt x="2" y="192"/>
                    <a:pt x="0" y="190"/>
                    <a:pt x="0" y="18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57" y="0"/>
                    <a:pt x="258" y="2"/>
                    <a:pt x="258" y="4"/>
                  </a:cubicBezTo>
                  <a:cubicBezTo>
                    <a:pt x="258" y="188"/>
                    <a:pt x="258" y="188"/>
                    <a:pt x="258" y="188"/>
                  </a:cubicBezTo>
                  <a:cubicBezTo>
                    <a:pt x="258" y="190"/>
                    <a:pt x="257" y="192"/>
                    <a:pt x="255" y="192"/>
                  </a:cubicBezTo>
                  <a:close/>
                  <a:moveTo>
                    <a:pt x="7" y="185"/>
                  </a:moveTo>
                  <a:cubicBezTo>
                    <a:pt x="252" y="185"/>
                    <a:pt x="252" y="185"/>
                    <a:pt x="252" y="185"/>
                  </a:cubicBezTo>
                  <a:cubicBezTo>
                    <a:pt x="252" y="7"/>
                    <a:pt x="252" y="7"/>
                    <a:pt x="25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3" name="Freeform 1048">
              <a:extLst>
                <a:ext uri="{FF2B5EF4-FFF2-40B4-BE49-F238E27FC236}">
                  <a16:creationId xmlns:a16="http://schemas.microsoft.com/office/drawing/2014/main" id="{813F9E0D-D5FF-40B3-B99C-A33473EC2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7977" y="3008525"/>
              <a:ext cx="12646" cy="256711"/>
            </a:xfrm>
            <a:custGeom>
              <a:avLst/>
              <a:gdLst>
                <a:gd name="T0" fmla="*/ 4 w 7"/>
                <a:gd name="T1" fmla="*/ 141 h 141"/>
                <a:gd name="T2" fmla="*/ 0 w 7"/>
                <a:gd name="T3" fmla="*/ 137 h 141"/>
                <a:gd name="T4" fmla="*/ 0 w 7"/>
                <a:gd name="T5" fmla="*/ 3 h 141"/>
                <a:gd name="T6" fmla="*/ 4 w 7"/>
                <a:gd name="T7" fmla="*/ 0 h 141"/>
                <a:gd name="T8" fmla="*/ 7 w 7"/>
                <a:gd name="T9" fmla="*/ 3 h 141"/>
                <a:gd name="T10" fmla="*/ 7 w 7"/>
                <a:gd name="T11" fmla="*/ 137 h 141"/>
                <a:gd name="T12" fmla="*/ 4 w 7"/>
                <a:gd name="T13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1">
                  <a:moveTo>
                    <a:pt x="4" y="141"/>
                  </a:moveTo>
                  <a:cubicBezTo>
                    <a:pt x="2" y="141"/>
                    <a:pt x="0" y="139"/>
                    <a:pt x="0" y="13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37"/>
                    <a:pt x="7" y="137"/>
                    <a:pt x="7" y="137"/>
                  </a:cubicBezTo>
                  <a:cubicBezTo>
                    <a:pt x="7" y="139"/>
                    <a:pt x="6" y="141"/>
                    <a:pt x="4" y="14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4" name="Freeform 1049">
              <a:extLst>
                <a:ext uri="{FF2B5EF4-FFF2-40B4-BE49-F238E27FC236}">
                  <a16:creationId xmlns:a16="http://schemas.microsoft.com/office/drawing/2014/main" id="{1CD01627-DB41-4E3C-A86C-AF7B2DA90A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05116" y="2999673"/>
              <a:ext cx="102431" cy="112548"/>
            </a:xfrm>
            <a:custGeom>
              <a:avLst/>
              <a:gdLst>
                <a:gd name="T0" fmla="*/ 54 w 57"/>
                <a:gd name="T1" fmla="*/ 62 h 62"/>
                <a:gd name="T2" fmla="*/ 4 w 57"/>
                <a:gd name="T3" fmla="*/ 62 h 62"/>
                <a:gd name="T4" fmla="*/ 0 w 57"/>
                <a:gd name="T5" fmla="*/ 58 h 62"/>
                <a:gd name="T6" fmla="*/ 0 w 57"/>
                <a:gd name="T7" fmla="*/ 4 h 62"/>
                <a:gd name="T8" fmla="*/ 4 w 57"/>
                <a:gd name="T9" fmla="*/ 0 h 62"/>
                <a:gd name="T10" fmla="*/ 54 w 57"/>
                <a:gd name="T11" fmla="*/ 0 h 62"/>
                <a:gd name="T12" fmla="*/ 57 w 57"/>
                <a:gd name="T13" fmla="*/ 4 h 62"/>
                <a:gd name="T14" fmla="*/ 57 w 57"/>
                <a:gd name="T15" fmla="*/ 58 h 62"/>
                <a:gd name="T16" fmla="*/ 54 w 57"/>
                <a:gd name="T17" fmla="*/ 62 h 62"/>
                <a:gd name="T18" fmla="*/ 7 w 57"/>
                <a:gd name="T19" fmla="*/ 55 h 62"/>
                <a:gd name="T20" fmla="*/ 51 w 57"/>
                <a:gd name="T21" fmla="*/ 55 h 62"/>
                <a:gd name="T22" fmla="*/ 51 w 57"/>
                <a:gd name="T23" fmla="*/ 7 h 62"/>
                <a:gd name="T24" fmla="*/ 7 w 57"/>
                <a:gd name="T25" fmla="*/ 7 h 62"/>
                <a:gd name="T26" fmla="*/ 7 w 57"/>
                <a:gd name="T27" fmla="*/ 5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62">
                  <a:moveTo>
                    <a:pt x="54" y="62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2" y="62"/>
                    <a:pt x="0" y="60"/>
                    <a:pt x="0" y="5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7" y="2"/>
                    <a:pt x="57" y="4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7" y="60"/>
                    <a:pt x="56" y="62"/>
                    <a:pt x="54" y="62"/>
                  </a:cubicBezTo>
                  <a:close/>
                  <a:moveTo>
                    <a:pt x="7" y="55"/>
                  </a:moveTo>
                  <a:cubicBezTo>
                    <a:pt x="51" y="55"/>
                    <a:pt x="51" y="55"/>
                    <a:pt x="51" y="55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5" name="Freeform 1050">
              <a:extLst>
                <a:ext uri="{FF2B5EF4-FFF2-40B4-BE49-F238E27FC236}">
                  <a16:creationId xmlns:a16="http://schemas.microsoft.com/office/drawing/2014/main" id="{574182CC-B9F2-41B5-9F70-30F419074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5914" y="3054050"/>
              <a:ext cx="91050" cy="34144"/>
            </a:xfrm>
            <a:custGeom>
              <a:avLst/>
              <a:gdLst>
                <a:gd name="T0" fmla="*/ 15 w 50"/>
                <a:gd name="T1" fmla="*/ 19 h 19"/>
                <a:gd name="T2" fmla="*/ 2 w 50"/>
                <a:gd name="T3" fmla="*/ 14 h 19"/>
                <a:gd name="T4" fmla="*/ 1 w 50"/>
                <a:gd name="T5" fmla="*/ 10 h 19"/>
                <a:gd name="T6" fmla="*/ 6 w 50"/>
                <a:gd name="T7" fmla="*/ 9 h 19"/>
                <a:gd name="T8" fmla="*/ 23 w 50"/>
                <a:gd name="T9" fmla="*/ 9 h 19"/>
                <a:gd name="T10" fmla="*/ 48 w 50"/>
                <a:gd name="T11" fmla="*/ 9 h 19"/>
                <a:gd name="T12" fmla="*/ 49 w 50"/>
                <a:gd name="T13" fmla="*/ 13 h 19"/>
                <a:gd name="T14" fmla="*/ 44 w 50"/>
                <a:gd name="T15" fmla="*/ 14 h 19"/>
                <a:gd name="T16" fmla="*/ 27 w 50"/>
                <a:gd name="T17" fmla="*/ 14 h 19"/>
                <a:gd name="T18" fmla="*/ 15 w 50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19">
                  <a:moveTo>
                    <a:pt x="15" y="19"/>
                  </a:moveTo>
                  <a:cubicBezTo>
                    <a:pt x="11" y="19"/>
                    <a:pt x="7" y="18"/>
                    <a:pt x="2" y="14"/>
                  </a:cubicBezTo>
                  <a:cubicBezTo>
                    <a:pt x="0" y="13"/>
                    <a:pt x="0" y="11"/>
                    <a:pt x="1" y="10"/>
                  </a:cubicBezTo>
                  <a:cubicBezTo>
                    <a:pt x="2" y="8"/>
                    <a:pt x="4" y="8"/>
                    <a:pt x="6" y="9"/>
                  </a:cubicBezTo>
                  <a:cubicBezTo>
                    <a:pt x="14" y="15"/>
                    <a:pt x="18" y="12"/>
                    <a:pt x="23" y="9"/>
                  </a:cubicBezTo>
                  <a:cubicBezTo>
                    <a:pt x="28" y="5"/>
                    <a:pt x="35" y="0"/>
                    <a:pt x="48" y="9"/>
                  </a:cubicBezTo>
                  <a:cubicBezTo>
                    <a:pt x="49" y="10"/>
                    <a:pt x="50" y="12"/>
                    <a:pt x="49" y="13"/>
                  </a:cubicBezTo>
                  <a:cubicBezTo>
                    <a:pt x="47" y="15"/>
                    <a:pt x="45" y="15"/>
                    <a:pt x="44" y="14"/>
                  </a:cubicBezTo>
                  <a:cubicBezTo>
                    <a:pt x="35" y="8"/>
                    <a:pt x="32" y="11"/>
                    <a:pt x="27" y="14"/>
                  </a:cubicBezTo>
                  <a:cubicBezTo>
                    <a:pt x="23" y="17"/>
                    <a:pt x="20" y="19"/>
                    <a:pt x="15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6" name="Freeform 1051">
              <a:extLst>
                <a:ext uri="{FF2B5EF4-FFF2-40B4-BE49-F238E27FC236}">
                  <a16:creationId xmlns:a16="http://schemas.microsoft.com/office/drawing/2014/main" id="{307B77FC-001A-41BB-9839-54FED7010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5914" y="3023700"/>
              <a:ext cx="91050" cy="34144"/>
            </a:xfrm>
            <a:custGeom>
              <a:avLst/>
              <a:gdLst>
                <a:gd name="T0" fmla="*/ 15 w 50"/>
                <a:gd name="T1" fmla="*/ 19 h 19"/>
                <a:gd name="T2" fmla="*/ 2 w 50"/>
                <a:gd name="T3" fmla="*/ 15 h 19"/>
                <a:gd name="T4" fmla="*/ 1 w 50"/>
                <a:gd name="T5" fmla="*/ 10 h 19"/>
                <a:gd name="T6" fmla="*/ 6 w 50"/>
                <a:gd name="T7" fmla="*/ 9 h 19"/>
                <a:gd name="T8" fmla="*/ 23 w 50"/>
                <a:gd name="T9" fmla="*/ 9 h 19"/>
                <a:gd name="T10" fmla="*/ 48 w 50"/>
                <a:gd name="T11" fmla="*/ 9 h 19"/>
                <a:gd name="T12" fmla="*/ 49 w 50"/>
                <a:gd name="T13" fmla="*/ 14 h 19"/>
                <a:gd name="T14" fmla="*/ 44 w 50"/>
                <a:gd name="T15" fmla="*/ 15 h 19"/>
                <a:gd name="T16" fmla="*/ 27 w 50"/>
                <a:gd name="T17" fmla="*/ 15 h 19"/>
                <a:gd name="T18" fmla="*/ 15 w 50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19">
                  <a:moveTo>
                    <a:pt x="15" y="19"/>
                  </a:moveTo>
                  <a:cubicBezTo>
                    <a:pt x="11" y="19"/>
                    <a:pt x="7" y="18"/>
                    <a:pt x="2" y="15"/>
                  </a:cubicBezTo>
                  <a:cubicBezTo>
                    <a:pt x="0" y="13"/>
                    <a:pt x="0" y="11"/>
                    <a:pt x="1" y="10"/>
                  </a:cubicBezTo>
                  <a:cubicBezTo>
                    <a:pt x="2" y="8"/>
                    <a:pt x="4" y="8"/>
                    <a:pt x="6" y="9"/>
                  </a:cubicBezTo>
                  <a:cubicBezTo>
                    <a:pt x="14" y="15"/>
                    <a:pt x="18" y="12"/>
                    <a:pt x="23" y="9"/>
                  </a:cubicBezTo>
                  <a:cubicBezTo>
                    <a:pt x="28" y="5"/>
                    <a:pt x="35" y="0"/>
                    <a:pt x="48" y="9"/>
                  </a:cubicBezTo>
                  <a:cubicBezTo>
                    <a:pt x="49" y="10"/>
                    <a:pt x="50" y="12"/>
                    <a:pt x="49" y="14"/>
                  </a:cubicBezTo>
                  <a:cubicBezTo>
                    <a:pt x="47" y="15"/>
                    <a:pt x="45" y="16"/>
                    <a:pt x="44" y="15"/>
                  </a:cubicBezTo>
                  <a:cubicBezTo>
                    <a:pt x="35" y="9"/>
                    <a:pt x="32" y="11"/>
                    <a:pt x="27" y="15"/>
                  </a:cubicBezTo>
                  <a:cubicBezTo>
                    <a:pt x="23" y="17"/>
                    <a:pt x="20" y="19"/>
                    <a:pt x="15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7" name="Freeform 1052">
              <a:extLst>
                <a:ext uri="{FF2B5EF4-FFF2-40B4-BE49-F238E27FC236}">
                  <a16:creationId xmlns:a16="http://schemas.microsoft.com/office/drawing/2014/main" id="{56A9CB27-036F-45F7-B415-BB05D1AD9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9941" y="3220975"/>
              <a:ext cx="117606" cy="12646"/>
            </a:xfrm>
            <a:custGeom>
              <a:avLst/>
              <a:gdLst>
                <a:gd name="T0" fmla="*/ 62 w 65"/>
                <a:gd name="T1" fmla="*/ 7 h 7"/>
                <a:gd name="T2" fmla="*/ 3 w 65"/>
                <a:gd name="T3" fmla="*/ 7 h 7"/>
                <a:gd name="T4" fmla="*/ 0 w 65"/>
                <a:gd name="T5" fmla="*/ 3 h 7"/>
                <a:gd name="T6" fmla="*/ 3 w 65"/>
                <a:gd name="T7" fmla="*/ 0 h 7"/>
                <a:gd name="T8" fmla="*/ 62 w 65"/>
                <a:gd name="T9" fmla="*/ 0 h 7"/>
                <a:gd name="T10" fmla="*/ 65 w 65"/>
                <a:gd name="T11" fmla="*/ 3 h 7"/>
                <a:gd name="T12" fmla="*/ 62 w 6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">
                  <a:moveTo>
                    <a:pt x="6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5" y="1"/>
                    <a:pt x="65" y="3"/>
                  </a:cubicBezTo>
                  <a:cubicBezTo>
                    <a:pt x="65" y="5"/>
                    <a:pt x="64" y="7"/>
                    <a:pt x="62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8" name="Freeform 1053">
              <a:extLst>
                <a:ext uri="{FF2B5EF4-FFF2-40B4-BE49-F238E27FC236}">
                  <a16:creationId xmlns:a16="http://schemas.microsoft.com/office/drawing/2014/main" id="{02404AD9-0DF6-4F40-8256-80572B1F3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9377" y="3258913"/>
              <a:ext cx="58171" cy="12646"/>
            </a:xfrm>
            <a:custGeom>
              <a:avLst/>
              <a:gdLst>
                <a:gd name="T0" fmla="*/ 29 w 32"/>
                <a:gd name="T1" fmla="*/ 7 h 7"/>
                <a:gd name="T2" fmla="*/ 4 w 32"/>
                <a:gd name="T3" fmla="*/ 7 h 7"/>
                <a:gd name="T4" fmla="*/ 0 w 32"/>
                <a:gd name="T5" fmla="*/ 3 h 7"/>
                <a:gd name="T6" fmla="*/ 4 w 32"/>
                <a:gd name="T7" fmla="*/ 0 h 7"/>
                <a:gd name="T8" fmla="*/ 29 w 32"/>
                <a:gd name="T9" fmla="*/ 0 h 7"/>
                <a:gd name="T10" fmla="*/ 32 w 32"/>
                <a:gd name="T11" fmla="*/ 3 h 7"/>
                <a:gd name="T12" fmla="*/ 29 w 3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7">
                  <a:moveTo>
                    <a:pt x="2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5"/>
                    <a:pt x="31" y="7"/>
                    <a:pt x="29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9" name="Freeform 1054">
              <a:extLst>
                <a:ext uri="{FF2B5EF4-FFF2-40B4-BE49-F238E27FC236}">
                  <a16:creationId xmlns:a16="http://schemas.microsoft.com/office/drawing/2014/main" id="{4A7D5B42-CC92-4C3A-A14F-27F5C7EC85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16791" y="2999673"/>
              <a:ext cx="185894" cy="142898"/>
            </a:xfrm>
            <a:custGeom>
              <a:avLst/>
              <a:gdLst>
                <a:gd name="T0" fmla="*/ 100 w 103"/>
                <a:gd name="T1" fmla="*/ 78 h 79"/>
                <a:gd name="T2" fmla="*/ 97 w 103"/>
                <a:gd name="T3" fmla="*/ 77 h 79"/>
                <a:gd name="T4" fmla="*/ 71 w 103"/>
                <a:gd name="T5" fmla="*/ 40 h 79"/>
                <a:gd name="T6" fmla="*/ 63 w 103"/>
                <a:gd name="T7" fmla="*/ 40 h 79"/>
                <a:gd name="T8" fmla="*/ 47 w 103"/>
                <a:gd name="T9" fmla="*/ 62 h 79"/>
                <a:gd name="T10" fmla="*/ 45 w 103"/>
                <a:gd name="T11" fmla="*/ 63 h 79"/>
                <a:gd name="T12" fmla="*/ 45 w 103"/>
                <a:gd name="T13" fmla="*/ 63 h 79"/>
                <a:gd name="T14" fmla="*/ 42 w 103"/>
                <a:gd name="T15" fmla="*/ 62 h 79"/>
                <a:gd name="T16" fmla="*/ 33 w 103"/>
                <a:gd name="T17" fmla="*/ 50 h 79"/>
                <a:gd name="T18" fmla="*/ 25 w 103"/>
                <a:gd name="T19" fmla="*/ 50 h 79"/>
                <a:gd name="T20" fmla="*/ 6 w 103"/>
                <a:gd name="T21" fmla="*/ 77 h 79"/>
                <a:gd name="T22" fmla="*/ 2 w 103"/>
                <a:gd name="T23" fmla="*/ 78 h 79"/>
                <a:gd name="T24" fmla="*/ 0 w 103"/>
                <a:gd name="T25" fmla="*/ 75 h 79"/>
                <a:gd name="T26" fmla="*/ 0 w 103"/>
                <a:gd name="T27" fmla="*/ 4 h 79"/>
                <a:gd name="T28" fmla="*/ 3 w 103"/>
                <a:gd name="T29" fmla="*/ 0 h 79"/>
                <a:gd name="T30" fmla="*/ 100 w 103"/>
                <a:gd name="T31" fmla="*/ 0 h 79"/>
                <a:gd name="T32" fmla="*/ 103 w 103"/>
                <a:gd name="T33" fmla="*/ 4 h 79"/>
                <a:gd name="T34" fmla="*/ 103 w 103"/>
                <a:gd name="T35" fmla="*/ 75 h 79"/>
                <a:gd name="T36" fmla="*/ 101 w 103"/>
                <a:gd name="T37" fmla="*/ 78 h 79"/>
                <a:gd name="T38" fmla="*/ 100 w 103"/>
                <a:gd name="T39" fmla="*/ 78 h 79"/>
                <a:gd name="T40" fmla="*/ 7 w 103"/>
                <a:gd name="T41" fmla="*/ 7 h 79"/>
                <a:gd name="T42" fmla="*/ 7 w 103"/>
                <a:gd name="T43" fmla="*/ 64 h 79"/>
                <a:gd name="T44" fmla="*/ 20 w 103"/>
                <a:gd name="T45" fmla="*/ 46 h 79"/>
                <a:gd name="T46" fmla="*/ 29 w 103"/>
                <a:gd name="T47" fmla="*/ 41 h 79"/>
                <a:gd name="T48" fmla="*/ 39 w 103"/>
                <a:gd name="T49" fmla="*/ 46 h 79"/>
                <a:gd name="T50" fmla="*/ 45 w 103"/>
                <a:gd name="T51" fmla="*/ 54 h 79"/>
                <a:gd name="T52" fmla="*/ 57 w 103"/>
                <a:gd name="T53" fmla="*/ 36 h 79"/>
                <a:gd name="T54" fmla="*/ 67 w 103"/>
                <a:gd name="T55" fmla="*/ 32 h 79"/>
                <a:gd name="T56" fmla="*/ 76 w 103"/>
                <a:gd name="T57" fmla="*/ 36 h 79"/>
                <a:gd name="T58" fmla="*/ 96 w 103"/>
                <a:gd name="T59" fmla="*/ 64 h 79"/>
                <a:gd name="T60" fmla="*/ 96 w 103"/>
                <a:gd name="T61" fmla="*/ 7 h 79"/>
                <a:gd name="T62" fmla="*/ 7 w 103"/>
                <a:gd name="T63" fmla="*/ 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" h="79">
                  <a:moveTo>
                    <a:pt x="100" y="78"/>
                  </a:moveTo>
                  <a:cubicBezTo>
                    <a:pt x="99" y="78"/>
                    <a:pt x="98" y="78"/>
                    <a:pt x="97" y="77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69" y="38"/>
                    <a:pt x="65" y="38"/>
                    <a:pt x="63" y="40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3"/>
                    <a:pt x="46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3" y="63"/>
                    <a:pt x="42" y="63"/>
                    <a:pt x="42" y="62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2" y="48"/>
                    <a:pt x="27" y="48"/>
                    <a:pt x="25" y="50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5" y="78"/>
                    <a:pt x="4" y="79"/>
                    <a:pt x="2" y="78"/>
                  </a:cubicBezTo>
                  <a:cubicBezTo>
                    <a:pt x="1" y="78"/>
                    <a:pt x="0" y="77"/>
                    <a:pt x="0" y="7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3" y="2"/>
                    <a:pt x="103" y="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03" y="77"/>
                    <a:pt x="102" y="78"/>
                    <a:pt x="101" y="78"/>
                  </a:cubicBezTo>
                  <a:cubicBezTo>
                    <a:pt x="101" y="78"/>
                    <a:pt x="100" y="78"/>
                    <a:pt x="100" y="78"/>
                  </a:cubicBezTo>
                  <a:close/>
                  <a:moveTo>
                    <a:pt x="7" y="7"/>
                  </a:moveTo>
                  <a:cubicBezTo>
                    <a:pt x="7" y="64"/>
                    <a:pt x="7" y="64"/>
                    <a:pt x="7" y="64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2" y="43"/>
                    <a:pt x="26" y="41"/>
                    <a:pt x="29" y="41"/>
                  </a:cubicBezTo>
                  <a:cubicBezTo>
                    <a:pt x="33" y="41"/>
                    <a:pt x="37" y="43"/>
                    <a:pt x="39" y="46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9" y="33"/>
                    <a:pt x="63" y="32"/>
                    <a:pt x="67" y="32"/>
                  </a:cubicBezTo>
                  <a:cubicBezTo>
                    <a:pt x="71" y="32"/>
                    <a:pt x="74" y="33"/>
                    <a:pt x="76" y="36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7"/>
                    <a:pt x="96" y="7"/>
                    <a:pt x="96" y="7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0" name="Freeform 1055">
              <a:extLst>
                <a:ext uri="{FF2B5EF4-FFF2-40B4-BE49-F238E27FC236}">
                  <a16:creationId xmlns:a16="http://schemas.microsoft.com/office/drawing/2014/main" id="{630F32F3-0C18-4A4A-BDFA-04292199C6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16791" y="3074283"/>
              <a:ext cx="106225" cy="67023"/>
            </a:xfrm>
            <a:custGeom>
              <a:avLst/>
              <a:gdLst>
                <a:gd name="T0" fmla="*/ 55 w 59"/>
                <a:gd name="T1" fmla="*/ 37 h 37"/>
                <a:gd name="T2" fmla="*/ 55 w 59"/>
                <a:gd name="T3" fmla="*/ 37 h 37"/>
                <a:gd name="T4" fmla="*/ 3 w 59"/>
                <a:gd name="T5" fmla="*/ 37 h 37"/>
                <a:gd name="T6" fmla="*/ 0 w 59"/>
                <a:gd name="T7" fmla="*/ 36 h 37"/>
                <a:gd name="T8" fmla="*/ 1 w 59"/>
                <a:gd name="T9" fmla="*/ 32 h 37"/>
                <a:gd name="T10" fmla="*/ 20 w 59"/>
                <a:gd name="T11" fmla="*/ 5 h 37"/>
                <a:gd name="T12" fmla="*/ 29 w 59"/>
                <a:gd name="T13" fmla="*/ 0 h 37"/>
                <a:gd name="T14" fmla="*/ 39 w 59"/>
                <a:gd name="T15" fmla="*/ 5 h 37"/>
                <a:gd name="T16" fmla="*/ 58 w 59"/>
                <a:gd name="T17" fmla="*/ 32 h 37"/>
                <a:gd name="T18" fmla="*/ 59 w 59"/>
                <a:gd name="T19" fmla="*/ 34 h 37"/>
                <a:gd name="T20" fmla="*/ 55 w 59"/>
                <a:gd name="T21" fmla="*/ 37 h 37"/>
                <a:gd name="T22" fmla="*/ 10 w 59"/>
                <a:gd name="T23" fmla="*/ 31 h 37"/>
                <a:gd name="T24" fmla="*/ 49 w 59"/>
                <a:gd name="T25" fmla="*/ 31 h 37"/>
                <a:gd name="T26" fmla="*/ 33 w 59"/>
                <a:gd name="T27" fmla="*/ 9 h 37"/>
                <a:gd name="T28" fmla="*/ 25 w 59"/>
                <a:gd name="T29" fmla="*/ 9 h 37"/>
                <a:gd name="T30" fmla="*/ 10 w 59"/>
                <a:gd name="T31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" h="37">
                  <a:moveTo>
                    <a:pt x="55" y="37"/>
                  </a:moveTo>
                  <a:cubicBezTo>
                    <a:pt x="55" y="37"/>
                    <a:pt x="55" y="37"/>
                    <a:pt x="55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2" y="37"/>
                    <a:pt x="1" y="37"/>
                    <a:pt x="0" y="36"/>
                  </a:cubicBezTo>
                  <a:cubicBezTo>
                    <a:pt x="0" y="34"/>
                    <a:pt x="0" y="33"/>
                    <a:pt x="1" y="32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2" y="2"/>
                    <a:pt x="26" y="0"/>
                    <a:pt x="29" y="0"/>
                  </a:cubicBezTo>
                  <a:cubicBezTo>
                    <a:pt x="33" y="0"/>
                    <a:pt x="37" y="2"/>
                    <a:pt x="39" y="5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9" y="33"/>
                    <a:pt x="59" y="34"/>
                  </a:cubicBezTo>
                  <a:cubicBezTo>
                    <a:pt x="59" y="36"/>
                    <a:pt x="57" y="37"/>
                    <a:pt x="55" y="37"/>
                  </a:cubicBezTo>
                  <a:close/>
                  <a:moveTo>
                    <a:pt x="10" y="31"/>
                  </a:moveTo>
                  <a:cubicBezTo>
                    <a:pt x="49" y="31"/>
                    <a:pt x="49" y="31"/>
                    <a:pt x="49" y="31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7"/>
                    <a:pt x="27" y="7"/>
                    <a:pt x="25" y="9"/>
                  </a:cubicBezTo>
                  <a:lnTo>
                    <a:pt x="10" y="3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1" name="Freeform 1056">
              <a:extLst>
                <a:ext uri="{FF2B5EF4-FFF2-40B4-BE49-F238E27FC236}">
                  <a16:creationId xmlns:a16="http://schemas.microsoft.com/office/drawing/2014/main" id="{5B1448A1-443B-4A32-915A-41B6696A7F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0137" y="3057844"/>
              <a:ext cx="112548" cy="83463"/>
            </a:xfrm>
            <a:custGeom>
              <a:avLst/>
              <a:gdLst>
                <a:gd name="T0" fmla="*/ 59 w 62"/>
                <a:gd name="T1" fmla="*/ 46 h 46"/>
                <a:gd name="T2" fmla="*/ 59 w 62"/>
                <a:gd name="T3" fmla="*/ 46 h 46"/>
                <a:gd name="T4" fmla="*/ 14 w 62"/>
                <a:gd name="T5" fmla="*/ 46 h 46"/>
                <a:gd name="T6" fmla="*/ 12 w 62"/>
                <a:gd name="T7" fmla="*/ 45 h 46"/>
                <a:gd name="T8" fmla="*/ 1 w 62"/>
                <a:gd name="T9" fmla="*/ 30 h 46"/>
                <a:gd name="T10" fmla="*/ 1 w 62"/>
                <a:gd name="T11" fmla="*/ 26 h 46"/>
                <a:gd name="T12" fmla="*/ 16 w 62"/>
                <a:gd name="T13" fmla="*/ 4 h 46"/>
                <a:gd name="T14" fmla="*/ 26 w 62"/>
                <a:gd name="T15" fmla="*/ 0 h 46"/>
                <a:gd name="T16" fmla="*/ 35 w 62"/>
                <a:gd name="T17" fmla="*/ 4 h 46"/>
                <a:gd name="T18" fmla="*/ 61 w 62"/>
                <a:gd name="T19" fmla="*/ 41 h 46"/>
                <a:gd name="T20" fmla="*/ 62 w 62"/>
                <a:gd name="T21" fmla="*/ 43 h 46"/>
                <a:gd name="T22" fmla="*/ 59 w 62"/>
                <a:gd name="T23" fmla="*/ 46 h 46"/>
                <a:gd name="T24" fmla="*/ 16 w 62"/>
                <a:gd name="T25" fmla="*/ 40 h 46"/>
                <a:gd name="T26" fmla="*/ 52 w 62"/>
                <a:gd name="T27" fmla="*/ 40 h 46"/>
                <a:gd name="T28" fmla="*/ 30 w 62"/>
                <a:gd name="T29" fmla="*/ 8 h 46"/>
                <a:gd name="T30" fmla="*/ 22 w 62"/>
                <a:gd name="T31" fmla="*/ 8 h 46"/>
                <a:gd name="T32" fmla="*/ 8 w 62"/>
                <a:gd name="T33" fmla="*/ 28 h 46"/>
                <a:gd name="T34" fmla="*/ 16 w 62"/>
                <a:gd name="T35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" h="46">
                  <a:moveTo>
                    <a:pt x="59" y="46"/>
                  </a:moveTo>
                  <a:cubicBezTo>
                    <a:pt x="59" y="46"/>
                    <a:pt x="59" y="46"/>
                    <a:pt x="59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3" y="46"/>
                    <a:pt x="12" y="46"/>
                    <a:pt x="12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1"/>
                    <a:pt x="22" y="0"/>
                    <a:pt x="26" y="0"/>
                  </a:cubicBezTo>
                  <a:cubicBezTo>
                    <a:pt x="30" y="0"/>
                    <a:pt x="33" y="1"/>
                    <a:pt x="35" y="4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2" y="41"/>
                    <a:pt x="62" y="42"/>
                    <a:pt x="62" y="43"/>
                  </a:cubicBezTo>
                  <a:cubicBezTo>
                    <a:pt x="62" y="45"/>
                    <a:pt x="61" y="46"/>
                    <a:pt x="59" y="46"/>
                  </a:cubicBezTo>
                  <a:close/>
                  <a:moveTo>
                    <a:pt x="16" y="40"/>
                  </a:moveTo>
                  <a:cubicBezTo>
                    <a:pt x="52" y="40"/>
                    <a:pt x="52" y="40"/>
                    <a:pt x="52" y="40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8" y="6"/>
                    <a:pt x="24" y="6"/>
                    <a:pt x="22" y="8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16" y="4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2" name="Freeform 1057">
              <a:extLst>
                <a:ext uri="{FF2B5EF4-FFF2-40B4-BE49-F238E27FC236}">
                  <a16:creationId xmlns:a16="http://schemas.microsoft.com/office/drawing/2014/main" id="{46A0D1B8-1CD9-4F18-A048-F224256D54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8639" y="3023700"/>
              <a:ext cx="44260" cy="4299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7 h 24"/>
                <a:gd name="T12" fmla="*/ 7 w 24"/>
                <a:gd name="T13" fmla="*/ 12 h 24"/>
                <a:gd name="T14" fmla="*/ 12 w 24"/>
                <a:gd name="T15" fmla="*/ 17 h 24"/>
                <a:gd name="T16" fmla="*/ 17 w 24"/>
                <a:gd name="T17" fmla="*/ 12 h 24"/>
                <a:gd name="T18" fmla="*/ 12 w 24"/>
                <a:gd name="T19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7"/>
                  </a:moveTo>
                  <a:cubicBezTo>
                    <a:pt x="9" y="7"/>
                    <a:pt x="7" y="9"/>
                    <a:pt x="7" y="12"/>
                  </a:cubicBezTo>
                  <a:cubicBezTo>
                    <a:pt x="7" y="14"/>
                    <a:pt x="9" y="17"/>
                    <a:pt x="12" y="17"/>
                  </a:cubicBezTo>
                  <a:cubicBezTo>
                    <a:pt x="15" y="17"/>
                    <a:pt x="17" y="14"/>
                    <a:pt x="17" y="12"/>
                  </a:cubicBezTo>
                  <a:cubicBezTo>
                    <a:pt x="17" y="9"/>
                    <a:pt x="15" y="7"/>
                    <a:pt x="12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3" name="Freeform 1058">
              <a:extLst>
                <a:ext uri="{FF2B5EF4-FFF2-40B4-BE49-F238E27FC236}">
                  <a16:creationId xmlns:a16="http://schemas.microsoft.com/office/drawing/2014/main" id="{294C15BC-8ECB-4676-A039-FB4A41D43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6791" y="3169127"/>
              <a:ext cx="185894" cy="10117"/>
            </a:xfrm>
            <a:custGeom>
              <a:avLst/>
              <a:gdLst>
                <a:gd name="T0" fmla="*/ 100 w 103"/>
                <a:gd name="T1" fmla="*/ 6 h 6"/>
                <a:gd name="T2" fmla="*/ 3 w 103"/>
                <a:gd name="T3" fmla="*/ 6 h 6"/>
                <a:gd name="T4" fmla="*/ 0 w 103"/>
                <a:gd name="T5" fmla="*/ 3 h 6"/>
                <a:gd name="T6" fmla="*/ 3 w 103"/>
                <a:gd name="T7" fmla="*/ 0 h 6"/>
                <a:gd name="T8" fmla="*/ 100 w 103"/>
                <a:gd name="T9" fmla="*/ 0 h 6"/>
                <a:gd name="T10" fmla="*/ 103 w 103"/>
                <a:gd name="T11" fmla="*/ 3 h 6"/>
                <a:gd name="T12" fmla="*/ 100 w 10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3" y="1"/>
                    <a:pt x="103" y="3"/>
                  </a:cubicBezTo>
                  <a:cubicBezTo>
                    <a:pt x="103" y="5"/>
                    <a:pt x="102" y="6"/>
                    <a:pt x="100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4" name="Freeform 1059">
              <a:extLst>
                <a:ext uri="{FF2B5EF4-FFF2-40B4-BE49-F238E27FC236}">
                  <a16:creationId xmlns:a16="http://schemas.microsoft.com/office/drawing/2014/main" id="{D9AA4700-0C8A-4BF4-BF9A-5B46BBF68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6791" y="3207065"/>
              <a:ext cx="185894" cy="10117"/>
            </a:xfrm>
            <a:custGeom>
              <a:avLst/>
              <a:gdLst>
                <a:gd name="T0" fmla="*/ 100 w 103"/>
                <a:gd name="T1" fmla="*/ 6 h 6"/>
                <a:gd name="T2" fmla="*/ 3 w 103"/>
                <a:gd name="T3" fmla="*/ 6 h 6"/>
                <a:gd name="T4" fmla="*/ 0 w 103"/>
                <a:gd name="T5" fmla="*/ 3 h 6"/>
                <a:gd name="T6" fmla="*/ 3 w 103"/>
                <a:gd name="T7" fmla="*/ 0 h 6"/>
                <a:gd name="T8" fmla="*/ 100 w 103"/>
                <a:gd name="T9" fmla="*/ 0 h 6"/>
                <a:gd name="T10" fmla="*/ 103 w 103"/>
                <a:gd name="T11" fmla="*/ 3 h 6"/>
                <a:gd name="T12" fmla="*/ 100 w 10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3" y="1"/>
                    <a:pt x="103" y="3"/>
                  </a:cubicBezTo>
                  <a:cubicBezTo>
                    <a:pt x="103" y="5"/>
                    <a:pt x="102" y="6"/>
                    <a:pt x="100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5" name="Freeform 1060">
              <a:extLst>
                <a:ext uri="{FF2B5EF4-FFF2-40B4-BE49-F238E27FC236}">
                  <a16:creationId xmlns:a16="http://schemas.microsoft.com/office/drawing/2014/main" id="{928C5B0B-69FD-4461-8C75-B384A0A85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6791" y="3242473"/>
              <a:ext cx="102431" cy="12646"/>
            </a:xfrm>
            <a:custGeom>
              <a:avLst/>
              <a:gdLst>
                <a:gd name="T0" fmla="*/ 54 w 57"/>
                <a:gd name="T1" fmla="*/ 7 h 7"/>
                <a:gd name="T2" fmla="*/ 3 w 57"/>
                <a:gd name="T3" fmla="*/ 7 h 7"/>
                <a:gd name="T4" fmla="*/ 0 w 57"/>
                <a:gd name="T5" fmla="*/ 4 h 7"/>
                <a:gd name="T6" fmla="*/ 3 w 57"/>
                <a:gd name="T7" fmla="*/ 0 h 7"/>
                <a:gd name="T8" fmla="*/ 54 w 57"/>
                <a:gd name="T9" fmla="*/ 0 h 7"/>
                <a:gd name="T10" fmla="*/ 57 w 57"/>
                <a:gd name="T11" fmla="*/ 4 h 7"/>
                <a:gd name="T12" fmla="*/ 54 w 5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7">
                  <a:moveTo>
                    <a:pt x="5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7" y="2"/>
                    <a:pt x="57" y="4"/>
                  </a:cubicBezTo>
                  <a:cubicBezTo>
                    <a:pt x="57" y="6"/>
                    <a:pt x="56" y="7"/>
                    <a:pt x="54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3" name="Agrupar 1712">
            <a:extLst>
              <a:ext uri="{FF2B5EF4-FFF2-40B4-BE49-F238E27FC236}">
                <a16:creationId xmlns:a16="http://schemas.microsoft.com/office/drawing/2014/main" id="{D1808CD6-B975-4CC0-AA8F-181B7EDEB39F}"/>
              </a:ext>
            </a:extLst>
          </p:cNvPr>
          <p:cNvGrpSpPr/>
          <p:nvPr/>
        </p:nvGrpSpPr>
        <p:grpSpPr>
          <a:xfrm>
            <a:off x="10350341" y="2177692"/>
            <a:ext cx="467897" cy="346497"/>
            <a:chOff x="11031953" y="2177692"/>
            <a:chExt cx="467897" cy="346497"/>
          </a:xfrm>
        </p:grpSpPr>
        <p:sp>
          <p:nvSpPr>
            <p:cNvPr id="1266" name="Freeform 1061">
              <a:extLst>
                <a:ext uri="{FF2B5EF4-FFF2-40B4-BE49-F238E27FC236}">
                  <a16:creationId xmlns:a16="http://schemas.microsoft.com/office/drawing/2014/main" id="{4BA3AF09-47FA-4E41-BD7E-C6BAFDB575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5864" y="2285182"/>
              <a:ext cx="438811" cy="111284"/>
            </a:xfrm>
            <a:custGeom>
              <a:avLst/>
              <a:gdLst>
                <a:gd name="T0" fmla="*/ 238 w 242"/>
                <a:gd name="T1" fmla="*/ 61 h 61"/>
                <a:gd name="T2" fmla="*/ 4 w 242"/>
                <a:gd name="T3" fmla="*/ 61 h 61"/>
                <a:gd name="T4" fmla="*/ 0 w 242"/>
                <a:gd name="T5" fmla="*/ 57 h 61"/>
                <a:gd name="T6" fmla="*/ 0 w 242"/>
                <a:gd name="T7" fmla="*/ 30 h 61"/>
                <a:gd name="T8" fmla="*/ 31 w 242"/>
                <a:gd name="T9" fmla="*/ 0 h 61"/>
                <a:gd name="T10" fmla="*/ 211 w 242"/>
                <a:gd name="T11" fmla="*/ 0 h 61"/>
                <a:gd name="T12" fmla="*/ 242 w 242"/>
                <a:gd name="T13" fmla="*/ 30 h 61"/>
                <a:gd name="T14" fmla="*/ 242 w 242"/>
                <a:gd name="T15" fmla="*/ 57 h 61"/>
                <a:gd name="T16" fmla="*/ 238 w 242"/>
                <a:gd name="T17" fmla="*/ 61 h 61"/>
                <a:gd name="T18" fmla="*/ 7 w 242"/>
                <a:gd name="T19" fmla="*/ 54 h 61"/>
                <a:gd name="T20" fmla="*/ 235 w 242"/>
                <a:gd name="T21" fmla="*/ 54 h 61"/>
                <a:gd name="T22" fmla="*/ 235 w 242"/>
                <a:gd name="T23" fmla="*/ 30 h 61"/>
                <a:gd name="T24" fmla="*/ 211 w 242"/>
                <a:gd name="T25" fmla="*/ 6 h 61"/>
                <a:gd name="T26" fmla="*/ 31 w 242"/>
                <a:gd name="T27" fmla="*/ 6 h 61"/>
                <a:gd name="T28" fmla="*/ 7 w 242"/>
                <a:gd name="T29" fmla="*/ 30 h 61"/>
                <a:gd name="T30" fmla="*/ 7 w 242"/>
                <a:gd name="T31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61">
                  <a:moveTo>
                    <a:pt x="238" y="61"/>
                  </a:moveTo>
                  <a:cubicBezTo>
                    <a:pt x="4" y="61"/>
                    <a:pt x="4" y="61"/>
                    <a:pt x="4" y="61"/>
                  </a:cubicBezTo>
                  <a:cubicBezTo>
                    <a:pt x="2" y="61"/>
                    <a:pt x="0" y="59"/>
                    <a:pt x="0" y="5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28" y="0"/>
                    <a:pt x="242" y="13"/>
                    <a:pt x="242" y="30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2" y="59"/>
                    <a:pt x="240" y="61"/>
                    <a:pt x="238" y="61"/>
                  </a:cubicBezTo>
                  <a:close/>
                  <a:moveTo>
                    <a:pt x="7" y="54"/>
                  </a:moveTo>
                  <a:cubicBezTo>
                    <a:pt x="235" y="54"/>
                    <a:pt x="235" y="54"/>
                    <a:pt x="235" y="54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17"/>
                    <a:pt x="224" y="6"/>
                    <a:pt x="21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18" y="6"/>
                    <a:pt x="7" y="17"/>
                    <a:pt x="7" y="30"/>
                  </a:cubicBezTo>
                  <a:lnTo>
                    <a:pt x="7" y="5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7" name="Freeform 1062">
              <a:extLst>
                <a:ext uri="{FF2B5EF4-FFF2-40B4-BE49-F238E27FC236}">
                  <a16:creationId xmlns:a16="http://schemas.microsoft.com/office/drawing/2014/main" id="{A043E5E1-4B7A-429F-8DB0-C5BF98296E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5864" y="2321855"/>
              <a:ext cx="438811" cy="74611"/>
            </a:xfrm>
            <a:custGeom>
              <a:avLst/>
              <a:gdLst>
                <a:gd name="T0" fmla="*/ 238 w 242"/>
                <a:gd name="T1" fmla="*/ 41 h 41"/>
                <a:gd name="T2" fmla="*/ 4 w 242"/>
                <a:gd name="T3" fmla="*/ 41 h 41"/>
                <a:gd name="T4" fmla="*/ 0 w 242"/>
                <a:gd name="T5" fmla="*/ 37 h 41"/>
                <a:gd name="T6" fmla="*/ 0 w 242"/>
                <a:gd name="T7" fmla="*/ 28 h 41"/>
                <a:gd name="T8" fmla="*/ 27 w 242"/>
                <a:gd name="T9" fmla="*/ 0 h 41"/>
                <a:gd name="T10" fmla="*/ 214 w 242"/>
                <a:gd name="T11" fmla="*/ 0 h 41"/>
                <a:gd name="T12" fmla="*/ 242 w 242"/>
                <a:gd name="T13" fmla="*/ 28 h 41"/>
                <a:gd name="T14" fmla="*/ 242 w 242"/>
                <a:gd name="T15" fmla="*/ 37 h 41"/>
                <a:gd name="T16" fmla="*/ 238 w 242"/>
                <a:gd name="T17" fmla="*/ 41 h 41"/>
                <a:gd name="T18" fmla="*/ 7 w 242"/>
                <a:gd name="T19" fmla="*/ 34 h 41"/>
                <a:gd name="T20" fmla="*/ 235 w 242"/>
                <a:gd name="T21" fmla="*/ 34 h 41"/>
                <a:gd name="T22" fmla="*/ 235 w 242"/>
                <a:gd name="T23" fmla="*/ 28 h 41"/>
                <a:gd name="T24" fmla="*/ 214 w 242"/>
                <a:gd name="T25" fmla="*/ 7 h 41"/>
                <a:gd name="T26" fmla="*/ 27 w 242"/>
                <a:gd name="T27" fmla="*/ 7 h 41"/>
                <a:gd name="T28" fmla="*/ 7 w 242"/>
                <a:gd name="T29" fmla="*/ 28 h 41"/>
                <a:gd name="T30" fmla="*/ 7 w 242"/>
                <a:gd name="T31" fmla="*/ 3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41">
                  <a:moveTo>
                    <a:pt x="238" y="41"/>
                  </a:move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39"/>
                    <a:pt x="0" y="3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29" y="0"/>
                    <a:pt x="242" y="13"/>
                    <a:pt x="242" y="28"/>
                  </a:cubicBezTo>
                  <a:cubicBezTo>
                    <a:pt x="242" y="37"/>
                    <a:pt x="242" y="37"/>
                    <a:pt x="242" y="37"/>
                  </a:cubicBezTo>
                  <a:cubicBezTo>
                    <a:pt x="242" y="39"/>
                    <a:pt x="240" y="41"/>
                    <a:pt x="238" y="41"/>
                  </a:cubicBezTo>
                  <a:close/>
                  <a:moveTo>
                    <a:pt x="7" y="34"/>
                  </a:moveTo>
                  <a:cubicBezTo>
                    <a:pt x="235" y="34"/>
                    <a:pt x="235" y="34"/>
                    <a:pt x="235" y="34"/>
                  </a:cubicBezTo>
                  <a:cubicBezTo>
                    <a:pt x="235" y="28"/>
                    <a:pt x="235" y="28"/>
                    <a:pt x="235" y="28"/>
                  </a:cubicBezTo>
                  <a:cubicBezTo>
                    <a:pt x="235" y="16"/>
                    <a:pt x="226" y="7"/>
                    <a:pt x="214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16" y="7"/>
                    <a:pt x="7" y="16"/>
                    <a:pt x="7" y="28"/>
                  </a:cubicBezTo>
                  <a:lnTo>
                    <a:pt x="7" y="3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8" name="Freeform 1063">
              <a:extLst>
                <a:ext uri="{FF2B5EF4-FFF2-40B4-BE49-F238E27FC236}">
                  <a16:creationId xmlns:a16="http://schemas.microsoft.com/office/drawing/2014/main" id="{FE834012-B9CB-4E5E-93B4-94D1823A9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5864" y="2177692"/>
              <a:ext cx="438811" cy="218773"/>
            </a:xfrm>
            <a:custGeom>
              <a:avLst/>
              <a:gdLst>
                <a:gd name="T0" fmla="*/ 238 w 242"/>
                <a:gd name="T1" fmla="*/ 120 h 120"/>
                <a:gd name="T2" fmla="*/ 4 w 242"/>
                <a:gd name="T3" fmla="*/ 120 h 120"/>
                <a:gd name="T4" fmla="*/ 0 w 242"/>
                <a:gd name="T5" fmla="*/ 116 h 120"/>
                <a:gd name="T6" fmla="*/ 0 w 242"/>
                <a:gd name="T7" fmla="*/ 17 h 120"/>
                <a:gd name="T8" fmla="*/ 17 w 242"/>
                <a:gd name="T9" fmla="*/ 0 h 120"/>
                <a:gd name="T10" fmla="*/ 225 w 242"/>
                <a:gd name="T11" fmla="*/ 0 h 120"/>
                <a:gd name="T12" fmla="*/ 242 w 242"/>
                <a:gd name="T13" fmla="*/ 17 h 120"/>
                <a:gd name="T14" fmla="*/ 242 w 242"/>
                <a:gd name="T15" fmla="*/ 116 h 120"/>
                <a:gd name="T16" fmla="*/ 238 w 242"/>
                <a:gd name="T17" fmla="*/ 120 h 120"/>
                <a:gd name="T18" fmla="*/ 7 w 242"/>
                <a:gd name="T19" fmla="*/ 113 h 120"/>
                <a:gd name="T20" fmla="*/ 235 w 242"/>
                <a:gd name="T21" fmla="*/ 113 h 120"/>
                <a:gd name="T22" fmla="*/ 235 w 242"/>
                <a:gd name="T23" fmla="*/ 17 h 120"/>
                <a:gd name="T24" fmla="*/ 225 w 242"/>
                <a:gd name="T25" fmla="*/ 7 h 120"/>
                <a:gd name="T26" fmla="*/ 17 w 242"/>
                <a:gd name="T27" fmla="*/ 7 h 120"/>
                <a:gd name="T28" fmla="*/ 7 w 242"/>
                <a:gd name="T29" fmla="*/ 17 h 120"/>
                <a:gd name="T30" fmla="*/ 7 w 242"/>
                <a:gd name="T31" fmla="*/ 11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20">
                  <a:moveTo>
                    <a:pt x="238" y="120"/>
                  </a:moveTo>
                  <a:cubicBezTo>
                    <a:pt x="4" y="120"/>
                    <a:pt x="4" y="120"/>
                    <a:pt x="4" y="120"/>
                  </a:cubicBezTo>
                  <a:cubicBezTo>
                    <a:pt x="2" y="120"/>
                    <a:pt x="0" y="118"/>
                    <a:pt x="0" y="1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34" y="0"/>
                    <a:pt x="242" y="7"/>
                    <a:pt x="242" y="17"/>
                  </a:cubicBezTo>
                  <a:cubicBezTo>
                    <a:pt x="242" y="116"/>
                    <a:pt x="242" y="116"/>
                    <a:pt x="242" y="116"/>
                  </a:cubicBezTo>
                  <a:cubicBezTo>
                    <a:pt x="242" y="118"/>
                    <a:pt x="240" y="120"/>
                    <a:pt x="238" y="120"/>
                  </a:cubicBezTo>
                  <a:close/>
                  <a:moveTo>
                    <a:pt x="7" y="113"/>
                  </a:moveTo>
                  <a:cubicBezTo>
                    <a:pt x="235" y="113"/>
                    <a:pt x="235" y="113"/>
                    <a:pt x="235" y="113"/>
                  </a:cubicBezTo>
                  <a:cubicBezTo>
                    <a:pt x="235" y="17"/>
                    <a:pt x="235" y="17"/>
                    <a:pt x="235" y="17"/>
                  </a:cubicBezTo>
                  <a:cubicBezTo>
                    <a:pt x="235" y="11"/>
                    <a:pt x="230" y="7"/>
                    <a:pt x="225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2" y="7"/>
                    <a:pt x="7" y="11"/>
                    <a:pt x="7" y="17"/>
                  </a:cubicBezTo>
                  <a:lnTo>
                    <a:pt x="7" y="11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9" name="Freeform 1064">
              <a:extLst>
                <a:ext uri="{FF2B5EF4-FFF2-40B4-BE49-F238E27FC236}">
                  <a16:creationId xmlns:a16="http://schemas.microsoft.com/office/drawing/2014/main" id="{1C121D58-7058-4421-841E-D807CEDC5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07829" y="2223217"/>
              <a:ext cx="147956" cy="73346"/>
            </a:xfrm>
            <a:custGeom>
              <a:avLst/>
              <a:gdLst>
                <a:gd name="T0" fmla="*/ 79 w 82"/>
                <a:gd name="T1" fmla="*/ 40 h 40"/>
                <a:gd name="T2" fmla="*/ 3 w 82"/>
                <a:gd name="T3" fmla="*/ 40 h 40"/>
                <a:gd name="T4" fmla="*/ 0 w 82"/>
                <a:gd name="T5" fmla="*/ 37 h 40"/>
                <a:gd name="T6" fmla="*/ 0 w 82"/>
                <a:gd name="T7" fmla="*/ 14 h 40"/>
                <a:gd name="T8" fmla="*/ 13 w 82"/>
                <a:gd name="T9" fmla="*/ 0 h 40"/>
                <a:gd name="T10" fmla="*/ 68 w 82"/>
                <a:gd name="T11" fmla="*/ 0 h 40"/>
                <a:gd name="T12" fmla="*/ 82 w 82"/>
                <a:gd name="T13" fmla="*/ 14 h 40"/>
                <a:gd name="T14" fmla="*/ 82 w 82"/>
                <a:gd name="T15" fmla="*/ 37 h 40"/>
                <a:gd name="T16" fmla="*/ 79 w 82"/>
                <a:gd name="T17" fmla="*/ 40 h 40"/>
                <a:gd name="T18" fmla="*/ 7 w 82"/>
                <a:gd name="T19" fmla="*/ 34 h 40"/>
                <a:gd name="T20" fmla="*/ 75 w 82"/>
                <a:gd name="T21" fmla="*/ 34 h 40"/>
                <a:gd name="T22" fmla="*/ 75 w 82"/>
                <a:gd name="T23" fmla="*/ 14 h 40"/>
                <a:gd name="T24" fmla="*/ 68 w 82"/>
                <a:gd name="T25" fmla="*/ 7 h 40"/>
                <a:gd name="T26" fmla="*/ 13 w 82"/>
                <a:gd name="T27" fmla="*/ 7 h 40"/>
                <a:gd name="T28" fmla="*/ 7 w 82"/>
                <a:gd name="T29" fmla="*/ 14 h 40"/>
                <a:gd name="T30" fmla="*/ 7 w 82"/>
                <a:gd name="T31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40">
                  <a:moveTo>
                    <a:pt x="79" y="40"/>
                  </a:moveTo>
                  <a:cubicBezTo>
                    <a:pt x="3" y="40"/>
                    <a:pt x="3" y="40"/>
                    <a:pt x="3" y="40"/>
                  </a:cubicBezTo>
                  <a:cubicBezTo>
                    <a:pt x="1" y="40"/>
                    <a:pt x="0" y="39"/>
                    <a:pt x="0" y="3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6" y="0"/>
                    <a:pt x="82" y="6"/>
                    <a:pt x="82" y="14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9"/>
                    <a:pt x="80" y="40"/>
                    <a:pt x="79" y="40"/>
                  </a:cubicBezTo>
                  <a:close/>
                  <a:moveTo>
                    <a:pt x="7" y="34"/>
                  </a:moveTo>
                  <a:cubicBezTo>
                    <a:pt x="75" y="34"/>
                    <a:pt x="75" y="34"/>
                    <a:pt x="75" y="3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0"/>
                    <a:pt x="72" y="7"/>
                    <a:pt x="68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0" y="7"/>
                    <a:pt x="7" y="10"/>
                    <a:pt x="7" y="14"/>
                  </a:cubicBezTo>
                  <a:lnTo>
                    <a:pt x="7" y="3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0" name="Freeform 1065">
              <a:extLst>
                <a:ext uri="{FF2B5EF4-FFF2-40B4-BE49-F238E27FC236}">
                  <a16:creationId xmlns:a16="http://schemas.microsoft.com/office/drawing/2014/main" id="{FEC04C41-9070-48F6-9C29-74AD490FEC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76018" y="2223217"/>
              <a:ext cx="146692" cy="73346"/>
            </a:xfrm>
            <a:custGeom>
              <a:avLst/>
              <a:gdLst>
                <a:gd name="T0" fmla="*/ 78 w 81"/>
                <a:gd name="T1" fmla="*/ 40 h 40"/>
                <a:gd name="T2" fmla="*/ 4 w 81"/>
                <a:gd name="T3" fmla="*/ 40 h 40"/>
                <a:gd name="T4" fmla="*/ 0 w 81"/>
                <a:gd name="T5" fmla="*/ 37 h 40"/>
                <a:gd name="T6" fmla="*/ 0 w 81"/>
                <a:gd name="T7" fmla="*/ 14 h 40"/>
                <a:gd name="T8" fmla="*/ 14 w 81"/>
                <a:gd name="T9" fmla="*/ 0 h 40"/>
                <a:gd name="T10" fmla="*/ 67 w 81"/>
                <a:gd name="T11" fmla="*/ 0 h 40"/>
                <a:gd name="T12" fmla="*/ 81 w 81"/>
                <a:gd name="T13" fmla="*/ 14 h 40"/>
                <a:gd name="T14" fmla="*/ 81 w 81"/>
                <a:gd name="T15" fmla="*/ 37 h 40"/>
                <a:gd name="T16" fmla="*/ 78 w 81"/>
                <a:gd name="T17" fmla="*/ 40 h 40"/>
                <a:gd name="T18" fmla="*/ 7 w 81"/>
                <a:gd name="T19" fmla="*/ 34 h 40"/>
                <a:gd name="T20" fmla="*/ 74 w 81"/>
                <a:gd name="T21" fmla="*/ 34 h 40"/>
                <a:gd name="T22" fmla="*/ 74 w 81"/>
                <a:gd name="T23" fmla="*/ 14 h 40"/>
                <a:gd name="T24" fmla="*/ 67 w 81"/>
                <a:gd name="T25" fmla="*/ 7 h 40"/>
                <a:gd name="T26" fmla="*/ 14 w 81"/>
                <a:gd name="T27" fmla="*/ 7 h 40"/>
                <a:gd name="T28" fmla="*/ 7 w 81"/>
                <a:gd name="T29" fmla="*/ 14 h 40"/>
                <a:gd name="T30" fmla="*/ 7 w 81"/>
                <a:gd name="T31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1" h="40">
                  <a:moveTo>
                    <a:pt x="78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9"/>
                    <a:pt x="0" y="3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5" y="0"/>
                    <a:pt x="81" y="6"/>
                    <a:pt x="81" y="14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1" y="39"/>
                    <a:pt x="80" y="40"/>
                    <a:pt x="78" y="40"/>
                  </a:cubicBezTo>
                  <a:close/>
                  <a:moveTo>
                    <a:pt x="7" y="34"/>
                  </a:moveTo>
                  <a:cubicBezTo>
                    <a:pt x="74" y="34"/>
                    <a:pt x="74" y="34"/>
                    <a:pt x="74" y="3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0"/>
                    <a:pt x="71" y="7"/>
                    <a:pt x="67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0" y="7"/>
                    <a:pt x="7" y="10"/>
                    <a:pt x="7" y="14"/>
                  </a:cubicBezTo>
                  <a:lnTo>
                    <a:pt x="7" y="3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1" name="Freeform 1066">
              <a:extLst>
                <a:ext uri="{FF2B5EF4-FFF2-40B4-BE49-F238E27FC236}">
                  <a16:creationId xmlns:a16="http://schemas.microsoft.com/office/drawing/2014/main" id="{C87359C1-7443-4B29-BA1C-9DABEDED17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1953" y="2382555"/>
              <a:ext cx="467897" cy="141634"/>
            </a:xfrm>
            <a:custGeom>
              <a:avLst/>
              <a:gdLst>
                <a:gd name="T0" fmla="*/ 255 w 258"/>
                <a:gd name="T1" fmla="*/ 78 h 78"/>
                <a:gd name="T2" fmla="*/ 234 w 258"/>
                <a:gd name="T3" fmla="*/ 78 h 78"/>
                <a:gd name="T4" fmla="*/ 230 w 258"/>
                <a:gd name="T5" fmla="*/ 75 h 78"/>
                <a:gd name="T6" fmla="*/ 230 w 258"/>
                <a:gd name="T7" fmla="*/ 53 h 78"/>
                <a:gd name="T8" fmla="*/ 28 w 258"/>
                <a:gd name="T9" fmla="*/ 53 h 78"/>
                <a:gd name="T10" fmla="*/ 28 w 258"/>
                <a:gd name="T11" fmla="*/ 75 h 78"/>
                <a:gd name="T12" fmla="*/ 24 w 258"/>
                <a:gd name="T13" fmla="*/ 78 h 78"/>
                <a:gd name="T14" fmla="*/ 3 w 258"/>
                <a:gd name="T15" fmla="*/ 78 h 78"/>
                <a:gd name="T16" fmla="*/ 0 w 258"/>
                <a:gd name="T17" fmla="*/ 75 h 78"/>
                <a:gd name="T18" fmla="*/ 0 w 258"/>
                <a:gd name="T19" fmla="*/ 3 h 78"/>
                <a:gd name="T20" fmla="*/ 3 w 258"/>
                <a:gd name="T21" fmla="*/ 0 h 78"/>
                <a:gd name="T22" fmla="*/ 255 w 258"/>
                <a:gd name="T23" fmla="*/ 0 h 78"/>
                <a:gd name="T24" fmla="*/ 258 w 258"/>
                <a:gd name="T25" fmla="*/ 3 h 78"/>
                <a:gd name="T26" fmla="*/ 258 w 258"/>
                <a:gd name="T27" fmla="*/ 75 h 78"/>
                <a:gd name="T28" fmla="*/ 255 w 258"/>
                <a:gd name="T29" fmla="*/ 78 h 78"/>
                <a:gd name="T30" fmla="*/ 237 w 258"/>
                <a:gd name="T31" fmla="*/ 71 h 78"/>
                <a:gd name="T32" fmla="*/ 251 w 258"/>
                <a:gd name="T33" fmla="*/ 71 h 78"/>
                <a:gd name="T34" fmla="*/ 251 w 258"/>
                <a:gd name="T35" fmla="*/ 7 h 78"/>
                <a:gd name="T36" fmla="*/ 7 w 258"/>
                <a:gd name="T37" fmla="*/ 7 h 78"/>
                <a:gd name="T38" fmla="*/ 7 w 258"/>
                <a:gd name="T39" fmla="*/ 71 h 78"/>
                <a:gd name="T40" fmla="*/ 21 w 258"/>
                <a:gd name="T41" fmla="*/ 71 h 78"/>
                <a:gd name="T42" fmla="*/ 21 w 258"/>
                <a:gd name="T43" fmla="*/ 50 h 78"/>
                <a:gd name="T44" fmla="*/ 24 w 258"/>
                <a:gd name="T45" fmla="*/ 46 h 78"/>
                <a:gd name="T46" fmla="*/ 234 w 258"/>
                <a:gd name="T47" fmla="*/ 46 h 78"/>
                <a:gd name="T48" fmla="*/ 237 w 258"/>
                <a:gd name="T49" fmla="*/ 50 h 78"/>
                <a:gd name="T50" fmla="*/ 237 w 258"/>
                <a:gd name="T51" fmla="*/ 7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8" h="78">
                  <a:moveTo>
                    <a:pt x="255" y="78"/>
                  </a:moveTo>
                  <a:cubicBezTo>
                    <a:pt x="234" y="78"/>
                    <a:pt x="234" y="78"/>
                    <a:pt x="234" y="78"/>
                  </a:cubicBezTo>
                  <a:cubicBezTo>
                    <a:pt x="232" y="78"/>
                    <a:pt x="230" y="77"/>
                    <a:pt x="230" y="75"/>
                  </a:cubicBezTo>
                  <a:cubicBezTo>
                    <a:pt x="230" y="53"/>
                    <a:pt x="230" y="53"/>
                    <a:pt x="230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7"/>
                    <a:pt x="26" y="78"/>
                    <a:pt x="24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1" y="78"/>
                    <a:pt x="0" y="77"/>
                    <a:pt x="0" y="7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57" y="0"/>
                    <a:pt x="258" y="2"/>
                    <a:pt x="258" y="3"/>
                  </a:cubicBezTo>
                  <a:cubicBezTo>
                    <a:pt x="258" y="75"/>
                    <a:pt x="258" y="75"/>
                    <a:pt x="258" y="75"/>
                  </a:cubicBezTo>
                  <a:cubicBezTo>
                    <a:pt x="258" y="77"/>
                    <a:pt x="257" y="78"/>
                    <a:pt x="255" y="78"/>
                  </a:cubicBezTo>
                  <a:close/>
                  <a:moveTo>
                    <a:pt x="237" y="71"/>
                  </a:moveTo>
                  <a:cubicBezTo>
                    <a:pt x="251" y="71"/>
                    <a:pt x="251" y="71"/>
                    <a:pt x="251" y="71"/>
                  </a:cubicBezTo>
                  <a:cubicBezTo>
                    <a:pt x="251" y="7"/>
                    <a:pt x="251" y="7"/>
                    <a:pt x="251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48"/>
                    <a:pt x="22" y="46"/>
                    <a:pt x="24" y="46"/>
                  </a:cubicBezTo>
                  <a:cubicBezTo>
                    <a:pt x="234" y="46"/>
                    <a:pt x="234" y="46"/>
                    <a:pt x="234" y="46"/>
                  </a:cubicBezTo>
                  <a:cubicBezTo>
                    <a:pt x="236" y="46"/>
                    <a:pt x="237" y="48"/>
                    <a:pt x="237" y="50"/>
                  </a:cubicBezTo>
                  <a:lnTo>
                    <a:pt x="237" y="7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2" name="Agrupar 1711">
            <a:extLst>
              <a:ext uri="{FF2B5EF4-FFF2-40B4-BE49-F238E27FC236}">
                <a16:creationId xmlns:a16="http://schemas.microsoft.com/office/drawing/2014/main" id="{B3453599-EB81-4735-A1EE-0C2332E6E937}"/>
              </a:ext>
            </a:extLst>
          </p:cNvPr>
          <p:cNvGrpSpPr/>
          <p:nvPr/>
        </p:nvGrpSpPr>
        <p:grpSpPr>
          <a:xfrm>
            <a:off x="9581474" y="2177692"/>
            <a:ext cx="469161" cy="346497"/>
            <a:chOff x="10263086" y="2177692"/>
            <a:chExt cx="469161" cy="346497"/>
          </a:xfrm>
        </p:grpSpPr>
        <p:sp>
          <p:nvSpPr>
            <p:cNvPr id="1272" name="Freeform 1067">
              <a:extLst>
                <a:ext uri="{FF2B5EF4-FFF2-40B4-BE49-F238E27FC236}">
                  <a16:creationId xmlns:a16="http://schemas.microsoft.com/office/drawing/2014/main" id="{042DD7FE-CFF2-491B-8C20-C74C04595B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63086" y="2343353"/>
              <a:ext cx="192217" cy="180836"/>
            </a:xfrm>
            <a:custGeom>
              <a:avLst/>
              <a:gdLst>
                <a:gd name="T0" fmla="*/ 16 w 106"/>
                <a:gd name="T1" fmla="*/ 100 h 100"/>
                <a:gd name="T2" fmla="*/ 4 w 106"/>
                <a:gd name="T3" fmla="*/ 100 h 100"/>
                <a:gd name="T4" fmla="*/ 1 w 106"/>
                <a:gd name="T5" fmla="*/ 98 h 100"/>
                <a:gd name="T6" fmla="*/ 1 w 106"/>
                <a:gd name="T7" fmla="*/ 95 h 100"/>
                <a:gd name="T8" fmla="*/ 53 w 106"/>
                <a:gd name="T9" fmla="*/ 8 h 100"/>
                <a:gd name="T10" fmla="*/ 67 w 106"/>
                <a:gd name="T11" fmla="*/ 0 h 100"/>
                <a:gd name="T12" fmla="*/ 80 w 106"/>
                <a:gd name="T13" fmla="*/ 8 h 100"/>
                <a:gd name="T14" fmla="*/ 105 w 106"/>
                <a:gd name="T15" fmla="*/ 49 h 100"/>
                <a:gd name="T16" fmla="*/ 105 w 106"/>
                <a:gd name="T17" fmla="*/ 52 h 100"/>
                <a:gd name="T18" fmla="*/ 102 w 106"/>
                <a:gd name="T19" fmla="*/ 54 h 100"/>
                <a:gd name="T20" fmla="*/ 87 w 106"/>
                <a:gd name="T21" fmla="*/ 69 h 100"/>
                <a:gd name="T22" fmla="*/ 85 w 106"/>
                <a:gd name="T23" fmla="*/ 72 h 100"/>
                <a:gd name="T24" fmla="*/ 82 w 106"/>
                <a:gd name="T25" fmla="*/ 71 h 100"/>
                <a:gd name="T26" fmla="*/ 81 w 106"/>
                <a:gd name="T27" fmla="*/ 71 h 100"/>
                <a:gd name="T28" fmla="*/ 79 w 106"/>
                <a:gd name="T29" fmla="*/ 71 h 100"/>
                <a:gd name="T30" fmla="*/ 78 w 106"/>
                <a:gd name="T31" fmla="*/ 71 h 100"/>
                <a:gd name="T32" fmla="*/ 77 w 106"/>
                <a:gd name="T33" fmla="*/ 71 h 100"/>
                <a:gd name="T34" fmla="*/ 77 w 106"/>
                <a:gd name="T35" fmla="*/ 72 h 100"/>
                <a:gd name="T36" fmla="*/ 76 w 106"/>
                <a:gd name="T37" fmla="*/ 72 h 100"/>
                <a:gd name="T38" fmla="*/ 75 w 106"/>
                <a:gd name="T39" fmla="*/ 73 h 100"/>
                <a:gd name="T40" fmla="*/ 75 w 106"/>
                <a:gd name="T41" fmla="*/ 73 h 100"/>
                <a:gd name="T42" fmla="*/ 75 w 106"/>
                <a:gd name="T43" fmla="*/ 74 h 100"/>
                <a:gd name="T44" fmla="*/ 72 w 106"/>
                <a:gd name="T45" fmla="*/ 77 h 100"/>
                <a:gd name="T46" fmla="*/ 69 w 106"/>
                <a:gd name="T47" fmla="*/ 76 h 100"/>
                <a:gd name="T48" fmla="*/ 58 w 106"/>
                <a:gd name="T49" fmla="*/ 71 h 100"/>
                <a:gd name="T50" fmla="*/ 46 w 106"/>
                <a:gd name="T51" fmla="*/ 78 h 100"/>
                <a:gd name="T52" fmla="*/ 42 w 106"/>
                <a:gd name="T53" fmla="*/ 80 h 100"/>
                <a:gd name="T54" fmla="*/ 37 w 106"/>
                <a:gd name="T55" fmla="*/ 79 h 100"/>
                <a:gd name="T56" fmla="*/ 20 w 106"/>
                <a:gd name="T57" fmla="*/ 97 h 100"/>
                <a:gd name="T58" fmla="*/ 16 w 106"/>
                <a:gd name="T59" fmla="*/ 100 h 100"/>
                <a:gd name="T60" fmla="*/ 10 w 106"/>
                <a:gd name="T61" fmla="*/ 93 h 100"/>
                <a:gd name="T62" fmla="*/ 13 w 106"/>
                <a:gd name="T63" fmla="*/ 93 h 100"/>
                <a:gd name="T64" fmla="*/ 37 w 106"/>
                <a:gd name="T65" fmla="*/ 72 h 100"/>
                <a:gd name="T66" fmla="*/ 42 w 106"/>
                <a:gd name="T67" fmla="*/ 73 h 100"/>
                <a:gd name="T68" fmla="*/ 58 w 106"/>
                <a:gd name="T69" fmla="*/ 64 h 100"/>
                <a:gd name="T70" fmla="*/ 70 w 106"/>
                <a:gd name="T71" fmla="*/ 68 h 100"/>
                <a:gd name="T72" fmla="*/ 72 w 106"/>
                <a:gd name="T73" fmla="*/ 67 h 100"/>
                <a:gd name="T74" fmla="*/ 73 w 106"/>
                <a:gd name="T75" fmla="*/ 66 h 100"/>
                <a:gd name="T76" fmla="*/ 75 w 106"/>
                <a:gd name="T77" fmla="*/ 65 h 100"/>
                <a:gd name="T78" fmla="*/ 75 w 106"/>
                <a:gd name="T79" fmla="*/ 65 h 100"/>
                <a:gd name="T80" fmla="*/ 77 w 106"/>
                <a:gd name="T81" fmla="*/ 64 h 100"/>
                <a:gd name="T82" fmla="*/ 81 w 106"/>
                <a:gd name="T83" fmla="*/ 64 h 100"/>
                <a:gd name="T84" fmla="*/ 96 w 106"/>
                <a:gd name="T85" fmla="*/ 48 h 100"/>
                <a:gd name="T86" fmla="*/ 74 w 106"/>
                <a:gd name="T87" fmla="*/ 11 h 100"/>
                <a:gd name="T88" fmla="*/ 67 w 106"/>
                <a:gd name="T89" fmla="*/ 7 h 100"/>
                <a:gd name="T90" fmla="*/ 59 w 106"/>
                <a:gd name="T91" fmla="*/ 11 h 100"/>
                <a:gd name="T92" fmla="*/ 10 w 106"/>
                <a:gd name="T93" fmla="*/ 9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6" h="100">
                  <a:moveTo>
                    <a:pt x="16" y="100"/>
                  </a:moveTo>
                  <a:cubicBezTo>
                    <a:pt x="4" y="100"/>
                    <a:pt x="4" y="100"/>
                    <a:pt x="4" y="100"/>
                  </a:cubicBezTo>
                  <a:cubicBezTo>
                    <a:pt x="3" y="100"/>
                    <a:pt x="2" y="99"/>
                    <a:pt x="1" y="98"/>
                  </a:cubicBezTo>
                  <a:cubicBezTo>
                    <a:pt x="0" y="97"/>
                    <a:pt x="0" y="96"/>
                    <a:pt x="1" y="95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6" y="3"/>
                    <a:pt x="61" y="0"/>
                    <a:pt x="67" y="0"/>
                  </a:cubicBezTo>
                  <a:cubicBezTo>
                    <a:pt x="72" y="0"/>
                    <a:pt x="77" y="3"/>
                    <a:pt x="80" y="8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50"/>
                    <a:pt x="106" y="51"/>
                    <a:pt x="105" y="52"/>
                  </a:cubicBezTo>
                  <a:cubicBezTo>
                    <a:pt x="104" y="53"/>
                    <a:pt x="103" y="54"/>
                    <a:pt x="102" y="54"/>
                  </a:cubicBezTo>
                  <a:cubicBezTo>
                    <a:pt x="94" y="54"/>
                    <a:pt x="87" y="61"/>
                    <a:pt x="87" y="69"/>
                  </a:cubicBezTo>
                  <a:cubicBezTo>
                    <a:pt x="87" y="70"/>
                    <a:pt x="86" y="71"/>
                    <a:pt x="85" y="72"/>
                  </a:cubicBezTo>
                  <a:cubicBezTo>
                    <a:pt x="84" y="72"/>
                    <a:pt x="83" y="72"/>
                    <a:pt x="82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0" y="71"/>
                    <a:pt x="79" y="71"/>
                    <a:pt x="79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7" y="71"/>
                    <a:pt x="77" y="71"/>
                    <a:pt x="77" y="72"/>
                  </a:cubicBezTo>
                  <a:cubicBezTo>
                    <a:pt x="77" y="72"/>
                    <a:pt x="76" y="72"/>
                    <a:pt x="76" y="72"/>
                  </a:cubicBezTo>
                  <a:cubicBezTo>
                    <a:pt x="76" y="72"/>
                    <a:pt x="76" y="72"/>
                    <a:pt x="75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4" y="76"/>
                    <a:pt x="73" y="76"/>
                    <a:pt x="72" y="77"/>
                  </a:cubicBezTo>
                  <a:cubicBezTo>
                    <a:pt x="71" y="77"/>
                    <a:pt x="69" y="77"/>
                    <a:pt x="69" y="76"/>
                  </a:cubicBezTo>
                  <a:cubicBezTo>
                    <a:pt x="66" y="73"/>
                    <a:pt x="62" y="71"/>
                    <a:pt x="58" y="71"/>
                  </a:cubicBezTo>
                  <a:cubicBezTo>
                    <a:pt x="53" y="71"/>
                    <a:pt x="49" y="74"/>
                    <a:pt x="46" y="78"/>
                  </a:cubicBezTo>
                  <a:cubicBezTo>
                    <a:pt x="46" y="80"/>
                    <a:pt x="44" y="80"/>
                    <a:pt x="42" y="80"/>
                  </a:cubicBezTo>
                  <a:cubicBezTo>
                    <a:pt x="41" y="79"/>
                    <a:pt x="39" y="79"/>
                    <a:pt x="37" y="79"/>
                  </a:cubicBezTo>
                  <a:cubicBezTo>
                    <a:pt x="28" y="79"/>
                    <a:pt x="20" y="87"/>
                    <a:pt x="20" y="97"/>
                  </a:cubicBezTo>
                  <a:cubicBezTo>
                    <a:pt x="20" y="99"/>
                    <a:pt x="18" y="100"/>
                    <a:pt x="16" y="100"/>
                  </a:cubicBezTo>
                  <a:close/>
                  <a:moveTo>
                    <a:pt x="10" y="93"/>
                  </a:moveTo>
                  <a:cubicBezTo>
                    <a:pt x="13" y="93"/>
                    <a:pt x="13" y="93"/>
                    <a:pt x="13" y="93"/>
                  </a:cubicBezTo>
                  <a:cubicBezTo>
                    <a:pt x="15" y="81"/>
                    <a:pt x="25" y="72"/>
                    <a:pt x="37" y="72"/>
                  </a:cubicBezTo>
                  <a:cubicBezTo>
                    <a:pt x="39" y="72"/>
                    <a:pt x="40" y="72"/>
                    <a:pt x="42" y="73"/>
                  </a:cubicBezTo>
                  <a:cubicBezTo>
                    <a:pt x="46" y="67"/>
                    <a:pt x="52" y="64"/>
                    <a:pt x="58" y="64"/>
                  </a:cubicBezTo>
                  <a:cubicBezTo>
                    <a:pt x="63" y="64"/>
                    <a:pt x="67" y="65"/>
                    <a:pt x="70" y="68"/>
                  </a:cubicBezTo>
                  <a:cubicBezTo>
                    <a:pt x="71" y="67"/>
                    <a:pt x="71" y="67"/>
                    <a:pt x="72" y="67"/>
                  </a:cubicBezTo>
                  <a:cubicBezTo>
                    <a:pt x="72" y="66"/>
                    <a:pt x="73" y="66"/>
                    <a:pt x="73" y="66"/>
                  </a:cubicBezTo>
                  <a:cubicBezTo>
                    <a:pt x="74" y="65"/>
                    <a:pt x="74" y="65"/>
                    <a:pt x="75" y="65"/>
                  </a:cubicBezTo>
                  <a:cubicBezTo>
                    <a:pt x="75" y="65"/>
                    <a:pt x="75" y="65"/>
                    <a:pt x="75" y="65"/>
                  </a:cubicBezTo>
                  <a:cubicBezTo>
                    <a:pt x="76" y="64"/>
                    <a:pt x="76" y="64"/>
                    <a:pt x="77" y="64"/>
                  </a:cubicBezTo>
                  <a:cubicBezTo>
                    <a:pt x="78" y="64"/>
                    <a:pt x="79" y="64"/>
                    <a:pt x="81" y="64"/>
                  </a:cubicBezTo>
                  <a:cubicBezTo>
                    <a:pt x="83" y="56"/>
                    <a:pt x="89" y="50"/>
                    <a:pt x="96" y="48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3" y="9"/>
                    <a:pt x="70" y="7"/>
                    <a:pt x="67" y="7"/>
                  </a:cubicBezTo>
                  <a:cubicBezTo>
                    <a:pt x="64" y="7"/>
                    <a:pt x="61" y="9"/>
                    <a:pt x="59" y="11"/>
                  </a:cubicBezTo>
                  <a:lnTo>
                    <a:pt x="10" y="9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3" name="Freeform 1068">
              <a:extLst>
                <a:ext uri="{FF2B5EF4-FFF2-40B4-BE49-F238E27FC236}">
                  <a16:creationId xmlns:a16="http://schemas.microsoft.com/office/drawing/2014/main" id="{2647CC48-8A46-4246-826D-77F036DD08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5984" y="2242186"/>
              <a:ext cx="326263" cy="282003"/>
            </a:xfrm>
            <a:custGeom>
              <a:avLst/>
              <a:gdLst>
                <a:gd name="T0" fmla="*/ 176 w 180"/>
                <a:gd name="T1" fmla="*/ 156 h 156"/>
                <a:gd name="T2" fmla="*/ 176 w 180"/>
                <a:gd name="T3" fmla="*/ 156 h 156"/>
                <a:gd name="T4" fmla="*/ 126 w 180"/>
                <a:gd name="T5" fmla="*/ 156 h 156"/>
                <a:gd name="T6" fmla="*/ 123 w 180"/>
                <a:gd name="T7" fmla="*/ 153 h 156"/>
                <a:gd name="T8" fmla="*/ 116 w 180"/>
                <a:gd name="T9" fmla="*/ 148 h 156"/>
                <a:gd name="T10" fmla="*/ 114 w 180"/>
                <a:gd name="T11" fmla="*/ 148 h 156"/>
                <a:gd name="T12" fmla="*/ 111 w 180"/>
                <a:gd name="T13" fmla="*/ 147 h 156"/>
                <a:gd name="T14" fmla="*/ 110 w 180"/>
                <a:gd name="T15" fmla="*/ 144 h 156"/>
                <a:gd name="T16" fmla="*/ 105 w 180"/>
                <a:gd name="T17" fmla="*/ 139 h 156"/>
                <a:gd name="T18" fmla="*/ 103 w 180"/>
                <a:gd name="T19" fmla="*/ 140 h 156"/>
                <a:gd name="T20" fmla="*/ 99 w 180"/>
                <a:gd name="T21" fmla="*/ 140 h 156"/>
                <a:gd name="T22" fmla="*/ 97 w 180"/>
                <a:gd name="T23" fmla="*/ 137 h 156"/>
                <a:gd name="T24" fmla="*/ 78 w 180"/>
                <a:gd name="T25" fmla="*/ 118 h 156"/>
                <a:gd name="T26" fmla="*/ 61 w 180"/>
                <a:gd name="T27" fmla="*/ 128 h 156"/>
                <a:gd name="T28" fmla="*/ 58 w 180"/>
                <a:gd name="T29" fmla="*/ 130 h 156"/>
                <a:gd name="T30" fmla="*/ 55 w 180"/>
                <a:gd name="T31" fmla="*/ 128 h 156"/>
                <a:gd name="T32" fmla="*/ 46 w 180"/>
                <a:gd name="T33" fmla="*/ 123 h 156"/>
                <a:gd name="T34" fmla="*/ 45 w 180"/>
                <a:gd name="T35" fmla="*/ 123 h 156"/>
                <a:gd name="T36" fmla="*/ 44 w 180"/>
                <a:gd name="T37" fmla="*/ 123 h 156"/>
                <a:gd name="T38" fmla="*/ 44 w 180"/>
                <a:gd name="T39" fmla="*/ 123 h 156"/>
                <a:gd name="T40" fmla="*/ 43 w 180"/>
                <a:gd name="T41" fmla="*/ 123 h 156"/>
                <a:gd name="T42" fmla="*/ 43 w 180"/>
                <a:gd name="T43" fmla="*/ 123 h 156"/>
                <a:gd name="T44" fmla="*/ 38 w 180"/>
                <a:gd name="T45" fmla="*/ 121 h 156"/>
                <a:gd name="T46" fmla="*/ 23 w 180"/>
                <a:gd name="T47" fmla="*/ 110 h 156"/>
                <a:gd name="T48" fmla="*/ 23 w 180"/>
                <a:gd name="T49" fmla="*/ 110 h 156"/>
                <a:gd name="T50" fmla="*/ 20 w 180"/>
                <a:gd name="T51" fmla="*/ 108 h 156"/>
                <a:gd name="T52" fmla="*/ 1 w 180"/>
                <a:gd name="T53" fmla="*/ 76 h 156"/>
                <a:gd name="T54" fmla="*/ 1 w 180"/>
                <a:gd name="T55" fmla="*/ 73 h 156"/>
                <a:gd name="T56" fmla="*/ 36 w 180"/>
                <a:gd name="T57" fmla="*/ 14 h 156"/>
                <a:gd name="T58" fmla="*/ 63 w 180"/>
                <a:gd name="T59" fmla="*/ 4 h 156"/>
                <a:gd name="T60" fmla="*/ 76 w 180"/>
                <a:gd name="T61" fmla="*/ 14 h 156"/>
                <a:gd name="T62" fmla="*/ 87 w 180"/>
                <a:gd name="T63" fmla="*/ 34 h 156"/>
                <a:gd name="T64" fmla="*/ 97 w 180"/>
                <a:gd name="T65" fmla="*/ 38 h 156"/>
                <a:gd name="T66" fmla="*/ 108 w 180"/>
                <a:gd name="T67" fmla="*/ 39 h 156"/>
                <a:gd name="T68" fmla="*/ 117 w 180"/>
                <a:gd name="T69" fmla="*/ 47 h 156"/>
                <a:gd name="T70" fmla="*/ 179 w 180"/>
                <a:gd name="T71" fmla="*/ 150 h 156"/>
                <a:gd name="T72" fmla="*/ 180 w 180"/>
                <a:gd name="T73" fmla="*/ 153 h 156"/>
                <a:gd name="T74" fmla="*/ 176 w 180"/>
                <a:gd name="T75" fmla="*/ 156 h 156"/>
                <a:gd name="T76" fmla="*/ 128 w 180"/>
                <a:gd name="T77" fmla="*/ 149 h 156"/>
                <a:gd name="T78" fmla="*/ 170 w 180"/>
                <a:gd name="T79" fmla="*/ 149 h 156"/>
                <a:gd name="T80" fmla="*/ 111 w 180"/>
                <a:gd name="T81" fmla="*/ 50 h 156"/>
                <a:gd name="T82" fmla="*/ 105 w 180"/>
                <a:gd name="T83" fmla="*/ 45 h 156"/>
                <a:gd name="T84" fmla="*/ 99 w 180"/>
                <a:gd name="T85" fmla="*/ 45 h 156"/>
                <a:gd name="T86" fmla="*/ 95 w 180"/>
                <a:gd name="T87" fmla="*/ 45 h 156"/>
                <a:gd name="T88" fmla="*/ 82 w 180"/>
                <a:gd name="T89" fmla="*/ 37 h 156"/>
                <a:gd name="T90" fmla="*/ 70 w 180"/>
                <a:gd name="T91" fmla="*/ 18 h 156"/>
                <a:gd name="T92" fmla="*/ 61 w 180"/>
                <a:gd name="T93" fmla="*/ 10 h 156"/>
                <a:gd name="T94" fmla="*/ 42 w 180"/>
                <a:gd name="T95" fmla="*/ 17 h 156"/>
                <a:gd name="T96" fmla="*/ 8 w 180"/>
                <a:gd name="T97" fmla="*/ 74 h 156"/>
                <a:gd name="T98" fmla="*/ 25 w 180"/>
                <a:gd name="T99" fmla="*/ 103 h 156"/>
                <a:gd name="T100" fmla="*/ 44 w 180"/>
                <a:gd name="T101" fmla="*/ 116 h 156"/>
                <a:gd name="T102" fmla="*/ 44 w 180"/>
                <a:gd name="T103" fmla="*/ 116 h 156"/>
                <a:gd name="T104" fmla="*/ 46 w 180"/>
                <a:gd name="T105" fmla="*/ 116 h 156"/>
                <a:gd name="T106" fmla="*/ 58 w 180"/>
                <a:gd name="T107" fmla="*/ 121 h 156"/>
                <a:gd name="T108" fmla="*/ 78 w 180"/>
                <a:gd name="T109" fmla="*/ 112 h 156"/>
                <a:gd name="T110" fmla="*/ 104 w 180"/>
                <a:gd name="T111" fmla="*/ 133 h 156"/>
                <a:gd name="T112" fmla="*/ 105 w 180"/>
                <a:gd name="T113" fmla="*/ 132 h 156"/>
                <a:gd name="T114" fmla="*/ 116 w 180"/>
                <a:gd name="T115" fmla="*/ 141 h 156"/>
                <a:gd name="T116" fmla="*/ 128 w 180"/>
                <a:gd name="T117" fmla="*/ 14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0" h="156">
                  <a:moveTo>
                    <a:pt x="176" y="156"/>
                  </a:moveTo>
                  <a:cubicBezTo>
                    <a:pt x="176" y="156"/>
                    <a:pt x="176" y="156"/>
                    <a:pt x="17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4" y="156"/>
                    <a:pt x="123" y="155"/>
                    <a:pt x="123" y="153"/>
                  </a:cubicBezTo>
                  <a:cubicBezTo>
                    <a:pt x="122" y="150"/>
                    <a:pt x="119" y="148"/>
                    <a:pt x="116" y="148"/>
                  </a:cubicBezTo>
                  <a:cubicBezTo>
                    <a:pt x="115" y="148"/>
                    <a:pt x="115" y="148"/>
                    <a:pt x="114" y="148"/>
                  </a:cubicBezTo>
                  <a:cubicBezTo>
                    <a:pt x="113" y="148"/>
                    <a:pt x="112" y="148"/>
                    <a:pt x="111" y="147"/>
                  </a:cubicBezTo>
                  <a:cubicBezTo>
                    <a:pt x="111" y="146"/>
                    <a:pt x="110" y="146"/>
                    <a:pt x="110" y="144"/>
                  </a:cubicBezTo>
                  <a:cubicBezTo>
                    <a:pt x="110" y="142"/>
                    <a:pt x="108" y="139"/>
                    <a:pt x="105" y="139"/>
                  </a:cubicBezTo>
                  <a:cubicBezTo>
                    <a:pt x="104" y="139"/>
                    <a:pt x="103" y="140"/>
                    <a:pt x="103" y="140"/>
                  </a:cubicBezTo>
                  <a:cubicBezTo>
                    <a:pt x="102" y="141"/>
                    <a:pt x="100" y="141"/>
                    <a:pt x="99" y="140"/>
                  </a:cubicBezTo>
                  <a:cubicBezTo>
                    <a:pt x="98" y="140"/>
                    <a:pt x="98" y="138"/>
                    <a:pt x="97" y="137"/>
                  </a:cubicBezTo>
                  <a:cubicBezTo>
                    <a:pt x="97" y="127"/>
                    <a:pt x="88" y="118"/>
                    <a:pt x="78" y="118"/>
                  </a:cubicBezTo>
                  <a:cubicBezTo>
                    <a:pt x="71" y="118"/>
                    <a:pt x="64" y="122"/>
                    <a:pt x="61" y="128"/>
                  </a:cubicBezTo>
                  <a:cubicBezTo>
                    <a:pt x="60" y="129"/>
                    <a:pt x="59" y="130"/>
                    <a:pt x="58" y="130"/>
                  </a:cubicBezTo>
                  <a:cubicBezTo>
                    <a:pt x="56" y="130"/>
                    <a:pt x="55" y="129"/>
                    <a:pt x="55" y="128"/>
                  </a:cubicBezTo>
                  <a:cubicBezTo>
                    <a:pt x="53" y="125"/>
                    <a:pt x="50" y="123"/>
                    <a:pt x="46" y="123"/>
                  </a:cubicBezTo>
                  <a:cubicBezTo>
                    <a:pt x="46" y="123"/>
                    <a:pt x="46" y="123"/>
                    <a:pt x="45" y="123"/>
                  </a:cubicBezTo>
                  <a:cubicBezTo>
                    <a:pt x="45" y="123"/>
                    <a:pt x="45" y="123"/>
                    <a:pt x="44" y="123"/>
                  </a:cubicBezTo>
                  <a:cubicBezTo>
                    <a:pt x="44" y="123"/>
                    <a:pt x="44" y="123"/>
                    <a:pt x="44" y="123"/>
                  </a:cubicBezTo>
                  <a:cubicBezTo>
                    <a:pt x="44" y="123"/>
                    <a:pt x="44" y="123"/>
                    <a:pt x="43" y="123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1" y="124"/>
                    <a:pt x="39" y="123"/>
                    <a:pt x="38" y="121"/>
                  </a:cubicBezTo>
                  <a:cubicBezTo>
                    <a:pt x="36" y="115"/>
                    <a:pt x="30" y="110"/>
                    <a:pt x="23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2" y="110"/>
                    <a:pt x="21" y="109"/>
                    <a:pt x="20" y="108"/>
                  </a:cubicBezTo>
                  <a:cubicBezTo>
                    <a:pt x="1" y="76"/>
                    <a:pt x="1" y="76"/>
                    <a:pt x="1" y="76"/>
                  </a:cubicBezTo>
                  <a:cubicBezTo>
                    <a:pt x="0" y="75"/>
                    <a:pt x="0" y="74"/>
                    <a:pt x="1" y="7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42" y="5"/>
                    <a:pt x="53" y="0"/>
                    <a:pt x="63" y="4"/>
                  </a:cubicBezTo>
                  <a:cubicBezTo>
                    <a:pt x="68" y="5"/>
                    <a:pt x="73" y="9"/>
                    <a:pt x="76" y="14"/>
                  </a:cubicBezTo>
                  <a:cubicBezTo>
                    <a:pt x="87" y="34"/>
                    <a:pt x="87" y="34"/>
                    <a:pt x="87" y="34"/>
                  </a:cubicBezTo>
                  <a:cubicBezTo>
                    <a:pt x="89" y="37"/>
                    <a:pt x="93" y="39"/>
                    <a:pt x="97" y="38"/>
                  </a:cubicBezTo>
                  <a:cubicBezTo>
                    <a:pt x="101" y="37"/>
                    <a:pt x="105" y="38"/>
                    <a:pt x="108" y="39"/>
                  </a:cubicBezTo>
                  <a:cubicBezTo>
                    <a:pt x="112" y="40"/>
                    <a:pt x="115" y="43"/>
                    <a:pt x="117" y="47"/>
                  </a:cubicBezTo>
                  <a:cubicBezTo>
                    <a:pt x="179" y="150"/>
                    <a:pt x="179" y="150"/>
                    <a:pt x="179" y="150"/>
                  </a:cubicBezTo>
                  <a:cubicBezTo>
                    <a:pt x="180" y="151"/>
                    <a:pt x="180" y="152"/>
                    <a:pt x="180" y="153"/>
                  </a:cubicBezTo>
                  <a:cubicBezTo>
                    <a:pt x="180" y="155"/>
                    <a:pt x="178" y="156"/>
                    <a:pt x="176" y="156"/>
                  </a:cubicBezTo>
                  <a:close/>
                  <a:moveTo>
                    <a:pt x="128" y="149"/>
                  </a:moveTo>
                  <a:cubicBezTo>
                    <a:pt x="170" y="149"/>
                    <a:pt x="170" y="149"/>
                    <a:pt x="170" y="149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0" y="49"/>
                    <a:pt x="108" y="46"/>
                    <a:pt x="105" y="45"/>
                  </a:cubicBezTo>
                  <a:cubicBezTo>
                    <a:pt x="103" y="44"/>
                    <a:pt x="101" y="44"/>
                    <a:pt x="99" y="45"/>
                  </a:cubicBezTo>
                  <a:cubicBezTo>
                    <a:pt x="98" y="45"/>
                    <a:pt x="96" y="45"/>
                    <a:pt x="95" y="45"/>
                  </a:cubicBezTo>
                  <a:cubicBezTo>
                    <a:pt x="90" y="45"/>
                    <a:pt x="84" y="42"/>
                    <a:pt x="82" y="37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8" y="14"/>
                    <a:pt x="65" y="11"/>
                    <a:pt x="61" y="10"/>
                  </a:cubicBezTo>
                  <a:cubicBezTo>
                    <a:pt x="54" y="8"/>
                    <a:pt x="46" y="11"/>
                    <a:pt x="42" y="17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33" y="104"/>
                    <a:pt x="40" y="109"/>
                    <a:pt x="44" y="116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5" y="116"/>
                    <a:pt x="46" y="116"/>
                    <a:pt x="46" y="116"/>
                  </a:cubicBezTo>
                  <a:cubicBezTo>
                    <a:pt x="51" y="116"/>
                    <a:pt x="55" y="118"/>
                    <a:pt x="58" y="121"/>
                  </a:cubicBezTo>
                  <a:cubicBezTo>
                    <a:pt x="63" y="115"/>
                    <a:pt x="70" y="112"/>
                    <a:pt x="78" y="112"/>
                  </a:cubicBezTo>
                  <a:cubicBezTo>
                    <a:pt x="91" y="112"/>
                    <a:pt x="101" y="120"/>
                    <a:pt x="104" y="133"/>
                  </a:cubicBezTo>
                  <a:cubicBezTo>
                    <a:pt x="104" y="132"/>
                    <a:pt x="105" y="132"/>
                    <a:pt x="105" y="132"/>
                  </a:cubicBezTo>
                  <a:cubicBezTo>
                    <a:pt x="110" y="132"/>
                    <a:pt x="115" y="136"/>
                    <a:pt x="116" y="141"/>
                  </a:cubicBezTo>
                  <a:cubicBezTo>
                    <a:pt x="122" y="141"/>
                    <a:pt x="126" y="144"/>
                    <a:pt x="128" y="14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4" name="Freeform 1069">
              <a:extLst>
                <a:ext uri="{FF2B5EF4-FFF2-40B4-BE49-F238E27FC236}">
                  <a16:creationId xmlns:a16="http://schemas.microsoft.com/office/drawing/2014/main" id="{703C1659-13E6-4E4B-AD6E-7977B046F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3086" y="2238392"/>
              <a:ext cx="156809" cy="58171"/>
            </a:xfrm>
            <a:custGeom>
              <a:avLst/>
              <a:gdLst>
                <a:gd name="T0" fmla="*/ 84 w 87"/>
                <a:gd name="T1" fmla="*/ 32 h 32"/>
                <a:gd name="T2" fmla="*/ 67 w 87"/>
                <a:gd name="T3" fmla="*/ 32 h 32"/>
                <a:gd name="T4" fmla="*/ 64 w 87"/>
                <a:gd name="T5" fmla="*/ 31 h 32"/>
                <a:gd name="T6" fmla="*/ 63 w 87"/>
                <a:gd name="T7" fmla="*/ 28 h 32"/>
                <a:gd name="T8" fmla="*/ 63 w 87"/>
                <a:gd name="T9" fmla="*/ 27 h 32"/>
                <a:gd name="T10" fmla="*/ 58 w 87"/>
                <a:gd name="T11" fmla="*/ 20 h 32"/>
                <a:gd name="T12" fmla="*/ 55 w 87"/>
                <a:gd name="T13" fmla="*/ 17 h 32"/>
                <a:gd name="T14" fmla="*/ 44 w 87"/>
                <a:gd name="T15" fmla="*/ 7 h 32"/>
                <a:gd name="T16" fmla="*/ 32 w 87"/>
                <a:gd name="T17" fmla="*/ 18 h 32"/>
                <a:gd name="T18" fmla="*/ 31 w 87"/>
                <a:gd name="T19" fmla="*/ 21 h 32"/>
                <a:gd name="T20" fmla="*/ 27 w 87"/>
                <a:gd name="T21" fmla="*/ 20 h 32"/>
                <a:gd name="T22" fmla="*/ 25 w 87"/>
                <a:gd name="T23" fmla="*/ 20 h 32"/>
                <a:gd name="T24" fmla="*/ 20 w 87"/>
                <a:gd name="T25" fmla="*/ 25 h 32"/>
                <a:gd name="T26" fmla="*/ 21 w 87"/>
                <a:gd name="T27" fmla="*/ 27 h 32"/>
                <a:gd name="T28" fmla="*/ 21 w 87"/>
                <a:gd name="T29" fmla="*/ 31 h 32"/>
                <a:gd name="T30" fmla="*/ 18 w 87"/>
                <a:gd name="T31" fmla="*/ 32 h 32"/>
                <a:gd name="T32" fmla="*/ 4 w 87"/>
                <a:gd name="T33" fmla="*/ 32 h 32"/>
                <a:gd name="T34" fmla="*/ 0 w 87"/>
                <a:gd name="T35" fmla="*/ 29 h 32"/>
                <a:gd name="T36" fmla="*/ 4 w 87"/>
                <a:gd name="T37" fmla="*/ 26 h 32"/>
                <a:gd name="T38" fmla="*/ 13 w 87"/>
                <a:gd name="T39" fmla="*/ 26 h 32"/>
                <a:gd name="T40" fmla="*/ 13 w 87"/>
                <a:gd name="T41" fmla="*/ 25 h 32"/>
                <a:gd name="T42" fmla="*/ 25 w 87"/>
                <a:gd name="T43" fmla="*/ 13 h 32"/>
                <a:gd name="T44" fmla="*/ 26 w 87"/>
                <a:gd name="T45" fmla="*/ 13 h 32"/>
                <a:gd name="T46" fmla="*/ 44 w 87"/>
                <a:gd name="T47" fmla="*/ 0 h 32"/>
                <a:gd name="T48" fmla="*/ 61 w 87"/>
                <a:gd name="T49" fmla="*/ 14 h 32"/>
                <a:gd name="T50" fmla="*/ 70 w 87"/>
                <a:gd name="T51" fmla="*/ 26 h 32"/>
                <a:gd name="T52" fmla="*/ 84 w 87"/>
                <a:gd name="T53" fmla="*/ 26 h 32"/>
                <a:gd name="T54" fmla="*/ 87 w 87"/>
                <a:gd name="T55" fmla="*/ 29 h 32"/>
                <a:gd name="T56" fmla="*/ 84 w 87"/>
                <a:gd name="T5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7" h="32">
                  <a:moveTo>
                    <a:pt x="84" y="32"/>
                  </a:moveTo>
                  <a:cubicBezTo>
                    <a:pt x="67" y="32"/>
                    <a:pt x="67" y="32"/>
                    <a:pt x="67" y="32"/>
                  </a:cubicBezTo>
                  <a:cubicBezTo>
                    <a:pt x="66" y="32"/>
                    <a:pt x="65" y="32"/>
                    <a:pt x="64" y="31"/>
                  </a:cubicBezTo>
                  <a:cubicBezTo>
                    <a:pt x="63" y="30"/>
                    <a:pt x="63" y="29"/>
                    <a:pt x="63" y="28"/>
                  </a:cubicBezTo>
                  <a:cubicBezTo>
                    <a:pt x="63" y="28"/>
                    <a:pt x="63" y="27"/>
                    <a:pt x="63" y="27"/>
                  </a:cubicBezTo>
                  <a:cubicBezTo>
                    <a:pt x="63" y="23"/>
                    <a:pt x="61" y="21"/>
                    <a:pt x="58" y="20"/>
                  </a:cubicBezTo>
                  <a:cubicBezTo>
                    <a:pt x="56" y="20"/>
                    <a:pt x="55" y="18"/>
                    <a:pt x="55" y="17"/>
                  </a:cubicBezTo>
                  <a:cubicBezTo>
                    <a:pt x="54" y="11"/>
                    <a:pt x="49" y="7"/>
                    <a:pt x="44" y="7"/>
                  </a:cubicBezTo>
                  <a:cubicBezTo>
                    <a:pt x="38" y="7"/>
                    <a:pt x="33" y="12"/>
                    <a:pt x="32" y="18"/>
                  </a:cubicBezTo>
                  <a:cubicBezTo>
                    <a:pt x="32" y="19"/>
                    <a:pt x="32" y="20"/>
                    <a:pt x="31" y="21"/>
                  </a:cubicBezTo>
                  <a:cubicBezTo>
                    <a:pt x="30" y="21"/>
                    <a:pt x="28" y="21"/>
                    <a:pt x="27" y="20"/>
                  </a:cubicBezTo>
                  <a:cubicBezTo>
                    <a:pt x="27" y="20"/>
                    <a:pt x="26" y="20"/>
                    <a:pt x="25" y="20"/>
                  </a:cubicBezTo>
                  <a:cubicBezTo>
                    <a:pt x="22" y="20"/>
                    <a:pt x="20" y="22"/>
                    <a:pt x="20" y="25"/>
                  </a:cubicBezTo>
                  <a:cubicBezTo>
                    <a:pt x="20" y="26"/>
                    <a:pt x="20" y="26"/>
                    <a:pt x="21" y="27"/>
                  </a:cubicBezTo>
                  <a:cubicBezTo>
                    <a:pt x="21" y="28"/>
                    <a:pt x="21" y="30"/>
                    <a:pt x="21" y="31"/>
                  </a:cubicBezTo>
                  <a:cubicBezTo>
                    <a:pt x="20" y="32"/>
                    <a:pt x="19" y="32"/>
                    <a:pt x="18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0" y="31"/>
                    <a:pt x="0" y="29"/>
                  </a:cubicBezTo>
                  <a:cubicBezTo>
                    <a:pt x="0" y="27"/>
                    <a:pt x="2" y="26"/>
                    <a:pt x="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18"/>
                    <a:pt x="18" y="13"/>
                    <a:pt x="25" y="13"/>
                  </a:cubicBezTo>
                  <a:cubicBezTo>
                    <a:pt x="25" y="13"/>
                    <a:pt x="26" y="13"/>
                    <a:pt x="26" y="13"/>
                  </a:cubicBezTo>
                  <a:cubicBezTo>
                    <a:pt x="29" y="6"/>
                    <a:pt x="36" y="0"/>
                    <a:pt x="44" y="0"/>
                  </a:cubicBezTo>
                  <a:cubicBezTo>
                    <a:pt x="52" y="0"/>
                    <a:pt x="59" y="6"/>
                    <a:pt x="61" y="14"/>
                  </a:cubicBezTo>
                  <a:cubicBezTo>
                    <a:pt x="66" y="16"/>
                    <a:pt x="70" y="20"/>
                    <a:pt x="70" y="2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5" y="26"/>
                    <a:pt x="87" y="27"/>
                    <a:pt x="87" y="29"/>
                  </a:cubicBezTo>
                  <a:cubicBezTo>
                    <a:pt x="87" y="31"/>
                    <a:pt x="85" y="32"/>
                    <a:pt x="84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5" name="Freeform 1070">
              <a:extLst>
                <a:ext uri="{FF2B5EF4-FFF2-40B4-BE49-F238E27FC236}">
                  <a16:creationId xmlns:a16="http://schemas.microsoft.com/office/drawing/2014/main" id="{8392C645-1312-4073-B79D-13908420B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4174" y="2177692"/>
              <a:ext cx="158073" cy="58171"/>
            </a:xfrm>
            <a:custGeom>
              <a:avLst/>
              <a:gdLst>
                <a:gd name="T0" fmla="*/ 83 w 87"/>
                <a:gd name="T1" fmla="*/ 32 h 32"/>
                <a:gd name="T2" fmla="*/ 66 w 87"/>
                <a:gd name="T3" fmla="*/ 32 h 32"/>
                <a:gd name="T4" fmla="*/ 64 w 87"/>
                <a:gd name="T5" fmla="*/ 31 h 32"/>
                <a:gd name="T6" fmla="*/ 63 w 87"/>
                <a:gd name="T7" fmla="*/ 28 h 32"/>
                <a:gd name="T8" fmla="*/ 63 w 87"/>
                <a:gd name="T9" fmla="*/ 26 h 32"/>
                <a:gd name="T10" fmla="*/ 57 w 87"/>
                <a:gd name="T11" fmla="*/ 19 h 32"/>
                <a:gd name="T12" fmla="*/ 55 w 87"/>
                <a:gd name="T13" fmla="*/ 16 h 32"/>
                <a:gd name="T14" fmla="*/ 44 w 87"/>
                <a:gd name="T15" fmla="*/ 7 h 32"/>
                <a:gd name="T16" fmla="*/ 32 w 87"/>
                <a:gd name="T17" fmla="*/ 17 h 32"/>
                <a:gd name="T18" fmla="*/ 31 w 87"/>
                <a:gd name="T19" fmla="*/ 20 h 32"/>
                <a:gd name="T20" fmla="*/ 27 w 87"/>
                <a:gd name="T21" fmla="*/ 20 h 32"/>
                <a:gd name="T22" fmla="*/ 25 w 87"/>
                <a:gd name="T23" fmla="*/ 19 h 32"/>
                <a:gd name="T24" fmla="*/ 20 w 87"/>
                <a:gd name="T25" fmla="*/ 24 h 32"/>
                <a:gd name="T26" fmla="*/ 20 w 87"/>
                <a:gd name="T27" fmla="*/ 27 h 32"/>
                <a:gd name="T28" fmla="*/ 20 w 87"/>
                <a:gd name="T29" fmla="*/ 30 h 32"/>
                <a:gd name="T30" fmla="*/ 17 w 87"/>
                <a:gd name="T31" fmla="*/ 32 h 32"/>
                <a:gd name="T32" fmla="*/ 4 w 87"/>
                <a:gd name="T33" fmla="*/ 32 h 32"/>
                <a:gd name="T34" fmla="*/ 0 w 87"/>
                <a:gd name="T35" fmla="*/ 28 h 32"/>
                <a:gd name="T36" fmla="*/ 4 w 87"/>
                <a:gd name="T37" fmla="*/ 25 h 32"/>
                <a:gd name="T38" fmla="*/ 13 w 87"/>
                <a:gd name="T39" fmla="*/ 25 h 32"/>
                <a:gd name="T40" fmla="*/ 13 w 87"/>
                <a:gd name="T41" fmla="*/ 24 h 32"/>
                <a:gd name="T42" fmla="*/ 25 w 87"/>
                <a:gd name="T43" fmla="*/ 12 h 32"/>
                <a:gd name="T44" fmla="*/ 26 w 87"/>
                <a:gd name="T45" fmla="*/ 13 h 32"/>
                <a:gd name="T46" fmla="*/ 44 w 87"/>
                <a:gd name="T47" fmla="*/ 0 h 32"/>
                <a:gd name="T48" fmla="*/ 61 w 87"/>
                <a:gd name="T49" fmla="*/ 13 h 32"/>
                <a:gd name="T50" fmla="*/ 70 w 87"/>
                <a:gd name="T51" fmla="*/ 25 h 32"/>
                <a:gd name="T52" fmla="*/ 83 w 87"/>
                <a:gd name="T53" fmla="*/ 25 h 32"/>
                <a:gd name="T54" fmla="*/ 87 w 87"/>
                <a:gd name="T55" fmla="*/ 28 h 32"/>
                <a:gd name="T56" fmla="*/ 83 w 87"/>
                <a:gd name="T5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7" h="32">
                  <a:moveTo>
                    <a:pt x="83" y="32"/>
                  </a:moveTo>
                  <a:cubicBezTo>
                    <a:pt x="66" y="32"/>
                    <a:pt x="66" y="32"/>
                    <a:pt x="66" y="32"/>
                  </a:cubicBezTo>
                  <a:cubicBezTo>
                    <a:pt x="65" y="32"/>
                    <a:pt x="64" y="31"/>
                    <a:pt x="64" y="31"/>
                  </a:cubicBezTo>
                  <a:cubicBezTo>
                    <a:pt x="63" y="30"/>
                    <a:pt x="63" y="29"/>
                    <a:pt x="63" y="28"/>
                  </a:cubicBezTo>
                  <a:cubicBezTo>
                    <a:pt x="63" y="27"/>
                    <a:pt x="63" y="27"/>
                    <a:pt x="63" y="26"/>
                  </a:cubicBezTo>
                  <a:cubicBezTo>
                    <a:pt x="63" y="23"/>
                    <a:pt x="61" y="20"/>
                    <a:pt x="57" y="19"/>
                  </a:cubicBezTo>
                  <a:cubicBezTo>
                    <a:pt x="56" y="19"/>
                    <a:pt x="55" y="18"/>
                    <a:pt x="55" y="16"/>
                  </a:cubicBezTo>
                  <a:cubicBezTo>
                    <a:pt x="54" y="11"/>
                    <a:pt x="49" y="7"/>
                    <a:pt x="44" y="7"/>
                  </a:cubicBezTo>
                  <a:cubicBezTo>
                    <a:pt x="38" y="7"/>
                    <a:pt x="33" y="11"/>
                    <a:pt x="32" y="17"/>
                  </a:cubicBezTo>
                  <a:cubicBezTo>
                    <a:pt x="32" y="18"/>
                    <a:pt x="32" y="19"/>
                    <a:pt x="31" y="20"/>
                  </a:cubicBezTo>
                  <a:cubicBezTo>
                    <a:pt x="29" y="21"/>
                    <a:pt x="28" y="21"/>
                    <a:pt x="27" y="20"/>
                  </a:cubicBezTo>
                  <a:cubicBezTo>
                    <a:pt x="26" y="19"/>
                    <a:pt x="26" y="19"/>
                    <a:pt x="25" y="19"/>
                  </a:cubicBezTo>
                  <a:cubicBezTo>
                    <a:pt x="22" y="19"/>
                    <a:pt x="20" y="21"/>
                    <a:pt x="20" y="24"/>
                  </a:cubicBezTo>
                  <a:cubicBezTo>
                    <a:pt x="20" y="25"/>
                    <a:pt x="20" y="26"/>
                    <a:pt x="20" y="27"/>
                  </a:cubicBezTo>
                  <a:cubicBezTo>
                    <a:pt x="21" y="28"/>
                    <a:pt x="21" y="29"/>
                    <a:pt x="20" y="30"/>
                  </a:cubicBezTo>
                  <a:cubicBezTo>
                    <a:pt x="20" y="31"/>
                    <a:pt x="19" y="32"/>
                    <a:pt x="17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0" y="30"/>
                    <a:pt x="0" y="28"/>
                  </a:cubicBezTo>
                  <a:cubicBezTo>
                    <a:pt x="0" y="27"/>
                    <a:pt x="2" y="25"/>
                    <a:pt x="4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4"/>
                    <a:pt x="13" y="24"/>
                  </a:cubicBezTo>
                  <a:cubicBezTo>
                    <a:pt x="13" y="18"/>
                    <a:pt x="18" y="12"/>
                    <a:pt x="25" y="12"/>
                  </a:cubicBezTo>
                  <a:cubicBezTo>
                    <a:pt x="25" y="12"/>
                    <a:pt x="26" y="12"/>
                    <a:pt x="26" y="13"/>
                  </a:cubicBezTo>
                  <a:cubicBezTo>
                    <a:pt x="29" y="5"/>
                    <a:pt x="35" y="0"/>
                    <a:pt x="44" y="0"/>
                  </a:cubicBezTo>
                  <a:cubicBezTo>
                    <a:pt x="52" y="0"/>
                    <a:pt x="59" y="5"/>
                    <a:pt x="61" y="13"/>
                  </a:cubicBezTo>
                  <a:cubicBezTo>
                    <a:pt x="66" y="15"/>
                    <a:pt x="69" y="20"/>
                    <a:pt x="70" y="25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5" y="25"/>
                    <a:pt x="87" y="27"/>
                    <a:pt x="87" y="28"/>
                  </a:cubicBezTo>
                  <a:cubicBezTo>
                    <a:pt x="87" y="30"/>
                    <a:pt x="85" y="32"/>
                    <a:pt x="83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6" name="Freeform 1071">
              <a:extLst>
                <a:ext uri="{FF2B5EF4-FFF2-40B4-BE49-F238E27FC236}">
                  <a16:creationId xmlns:a16="http://schemas.microsoft.com/office/drawing/2014/main" id="{6633D4BD-4CDF-47C8-89E6-42E7E25B31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5750" y="2177692"/>
              <a:ext cx="72081" cy="73346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7 h 40"/>
                <a:gd name="T12" fmla="*/ 6 w 40"/>
                <a:gd name="T13" fmla="*/ 20 h 40"/>
                <a:gd name="T14" fmla="*/ 20 w 40"/>
                <a:gd name="T15" fmla="*/ 33 h 40"/>
                <a:gd name="T16" fmla="*/ 33 w 40"/>
                <a:gd name="T17" fmla="*/ 20 h 40"/>
                <a:gd name="T18" fmla="*/ 20 w 40"/>
                <a:gd name="T19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7"/>
                  </a:moveTo>
                  <a:cubicBezTo>
                    <a:pt x="12" y="7"/>
                    <a:pt x="6" y="13"/>
                    <a:pt x="6" y="20"/>
                  </a:cubicBezTo>
                  <a:cubicBezTo>
                    <a:pt x="6" y="27"/>
                    <a:pt x="12" y="33"/>
                    <a:pt x="20" y="33"/>
                  </a:cubicBezTo>
                  <a:cubicBezTo>
                    <a:pt x="27" y="33"/>
                    <a:pt x="33" y="27"/>
                    <a:pt x="33" y="20"/>
                  </a:cubicBezTo>
                  <a:cubicBezTo>
                    <a:pt x="33" y="13"/>
                    <a:pt x="27" y="7"/>
                    <a:pt x="20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7" name="Freeform 1072">
              <a:extLst>
                <a:ext uri="{FF2B5EF4-FFF2-40B4-BE49-F238E27FC236}">
                  <a16:creationId xmlns:a16="http://schemas.microsoft.com/office/drawing/2014/main" id="{4DC8D456-0C9C-43EF-B81F-96938258D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809" y="2459695"/>
              <a:ext cx="16440" cy="13910"/>
            </a:xfrm>
            <a:custGeom>
              <a:avLst/>
              <a:gdLst>
                <a:gd name="T0" fmla="*/ 4 w 9"/>
                <a:gd name="T1" fmla="*/ 8 h 8"/>
                <a:gd name="T2" fmla="*/ 1 w 9"/>
                <a:gd name="T3" fmla="*/ 6 h 8"/>
                <a:gd name="T4" fmla="*/ 2 w 9"/>
                <a:gd name="T5" fmla="*/ 2 h 8"/>
                <a:gd name="T6" fmla="*/ 4 w 9"/>
                <a:gd name="T7" fmla="*/ 1 h 8"/>
                <a:gd name="T8" fmla="*/ 8 w 9"/>
                <a:gd name="T9" fmla="*/ 3 h 8"/>
                <a:gd name="T10" fmla="*/ 6 w 9"/>
                <a:gd name="T11" fmla="*/ 7 h 8"/>
                <a:gd name="T12" fmla="*/ 6 w 9"/>
                <a:gd name="T13" fmla="*/ 7 h 8"/>
                <a:gd name="T14" fmla="*/ 6 w 9"/>
                <a:gd name="T15" fmla="*/ 7 h 8"/>
                <a:gd name="T16" fmla="*/ 4 w 9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3" y="8"/>
                    <a:pt x="2" y="7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9" y="4"/>
                    <a:pt x="8" y="6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8"/>
                    <a:pt x="5" y="8"/>
                    <a:pt x="4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8" name="Freeform 1073">
              <a:extLst>
                <a:ext uri="{FF2B5EF4-FFF2-40B4-BE49-F238E27FC236}">
                  <a16:creationId xmlns:a16="http://schemas.microsoft.com/office/drawing/2014/main" id="{4366EC0E-E7BC-4B0F-B5DB-9B084D620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7248" y="2460959"/>
              <a:ext cx="20233" cy="25292"/>
            </a:xfrm>
            <a:custGeom>
              <a:avLst/>
              <a:gdLst>
                <a:gd name="T0" fmla="*/ 8 w 11"/>
                <a:gd name="T1" fmla="*/ 14 h 14"/>
                <a:gd name="T2" fmla="*/ 4 w 11"/>
                <a:gd name="T3" fmla="*/ 11 h 14"/>
                <a:gd name="T4" fmla="*/ 2 w 11"/>
                <a:gd name="T5" fmla="*/ 7 h 14"/>
                <a:gd name="T6" fmla="*/ 1 w 11"/>
                <a:gd name="T7" fmla="*/ 2 h 14"/>
                <a:gd name="T8" fmla="*/ 6 w 11"/>
                <a:gd name="T9" fmla="*/ 1 h 14"/>
                <a:gd name="T10" fmla="*/ 11 w 11"/>
                <a:gd name="T11" fmla="*/ 11 h 14"/>
                <a:gd name="T12" fmla="*/ 8 w 11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4">
                  <a:moveTo>
                    <a:pt x="8" y="14"/>
                  </a:moveTo>
                  <a:cubicBezTo>
                    <a:pt x="6" y="14"/>
                    <a:pt x="4" y="13"/>
                    <a:pt x="4" y="11"/>
                  </a:cubicBezTo>
                  <a:cubicBezTo>
                    <a:pt x="4" y="9"/>
                    <a:pt x="3" y="7"/>
                    <a:pt x="2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3"/>
                    <a:pt x="11" y="7"/>
                    <a:pt x="11" y="11"/>
                  </a:cubicBezTo>
                  <a:cubicBezTo>
                    <a:pt x="11" y="13"/>
                    <a:pt x="10" y="14"/>
                    <a:pt x="8" y="1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9" name="Freeform 1074">
              <a:extLst>
                <a:ext uri="{FF2B5EF4-FFF2-40B4-BE49-F238E27FC236}">
                  <a16:creationId xmlns:a16="http://schemas.microsoft.com/office/drawing/2014/main" id="{B97FBF52-CDC8-4C65-9999-240AE8720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0361" y="2452107"/>
              <a:ext cx="26556" cy="34144"/>
            </a:xfrm>
            <a:custGeom>
              <a:avLst/>
              <a:gdLst>
                <a:gd name="T0" fmla="*/ 4 w 15"/>
                <a:gd name="T1" fmla="*/ 19 h 19"/>
                <a:gd name="T2" fmla="*/ 0 w 15"/>
                <a:gd name="T3" fmla="*/ 16 h 19"/>
                <a:gd name="T4" fmla="*/ 9 w 15"/>
                <a:gd name="T5" fmla="*/ 1 h 19"/>
                <a:gd name="T6" fmla="*/ 14 w 15"/>
                <a:gd name="T7" fmla="*/ 3 h 19"/>
                <a:gd name="T8" fmla="*/ 12 w 15"/>
                <a:gd name="T9" fmla="*/ 7 h 19"/>
                <a:gd name="T10" fmla="*/ 7 w 15"/>
                <a:gd name="T11" fmla="*/ 16 h 19"/>
                <a:gd name="T12" fmla="*/ 4 w 15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9">
                  <a:moveTo>
                    <a:pt x="4" y="19"/>
                  </a:moveTo>
                  <a:cubicBezTo>
                    <a:pt x="2" y="19"/>
                    <a:pt x="0" y="18"/>
                    <a:pt x="0" y="16"/>
                  </a:cubicBezTo>
                  <a:cubicBezTo>
                    <a:pt x="0" y="10"/>
                    <a:pt x="4" y="4"/>
                    <a:pt x="9" y="1"/>
                  </a:cubicBezTo>
                  <a:cubicBezTo>
                    <a:pt x="11" y="0"/>
                    <a:pt x="13" y="1"/>
                    <a:pt x="14" y="3"/>
                  </a:cubicBezTo>
                  <a:cubicBezTo>
                    <a:pt x="15" y="5"/>
                    <a:pt x="14" y="7"/>
                    <a:pt x="12" y="7"/>
                  </a:cubicBezTo>
                  <a:cubicBezTo>
                    <a:pt x="9" y="9"/>
                    <a:pt x="7" y="12"/>
                    <a:pt x="7" y="16"/>
                  </a:cubicBezTo>
                  <a:cubicBezTo>
                    <a:pt x="7" y="18"/>
                    <a:pt x="6" y="19"/>
                    <a:pt x="4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0" name="Freeform 1075">
              <a:extLst>
                <a:ext uri="{FF2B5EF4-FFF2-40B4-BE49-F238E27FC236}">
                  <a16:creationId xmlns:a16="http://schemas.microsoft.com/office/drawing/2014/main" id="{5A2D4B34-3332-4B78-BC7F-8A2DABE1F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0109" y="2397730"/>
              <a:ext cx="104961" cy="29085"/>
            </a:xfrm>
            <a:custGeom>
              <a:avLst/>
              <a:gdLst>
                <a:gd name="T0" fmla="*/ 17 w 58"/>
                <a:gd name="T1" fmla="*/ 16 h 16"/>
                <a:gd name="T2" fmla="*/ 15 w 58"/>
                <a:gd name="T3" fmla="*/ 15 h 16"/>
                <a:gd name="T4" fmla="*/ 2 w 58"/>
                <a:gd name="T5" fmla="*/ 7 h 16"/>
                <a:gd name="T6" fmla="*/ 1 w 58"/>
                <a:gd name="T7" fmla="*/ 3 h 16"/>
                <a:gd name="T8" fmla="*/ 6 w 58"/>
                <a:gd name="T9" fmla="*/ 1 h 16"/>
                <a:gd name="T10" fmla="*/ 17 w 58"/>
                <a:gd name="T11" fmla="*/ 8 h 16"/>
                <a:gd name="T12" fmla="*/ 28 w 58"/>
                <a:gd name="T13" fmla="*/ 1 h 16"/>
                <a:gd name="T14" fmla="*/ 31 w 58"/>
                <a:gd name="T15" fmla="*/ 1 h 16"/>
                <a:gd name="T16" fmla="*/ 42 w 58"/>
                <a:gd name="T17" fmla="*/ 4 h 16"/>
                <a:gd name="T18" fmla="*/ 54 w 58"/>
                <a:gd name="T19" fmla="*/ 1 h 16"/>
                <a:gd name="T20" fmla="*/ 58 w 58"/>
                <a:gd name="T21" fmla="*/ 4 h 16"/>
                <a:gd name="T22" fmla="*/ 56 w 58"/>
                <a:gd name="T23" fmla="*/ 7 h 16"/>
                <a:gd name="T24" fmla="*/ 43 w 58"/>
                <a:gd name="T25" fmla="*/ 11 h 16"/>
                <a:gd name="T26" fmla="*/ 41 w 58"/>
                <a:gd name="T27" fmla="*/ 11 h 16"/>
                <a:gd name="T28" fmla="*/ 30 w 58"/>
                <a:gd name="T29" fmla="*/ 8 h 16"/>
                <a:gd name="T30" fmla="*/ 19 w 58"/>
                <a:gd name="T31" fmla="*/ 15 h 16"/>
                <a:gd name="T32" fmla="*/ 17 w 58"/>
                <a:gd name="T3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16">
                  <a:moveTo>
                    <a:pt x="17" y="16"/>
                  </a:moveTo>
                  <a:cubicBezTo>
                    <a:pt x="17" y="16"/>
                    <a:pt x="16" y="15"/>
                    <a:pt x="15" y="15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1"/>
                    <a:pt x="6" y="1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0"/>
                    <a:pt x="30" y="0"/>
                    <a:pt x="31" y="1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6" y="0"/>
                    <a:pt x="58" y="2"/>
                    <a:pt x="58" y="4"/>
                  </a:cubicBezTo>
                  <a:cubicBezTo>
                    <a:pt x="58" y="5"/>
                    <a:pt x="57" y="7"/>
                    <a:pt x="56" y="7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2" y="11"/>
                    <a:pt x="41" y="11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8" y="16"/>
                    <a:pt x="17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1" name="Freeform 1076">
              <a:extLst>
                <a:ext uri="{FF2B5EF4-FFF2-40B4-BE49-F238E27FC236}">
                  <a16:creationId xmlns:a16="http://schemas.microsoft.com/office/drawing/2014/main" id="{0E1CA6B8-DB5F-4041-860F-D18D5DA5E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6217" y="2306680"/>
              <a:ext cx="206127" cy="65758"/>
            </a:xfrm>
            <a:custGeom>
              <a:avLst/>
              <a:gdLst>
                <a:gd name="T0" fmla="*/ 77 w 114"/>
                <a:gd name="T1" fmla="*/ 36 h 36"/>
                <a:gd name="T2" fmla="*/ 77 w 114"/>
                <a:gd name="T3" fmla="*/ 36 h 36"/>
                <a:gd name="T4" fmla="*/ 75 w 114"/>
                <a:gd name="T5" fmla="*/ 35 h 36"/>
                <a:gd name="T6" fmla="*/ 55 w 114"/>
                <a:gd name="T7" fmla="*/ 12 h 36"/>
                <a:gd name="T8" fmla="*/ 45 w 114"/>
                <a:gd name="T9" fmla="*/ 15 h 36"/>
                <a:gd name="T10" fmla="*/ 42 w 114"/>
                <a:gd name="T11" fmla="*/ 15 h 36"/>
                <a:gd name="T12" fmla="*/ 31 w 114"/>
                <a:gd name="T13" fmla="*/ 8 h 36"/>
                <a:gd name="T14" fmla="*/ 6 w 114"/>
                <a:gd name="T15" fmla="*/ 23 h 36"/>
                <a:gd name="T16" fmla="*/ 1 w 114"/>
                <a:gd name="T17" fmla="*/ 22 h 36"/>
                <a:gd name="T18" fmla="*/ 2 w 114"/>
                <a:gd name="T19" fmla="*/ 17 h 36"/>
                <a:gd name="T20" fmla="*/ 29 w 114"/>
                <a:gd name="T21" fmla="*/ 1 h 36"/>
                <a:gd name="T22" fmla="*/ 33 w 114"/>
                <a:gd name="T23" fmla="*/ 1 h 36"/>
                <a:gd name="T24" fmla="*/ 44 w 114"/>
                <a:gd name="T25" fmla="*/ 8 h 36"/>
                <a:gd name="T26" fmla="*/ 55 w 114"/>
                <a:gd name="T27" fmla="*/ 4 h 36"/>
                <a:gd name="T28" fmla="*/ 59 w 114"/>
                <a:gd name="T29" fmla="*/ 6 h 36"/>
                <a:gd name="T30" fmla="*/ 78 w 114"/>
                <a:gd name="T31" fmla="*/ 28 h 36"/>
                <a:gd name="T32" fmla="*/ 87 w 114"/>
                <a:gd name="T33" fmla="*/ 18 h 36"/>
                <a:gd name="T34" fmla="*/ 91 w 114"/>
                <a:gd name="T35" fmla="*/ 17 h 36"/>
                <a:gd name="T36" fmla="*/ 111 w 114"/>
                <a:gd name="T37" fmla="*/ 21 h 36"/>
                <a:gd name="T38" fmla="*/ 113 w 114"/>
                <a:gd name="T39" fmla="*/ 25 h 36"/>
                <a:gd name="T40" fmla="*/ 109 w 114"/>
                <a:gd name="T41" fmla="*/ 28 h 36"/>
                <a:gd name="T42" fmla="*/ 91 w 114"/>
                <a:gd name="T43" fmla="*/ 24 h 36"/>
                <a:gd name="T44" fmla="*/ 80 w 114"/>
                <a:gd name="T45" fmla="*/ 35 h 36"/>
                <a:gd name="T46" fmla="*/ 77 w 114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4" h="36">
                  <a:moveTo>
                    <a:pt x="77" y="36"/>
                  </a:moveTo>
                  <a:cubicBezTo>
                    <a:pt x="77" y="36"/>
                    <a:pt x="77" y="36"/>
                    <a:pt x="77" y="36"/>
                  </a:cubicBezTo>
                  <a:cubicBezTo>
                    <a:pt x="76" y="36"/>
                    <a:pt x="75" y="36"/>
                    <a:pt x="75" y="35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5"/>
                    <a:pt x="43" y="15"/>
                    <a:pt x="42" y="1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4" y="24"/>
                    <a:pt x="2" y="23"/>
                    <a:pt x="1" y="22"/>
                  </a:cubicBezTo>
                  <a:cubicBezTo>
                    <a:pt x="0" y="20"/>
                    <a:pt x="0" y="18"/>
                    <a:pt x="2" y="17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2" y="0"/>
                    <a:pt x="33" y="1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7" y="4"/>
                    <a:pt x="58" y="4"/>
                    <a:pt x="59" y="6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8" y="17"/>
                    <a:pt x="89" y="17"/>
                    <a:pt x="91" y="17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2" y="21"/>
                    <a:pt x="114" y="23"/>
                    <a:pt x="113" y="25"/>
                  </a:cubicBezTo>
                  <a:cubicBezTo>
                    <a:pt x="113" y="27"/>
                    <a:pt x="111" y="28"/>
                    <a:pt x="109" y="28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79" y="36"/>
                    <a:pt x="78" y="36"/>
                    <a:pt x="77" y="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2" name="Freeform 1077">
              <a:extLst>
                <a:ext uri="{FF2B5EF4-FFF2-40B4-BE49-F238E27FC236}">
                  <a16:creationId xmlns:a16="http://schemas.microsoft.com/office/drawing/2014/main" id="{A5E94C6E-5555-4A33-A93C-036C98AA44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85848" y="2428080"/>
              <a:ext cx="354084" cy="96109"/>
            </a:xfrm>
            <a:custGeom>
              <a:avLst/>
              <a:gdLst>
                <a:gd name="T0" fmla="*/ 192 w 195"/>
                <a:gd name="T1" fmla="*/ 53 h 53"/>
                <a:gd name="T2" fmla="*/ 0 w 195"/>
                <a:gd name="T3" fmla="*/ 50 h 53"/>
                <a:gd name="T4" fmla="*/ 29 w 195"/>
                <a:gd name="T5" fmla="*/ 26 h 53"/>
                <a:gd name="T6" fmla="*/ 57 w 195"/>
                <a:gd name="T7" fmla="*/ 21 h 53"/>
                <a:gd name="T8" fmla="*/ 60 w 195"/>
                <a:gd name="T9" fmla="*/ 19 h 53"/>
                <a:gd name="T10" fmla="*/ 62 w 195"/>
                <a:gd name="T11" fmla="*/ 18 h 53"/>
                <a:gd name="T12" fmla="*/ 64 w 195"/>
                <a:gd name="T13" fmla="*/ 17 h 53"/>
                <a:gd name="T14" fmla="*/ 89 w 195"/>
                <a:gd name="T15" fmla="*/ 0 h 53"/>
                <a:gd name="T16" fmla="*/ 110 w 195"/>
                <a:gd name="T17" fmla="*/ 13 h 53"/>
                <a:gd name="T18" fmla="*/ 112 w 195"/>
                <a:gd name="T19" fmla="*/ 13 h 53"/>
                <a:gd name="T20" fmla="*/ 144 w 195"/>
                <a:gd name="T21" fmla="*/ 9 h 53"/>
                <a:gd name="T22" fmla="*/ 171 w 195"/>
                <a:gd name="T23" fmla="*/ 29 h 53"/>
                <a:gd name="T24" fmla="*/ 195 w 195"/>
                <a:gd name="T25" fmla="*/ 48 h 53"/>
                <a:gd name="T26" fmla="*/ 192 w 195"/>
                <a:gd name="T27" fmla="*/ 53 h 53"/>
                <a:gd name="T28" fmla="*/ 186 w 195"/>
                <a:gd name="T29" fmla="*/ 46 h 53"/>
                <a:gd name="T30" fmla="*/ 177 w 195"/>
                <a:gd name="T31" fmla="*/ 44 h 53"/>
                <a:gd name="T32" fmla="*/ 171 w 195"/>
                <a:gd name="T33" fmla="*/ 36 h 53"/>
                <a:gd name="T34" fmla="*/ 165 w 195"/>
                <a:gd name="T35" fmla="*/ 37 h 53"/>
                <a:gd name="T36" fmla="*/ 144 w 195"/>
                <a:gd name="T37" fmla="*/ 15 h 53"/>
                <a:gd name="T38" fmla="*/ 124 w 195"/>
                <a:gd name="T39" fmla="*/ 27 h 53"/>
                <a:gd name="T40" fmla="*/ 112 w 195"/>
                <a:gd name="T41" fmla="*/ 20 h 53"/>
                <a:gd name="T42" fmla="*/ 110 w 195"/>
                <a:gd name="T43" fmla="*/ 20 h 53"/>
                <a:gd name="T44" fmla="*/ 109 w 195"/>
                <a:gd name="T45" fmla="*/ 20 h 53"/>
                <a:gd name="T46" fmla="*/ 104 w 195"/>
                <a:gd name="T47" fmla="*/ 18 h 53"/>
                <a:gd name="T48" fmla="*/ 89 w 195"/>
                <a:gd name="T49" fmla="*/ 7 h 53"/>
                <a:gd name="T50" fmla="*/ 72 w 195"/>
                <a:gd name="T51" fmla="*/ 25 h 53"/>
                <a:gd name="T52" fmla="*/ 68 w 195"/>
                <a:gd name="T53" fmla="*/ 24 h 53"/>
                <a:gd name="T54" fmla="*/ 65 w 195"/>
                <a:gd name="T55" fmla="*/ 24 h 53"/>
                <a:gd name="T56" fmla="*/ 64 w 195"/>
                <a:gd name="T57" fmla="*/ 25 h 53"/>
                <a:gd name="T58" fmla="*/ 62 w 195"/>
                <a:gd name="T59" fmla="*/ 26 h 53"/>
                <a:gd name="T60" fmla="*/ 62 w 195"/>
                <a:gd name="T61" fmla="*/ 27 h 53"/>
                <a:gd name="T62" fmla="*/ 56 w 195"/>
                <a:gd name="T63" fmla="*/ 29 h 53"/>
                <a:gd name="T64" fmla="*/ 33 w 195"/>
                <a:gd name="T65" fmla="*/ 31 h 53"/>
                <a:gd name="T66" fmla="*/ 24 w 195"/>
                <a:gd name="T67" fmla="*/ 3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5" h="53">
                  <a:moveTo>
                    <a:pt x="192" y="53"/>
                  </a:moveTo>
                  <a:cubicBezTo>
                    <a:pt x="192" y="53"/>
                    <a:pt x="192" y="53"/>
                    <a:pt x="192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2" y="53"/>
                    <a:pt x="0" y="52"/>
                    <a:pt x="0" y="50"/>
                  </a:cubicBezTo>
                  <a:cubicBezTo>
                    <a:pt x="0" y="36"/>
                    <a:pt x="11" y="25"/>
                    <a:pt x="24" y="25"/>
                  </a:cubicBezTo>
                  <a:cubicBezTo>
                    <a:pt x="26" y="25"/>
                    <a:pt x="27" y="25"/>
                    <a:pt x="29" y="26"/>
                  </a:cubicBezTo>
                  <a:cubicBezTo>
                    <a:pt x="33" y="20"/>
                    <a:pt x="39" y="17"/>
                    <a:pt x="45" y="17"/>
                  </a:cubicBezTo>
                  <a:cubicBezTo>
                    <a:pt x="50" y="17"/>
                    <a:pt x="54" y="18"/>
                    <a:pt x="57" y="21"/>
                  </a:cubicBezTo>
                  <a:cubicBezTo>
                    <a:pt x="58" y="20"/>
                    <a:pt x="58" y="20"/>
                    <a:pt x="59" y="19"/>
                  </a:cubicBezTo>
                  <a:cubicBezTo>
                    <a:pt x="59" y="19"/>
                    <a:pt x="60" y="19"/>
                    <a:pt x="60" y="19"/>
                  </a:cubicBezTo>
                  <a:cubicBezTo>
                    <a:pt x="61" y="18"/>
                    <a:pt x="61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3" y="17"/>
                    <a:pt x="64" y="17"/>
                    <a:pt x="64" y="17"/>
                  </a:cubicBezTo>
                  <a:cubicBezTo>
                    <a:pt x="65" y="17"/>
                    <a:pt x="66" y="17"/>
                    <a:pt x="68" y="17"/>
                  </a:cubicBezTo>
                  <a:cubicBezTo>
                    <a:pt x="70" y="7"/>
                    <a:pt x="7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8" y="0"/>
                    <a:pt x="106" y="5"/>
                    <a:pt x="110" y="13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1" y="13"/>
                    <a:pt x="112" y="13"/>
                    <a:pt x="112" y="13"/>
                  </a:cubicBezTo>
                  <a:cubicBezTo>
                    <a:pt x="117" y="13"/>
                    <a:pt x="121" y="15"/>
                    <a:pt x="124" y="18"/>
                  </a:cubicBezTo>
                  <a:cubicBezTo>
                    <a:pt x="129" y="12"/>
                    <a:pt x="136" y="9"/>
                    <a:pt x="144" y="9"/>
                  </a:cubicBezTo>
                  <a:cubicBezTo>
                    <a:pt x="157" y="9"/>
                    <a:pt x="167" y="17"/>
                    <a:pt x="170" y="30"/>
                  </a:cubicBezTo>
                  <a:cubicBezTo>
                    <a:pt x="170" y="29"/>
                    <a:pt x="171" y="29"/>
                    <a:pt x="171" y="29"/>
                  </a:cubicBezTo>
                  <a:cubicBezTo>
                    <a:pt x="176" y="29"/>
                    <a:pt x="181" y="33"/>
                    <a:pt x="182" y="38"/>
                  </a:cubicBezTo>
                  <a:cubicBezTo>
                    <a:pt x="188" y="38"/>
                    <a:pt x="193" y="42"/>
                    <a:pt x="195" y="48"/>
                  </a:cubicBezTo>
                  <a:cubicBezTo>
                    <a:pt x="195" y="49"/>
                    <a:pt x="195" y="49"/>
                    <a:pt x="195" y="50"/>
                  </a:cubicBezTo>
                  <a:cubicBezTo>
                    <a:pt x="195" y="52"/>
                    <a:pt x="194" y="53"/>
                    <a:pt x="192" y="53"/>
                  </a:cubicBezTo>
                  <a:close/>
                  <a:moveTo>
                    <a:pt x="7" y="46"/>
                  </a:moveTo>
                  <a:cubicBezTo>
                    <a:pt x="186" y="46"/>
                    <a:pt x="186" y="46"/>
                    <a:pt x="186" y="46"/>
                  </a:cubicBezTo>
                  <a:cubicBezTo>
                    <a:pt x="184" y="45"/>
                    <a:pt x="182" y="44"/>
                    <a:pt x="180" y="45"/>
                  </a:cubicBezTo>
                  <a:cubicBezTo>
                    <a:pt x="179" y="45"/>
                    <a:pt x="178" y="45"/>
                    <a:pt x="177" y="44"/>
                  </a:cubicBezTo>
                  <a:cubicBezTo>
                    <a:pt x="177" y="43"/>
                    <a:pt x="176" y="43"/>
                    <a:pt x="176" y="41"/>
                  </a:cubicBezTo>
                  <a:cubicBezTo>
                    <a:pt x="176" y="39"/>
                    <a:pt x="174" y="36"/>
                    <a:pt x="171" y="36"/>
                  </a:cubicBezTo>
                  <a:cubicBezTo>
                    <a:pt x="170" y="36"/>
                    <a:pt x="169" y="37"/>
                    <a:pt x="169" y="37"/>
                  </a:cubicBezTo>
                  <a:cubicBezTo>
                    <a:pt x="168" y="38"/>
                    <a:pt x="166" y="38"/>
                    <a:pt x="165" y="37"/>
                  </a:cubicBezTo>
                  <a:cubicBezTo>
                    <a:pt x="164" y="37"/>
                    <a:pt x="164" y="35"/>
                    <a:pt x="163" y="34"/>
                  </a:cubicBezTo>
                  <a:cubicBezTo>
                    <a:pt x="163" y="24"/>
                    <a:pt x="154" y="15"/>
                    <a:pt x="144" y="15"/>
                  </a:cubicBezTo>
                  <a:cubicBezTo>
                    <a:pt x="137" y="15"/>
                    <a:pt x="130" y="19"/>
                    <a:pt x="127" y="25"/>
                  </a:cubicBezTo>
                  <a:cubicBezTo>
                    <a:pt x="126" y="26"/>
                    <a:pt x="125" y="27"/>
                    <a:pt x="124" y="27"/>
                  </a:cubicBezTo>
                  <a:cubicBezTo>
                    <a:pt x="122" y="27"/>
                    <a:pt x="121" y="26"/>
                    <a:pt x="121" y="25"/>
                  </a:cubicBezTo>
                  <a:cubicBezTo>
                    <a:pt x="119" y="22"/>
                    <a:pt x="116" y="20"/>
                    <a:pt x="112" y="20"/>
                  </a:cubicBezTo>
                  <a:cubicBezTo>
                    <a:pt x="112" y="20"/>
                    <a:pt x="112" y="20"/>
                    <a:pt x="111" y="20"/>
                  </a:cubicBezTo>
                  <a:cubicBezTo>
                    <a:pt x="111" y="20"/>
                    <a:pt x="111" y="20"/>
                    <a:pt x="110" y="20"/>
                  </a:cubicBezTo>
                  <a:cubicBezTo>
                    <a:pt x="110" y="20"/>
                    <a:pt x="110" y="20"/>
                    <a:pt x="110" y="20"/>
                  </a:cubicBezTo>
                  <a:cubicBezTo>
                    <a:pt x="110" y="20"/>
                    <a:pt x="110" y="20"/>
                    <a:pt x="109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07" y="21"/>
                    <a:pt x="105" y="20"/>
                    <a:pt x="104" y="18"/>
                  </a:cubicBezTo>
                  <a:cubicBezTo>
                    <a:pt x="102" y="12"/>
                    <a:pt x="96" y="7"/>
                    <a:pt x="89" y="7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81" y="7"/>
                    <a:pt x="74" y="14"/>
                    <a:pt x="74" y="22"/>
                  </a:cubicBezTo>
                  <a:cubicBezTo>
                    <a:pt x="74" y="23"/>
                    <a:pt x="73" y="24"/>
                    <a:pt x="72" y="25"/>
                  </a:cubicBezTo>
                  <a:cubicBezTo>
                    <a:pt x="71" y="25"/>
                    <a:pt x="70" y="25"/>
                    <a:pt x="69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7" y="24"/>
                    <a:pt x="66" y="24"/>
                    <a:pt x="66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ubicBezTo>
                    <a:pt x="63" y="25"/>
                    <a:pt x="63" y="25"/>
                    <a:pt x="62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1" y="29"/>
                    <a:pt x="60" y="29"/>
                    <a:pt x="59" y="30"/>
                  </a:cubicBezTo>
                  <a:cubicBezTo>
                    <a:pt x="58" y="30"/>
                    <a:pt x="56" y="30"/>
                    <a:pt x="56" y="29"/>
                  </a:cubicBezTo>
                  <a:cubicBezTo>
                    <a:pt x="53" y="26"/>
                    <a:pt x="49" y="24"/>
                    <a:pt x="45" y="24"/>
                  </a:cubicBezTo>
                  <a:cubicBezTo>
                    <a:pt x="40" y="24"/>
                    <a:pt x="36" y="27"/>
                    <a:pt x="33" y="31"/>
                  </a:cubicBezTo>
                  <a:cubicBezTo>
                    <a:pt x="33" y="33"/>
                    <a:pt x="31" y="33"/>
                    <a:pt x="29" y="33"/>
                  </a:cubicBezTo>
                  <a:cubicBezTo>
                    <a:pt x="28" y="32"/>
                    <a:pt x="26" y="32"/>
                    <a:pt x="24" y="32"/>
                  </a:cubicBezTo>
                  <a:cubicBezTo>
                    <a:pt x="16" y="32"/>
                    <a:pt x="9" y="38"/>
                    <a:pt x="7" y="4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1" name="Agrupar 1710">
            <a:extLst>
              <a:ext uri="{FF2B5EF4-FFF2-40B4-BE49-F238E27FC236}">
                <a16:creationId xmlns:a16="http://schemas.microsoft.com/office/drawing/2014/main" id="{817A003A-444D-45A8-89C8-8AA2412E445D}"/>
              </a:ext>
            </a:extLst>
          </p:cNvPr>
          <p:cNvGrpSpPr/>
          <p:nvPr/>
        </p:nvGrpSpPr>
        <p:grpSpPr>
          <a:xfrm>
            <a:off x="8700058" y="2116992"/>
            <a:ext cx="347760" cy="469161"/>
            <a:chOff x="9381670" y="2116992"/>
            <a:chExt cx="347760" cy="469161"/>
          </a:xfrm>
        </p:grpSpPr>
        <p:sp>
          <p:nvSpPr>
            <p:cNvPr id="1283" name="Freeform 1078">
              <a:extLst>
                <a:ext uri="{FF2B5EF4-FFF2-40B4-BE49-F238E27FC236}">
                  <a16:creationId xmlns:a16="http://schemas.microsoft.com/office/drawing/2014/main" id="{39366EE2-7689-410D-A748-054702F666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73984" y="2177692"/>
              <a:ext cx="255446" cy="408461"/>
            </a:xfrm>
            <a:custGeom>
              <a:avLst/>
              <a:gdLst>
                <a:gd name="T0" fmla="*/ 125 w 141"/>
                <a:gd name="T1" fmla="*/ 225 h 225"/>
                <a:gd name="T2" fmla="*/ 16 w 141"/>
                <a:gd name="T3" fmla="*/ 225 h 225"/>
                <a:gd name="T4" fmla="*/ 0 w 141"/>
                <a:gd name="T5" fmla="*/ 209 h 225"/>
                <a:gd name="T6" fmla="*/ 0 w 141"/>
                <a:gd name="T7" fmla="*/ 83 h 225"/>
                <a:gd name="T8" fmla="*/ 5 w 141"/>
                <a:gd name="T9" fmla="*/ 71 h 225"/>
                <a:gd name="T10" fmla="*/ 6 w 141"/>
                <a:gd name="T11" fmla="*/ 70 h 225"/>
                <a:gd name="T12" fmla="*/ 5 w 141"/>
                <a:gd name="T13" fmla="*/ 70 h 225"/>
                <a:gd name="T14" fmla="*/ 0 w 141"/>
                <a:gd name="T15" fmla="*/ 58 h 225"/>
                <a:gd name="T16" fmla="*/ 0 w 141"/>
                <a:gd name="T17" fmla="*/ 16 h 225"/>
                <a:gd name="T18" fmla="*/ 5 w 141"/>
                <a:gd name="T19" fmla="*/ 4 h 225"/>
                <a:gd name="T20" fmla="*/ 16 w 141"/>
                <a:gd name="T21" fmla="*/ 0 h 225"/>
                <a:gd name="T22" fmla="*/ 125 w 141"/>
                <a:gd name="T23" fmla="*/ 0 h 225"/>
                <a:gd name="T24" fmla="*/ 141 w 141"/>
                <a:gd name="T25" fmla="*/ 16 h 225"/>
                <a:gd name="T26" fmla="*/ 141 w 141"/>
                <a:gd name="T27" fmla="*/ 58 h 225"/>
                <a:gd name="T28" fmla="*/ 134 w 141"/>
                <a:gd name="T29" fmla="*/ 70 h 225"/>
                <a:gd name="T30" fmla="*/ 141 w 141"/>
                <a:gd name="T31" fmla="*/ 83 h 225"/>
                <a:gd name="T32" fmla="*/ 141 w 141"/>
                <a:gd name="T33" fmla="*/ 209 h 225"/>
                <a:gd name="T34" fmla="*/ 125 w 141"/>
                <a:gd name="T35" fmla="*/ 225 h 225"/>
                <a:gd name="T36" fmla="*/ 19 w 141"/>
                <a:gd name="T37" fmla="*/ 70 h 225"/>
                <a:gd name="T38" fmla="*/ 16 w 141"/>
                <a:gd name="T39" fmla="*/ 74 h 225"/>
                <a:gd name="T40" fmla="*/ 10 w 141"/>
                <a:gd name="T41" fmla="*/ 76 h 225"/>
                <a:gd name="T42" fmla="*/ 6 w 141"/>
                <a:gd name="T43" fmla="*/ 83 h 225"/>
                <a:gd name="T44" fmla="*/ 6 w 141"/>
                <a:gd name="T45" fmla="*/ 209 h 225"/>
                <a:gd name="T46" fmla="*/ 16 w 141"/>
                <a:gd name="T47" fmla="*/ 218 h 225"/>
                <a:gd name="T48" fmla="*/ 125 w 141"/>
                <a:gd name="T49" fmla="*/ 218 h 225"/>
                <a:gd name="T50" fmla="*/ 134 w 141"/>
                <a:gd name="T51" fmla="*/ 209 h 225"/>
                <a:gd name="T52" fmla="*/ 134 w 141"/>
                <a:gd name="T53" fmla="*/ 83 h 225"/>
                <a:gd name="T54" fmla="*/ 125 w 141"/>
                <a:gd name="T55" fmla="*/ 74 h 225"/>
                <a:gd name="T56" fmla="*/ 121 w 141"/>
                <a:gd name="T57" fmla="*/ 70 h 225"/>
                <a:gd name="T58" fmla="*/ 125 w 141"/>
                <a:gd name="T59" fmla="*/ 67 h 225"/>
                <a:gd name="T60" fmla="*/ 134 w 141"/>
                <a:gd name="T61" fmla="*/ 58 h 225"/>
                <a:gd name="T62" fmla="*/ 134 w 141"/>
                <a:gd name="T63" fmla="*/ 16 h 225"/>
                <a:gd name="T64" fmla="*/ 125 w 141"/>
                <a:gd name="T65" fmla="*/ 7 h 225"/>
                <a:gd name="T66" fmla="*/ 16 w 141"/>
                <a:gd name="T67" fmla="*/ 7 h 225"/>
                <a:gd name="T68" fmla="*/ 10 w 141"/>
                <a:gd name="T69" fmla="*/ 9 h 225"/>
                <a:gd name="T70" fmla="*/ 6 w 141"/>
                <a:gd name="T71" fmla="*/ 16 h 225"/>
                <a:gd name="T72" fmla="*/ 6 w 141"/>
                <a:gd name="T73" fmla="*/ 58 h 225"/>
                <a:gd name="T74" fmla="*/ 9 w 141"/>
                <a:gd name="T75" fmla="*/ 65 h 225"/>
                <a:gd name="T76" fmla="*/ 16 w 141"/>
                <a:gd name="T77" fmla="*/ 67 h 225"/>
                <a:gd name="T78" fmla="*/ 19 w 141"/>
                <a:gd name="T79" fmla="*/ 7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1" h="225">
                  <a:moveTo>
                    <a:pt x="125" y="225"/>
                  </a:moveTo>
                  <a:cubicBezTo>
                    <a:pt x="16" y="225"/>
                    <a:pt x="16" y="225"/>
                    <a:pt x="16" y="225"/>
                  </a:cubicBezTo>
                  <a:cubicBezTo>
                    <a:pt x="7" y="225"/>
                    <a:pt x="0" y="217"/>
                    <a:pt x="0" y="209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78"/>
                    <a:pt x="2" y="74"/>
                    <a:pt x="5" y="71"/>
                  </a:cubicBezTo>
                  <a:cubicBezTo>
                    <a:pt x="5" y="71"/>
                    <a:pt x="5" y="71"/>
                    <a:pt x="6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2" y="67"/>
                    <a:pt x="0" y="62"/>
                    <a:pt x="0" y="5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3" y="0"/>
                    <a:pt x="141" y="7"/>
                    <a:pt x="141" y="16"/>
                  </a:cubicBezTo>
                  <a:cubicBezTo>
                    <a:pt x="141" y="58"/>
                    <a:pt x="141" y="58"/>
                    <a:pt x="141" y="58"/>
                  </a:cubicBezTo>
                  <a:cubicBezTo>
                    <a:pt x="141" y="63"/>
                    <a:pt x="138" y="67"/>
                    <a:pt x="134" y="70"/>
                  </a:cubicBezTo>
                  <a:cubicBezTo>
                    <a:pt x="138" y="73"/>
                    <a:pt x="141" y="78"/>
                    <a:pt x="141" y="83"/>
                  </a:cubicBezTo>
                  <a:cubicBezTo>
                    <a:pt x="141" y="209"/>
                    <a:pt x="141" y="209"/>
                    <a:pt x="141" y="209"/>
                  </a:cubicBezTo>
                  <a:cubicBezTo>
                    <a:pt x="141" y="217"/>
                    <a:pt x="133" y="225"/>
                    <a:pt x="125" y="225"/>
                  </a:cubicBezTo>
                  <a:close/>
                  <a:moveTo>
                    <a:pt x="19" y="70"/>
                  </a:moveTo>
                  <a:cubicBezTo>
                    <a:pt x="19" y="72"/>
                    <a:pt x="17" y="74"/>
                    <a:pt x="16" y="74"/>
                  </a:cubicBezTo>
                  <a:cubicBezTo>
                    <a:pt x="13" y="74"/>
                    <a:pt x="11" y="75"/>
                    <a:pt x="10" y="76"/>
                  </a:cubicBezTo>
                  <a:cubicBezTo>
                    <a:pt x="8" y="78"/>
                    <a:pt x="6" y="80"/>
                    <a:pt x="6" y="83"/>
                  </a:cubicBezTo>
                  <a:cubicBezTo>
                    <a:pt x="6" y="209"/>
                    <a:pt x="6" y="209"/>
                    <a:pt x="6" y="209"/>
                  </a:cubicBezTo>
                  <a:cubicBezTo>
                    <a:pt x="6" y="214"/>
                    <a:pt x="11" y="218"/>
                    <a:pt x="16" y="218"/>
                  </a:cubicBezTo>
                  <a:cubicBezTo>
                    <a:pt x="125" y="218"/>
                    <a:pt x="125" y="218"/>
                    <a:pt x="125" y="218"/>
                  </a:cubicBezTo>
                  <a:cubicBezTo>
                    <a:pt x="130" y="218"/>
                    <a:pt x="134" y="214"/>
                    <a:pt x="134" y="209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78"/>
                    <a:pt x="130" y="74"/>
                    <a:pt x="125" y="74"/>
                  </a:cubicBezTo>
                  <a:cubicBezTo>
                    <a:pt x="123" y="74"/>
                    <a:pt x="121" y="72"/>
                    <a:pt x="121" y="70"/>
                  </a:cubicBezTo>
                  <a:cubicBezTo>
                    <a:pt x="121" y="68"/>
                    <a:pt x="123" y="67"/>
                    <a:pt x="125" y="67"/>
                  </a:cubicBezTo>
                  <a:cubicBezTo>
                    <a:pt x="130" y="67"/>
                    <a:pt x="134" y="63"/>
                    <a:pt x="134" y="58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4" y="11"/>
                    <a:pt x="130" y="7"/>
                    <a:pt x="12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6" y="13"/>
                    <a:pt x="6" y="16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60"/>
                    <a:pt x="8" y="63"/>
                    <a:pt x="9" y="65"/>
                  </a:cubicBezTo>
                  <a:cubicBezTo>
                    <a:pt x="11" y="66"/>
                    <a:pt x="13" y="67"/>
                    <a:pt x="16" y="67"/>
                  </a:cubicBezTo>
                  <a:cubicBezTo>
                    <a:pt x="17" y="67"/>
                    <a:pt x="19" y="68"/>
                    <a:pt x="19" y="7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4" name="Oval 1079">
              <a:extLst>
                <a:ext uri="{FF2B5EF4-FFF2-40B4-BE49-F238E27FC236}">
                  <a16:creationId xmlns:a16="http://schemas.microsoft.com/office/drawing/2014/main" id="{18B19561-AF88-445C-A9D9-70A25DEB8E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16980" y="2297828"/>
              <a:ext cx="15175" cy="15175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5" name="Oval 1080">
              <a:extLst>
                <a:ext uri="{FF2B5EF4-FFF2-40B4-BE49-F238E27FC236}">
                  <a16:creationId xmlns:a16="http://schemas.microsoft.com/office/drawing/2014/main" id="{0AC4F635-5A43-4846-B28F-FA43570670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47330" y="2297828"/>
              <a:ext cx="15175" cy="15175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6" name="Oval 1081">
              <a:extLst>
                <a:ext uri="{FF2B5EF4-FFF2-40B4-BE49-F238E27FC236}">
                  <a16:creationId xmlns:a16="http://schemas.microsoft.com/office/drawing/2014/main" id="{7A9469DD-ED63-4FDE-8F39-8F9B9A1D44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8945" y="2297828"/>
              <a:ext cx="13910" cy="15175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7" name="Oval 1082">
              <a:extLst>
                <a:ext uri="{FF2B5EF4-FFF2-40B4-BE49-F238E27FC236}">
                  <a16:creationId xmlns:a16="http://schemas.microsoft.com/office/drawing/2014/main" id="{8A408E4A-2054-4948-9884-9C8CB6374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8030" y="2297828"/>
              <a:ext cx="16440" cy="15175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8" name="Oval 1083">
              <a:extLst>
                <a:ext uri="{FF2B5EF4-FFF2-40B4-BE49-F238E27FC236}">
                  <a16:creationId xmlns:a16="http://schemas.microsoft.com/office/drawing/2014/main" id="{FACD65CD-0B2F-4EA1-AE8A-A33A65613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8380" y="2297828"/>
              <a:ext cx="15175" cy="15175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9" name="Oval 1084">
              <a:extLst>
                <a:ext uri="{FF2B5EF4-FFF2-40B4-BE49-F238E27FC236}">
                  <a16:creationId xmlns:a16="http://schemas.microsoft.com/office/drawing/2014/main" id="{F55BC39C-3AAC-43F3-9658-69433D8B8D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9995" y="2297828"/>
              <a:ext cx="13910" cy="15175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0" name="Freeform 1085">
              <a:extLst>
                <a:ext uri="{FF2B5EF4-FFF2-40B4-BE49-F238E27FC236}">
                  <a16:creationId xmlns:a16="http://schemas.microsoft.com/office/drawing/2014/main" id="{4FA0951F-0012-4CC0-B0A3-0CEC1D6B3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7232" y="2473605"/>
              <a:ext cx="12646" cy="65758"/>
            </a:xfrm>
            <a:custGeom>
              <a:avLst/>
              <a:gdLst>
                <a:gd name="T0" fmla="*/ 3 w 7"/>
                <a:gd name="T1" fmla="*/ 36 h 36"/>
                <a:gd name="T2" fmla="*/ 0 w 7"/>
                <a:gd name="T3" fmla="*/ 33 h 36"/>
                <a:gd name="T4" fmla="*/ 0 w 7"/>
                <a:gd name="T5" fmla="*/ 4 h 36"/>
                <a:gd name="T6" fmla="*/ 3 w 7"/>
                <a:gd name="T7" fmla="*/ 0 h 36"/>
                <a:gd name="T8" fmla="*/ 7 w 7"/>
                <a:gd name="T9" fmla="*/ 4 h 36"/>
                <a:gd name="T10" fmla="*/ 7 w 7"/>
                <a:gd name="T11" fmla="*/ 33 h 36"/>
                <a:gd name="T12" fmla="*/ 3 w 7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6">
                  <a:moveTo>
                    <a:pt x="3" y="36"/>
                  </a:moveTo>
                  <a:cubicBezTo>
                    <a:pt x="2" y="36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5"/>
                    <a:pt x="5" y="36"/>
                    <a:pt x="3" y="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1" name="Freeform 1086">
              <a:extLst>
                <a:ext uri="{FF2B5EF4-FFF2-40B4-BE49-F238E27FC236}">
                  <a16:creationId xmlns:a16="http://schemas.microsoft.com/office/drawing/2014/main" id="{2D4C675C-835F-4703-8F99-74054A713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882" y="2497632"/>
              <a:ext cx="74611" cy="20233"/>
            </a:xfrm>
            <a:custGeom>
              <a:avLst/>
              <a:gdLst>
                <a:gd name="T0" fmla="*/ 37 w 41"/>
                <a:gd name="T1" fmla="*/ 11 h 11"/>
                <a:gd name="T2" fmla="*/ 36 w 41"/>
                <a:gd name="T3" fmla="*/ 11 h 11"/>
                <a:gd name="T4" fmla="*/ 20 w 41"/>
                <a:gd name="T5" fmla="*/ 7 h 11"/>
                <a:gd name="T6" fmla="*/ 4 w 41"/>
                <a:gd name="T7" fmla="*/ 11 h 11"/>
                <a:gd name="T8" fmla="*/ 0 w 41"/>
                <a:gd name="T9" fmla="*/ 8 h 11"/>
                <a:gd name="T10" fmla="*/ 3 w 41"/>
                <a:gd name="T11" fmla="*/ 4 h 11"/>
                <a:gd name="T12" fmla="*/ 20 w 41"/>
                <a:gd name="T13" fmla="*/ 0 h 11"/>
                <a:gd name="T14" fmla="*/ 21 w 41"/>
                <a:gd name="T15" fmla="*/ 0 h 11"/>
                <a:gd name="T16" fmla="*/ 38 w 41"/>
                <a:gd name="T17" fmla="*/ 4 h 11"/>
                <a:gd name="T18" fmla="*/ 41 w 41"/>
                <a:gd name="T19" fmla="*/ 8 h 11"/>
                <a:gd name="T20" fmla="*/ 37 w 41"/>
                <a:gd name="T2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" h="11">
                  <a:moveTo>
                    <a:pt x="37" y="11"/>
                  </a:moveTo>
                  <a:cubicBezTo>
                    <a:pt x="37" y="11"/>
                    <a:pt x="37" y="11"/>
                    <a:pt x="36" y="11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1" y="10"/>
                    <a:pt x="0" y="8"/>
                  </a:cubicBezTo>
                  <a:cubicBezTo>
                    <a:pt x="0" y="6"/>
                    <a:pt x="1" y="5"/>
                    <a:pt x="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40" y="5"/>
                    <a:pt x="41" y="6"/>
                    <a:pt x="41" y="8"/>
                  </a:cubicBezTo>
                  <a:cubicBezTo>
                    <a:pt x="40" y="10"/>
                    <a:pt x="39" y="11"/>
                    <a:pt x="37" y="1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2" name="Freeform 1087">
              <a:extLst>
                <a:ext uri="{FF2B5EF4-FFF2-40B4-BE49-F238E27FC236}">
                  <a16:creationId xmlns:a16="http://schemas.microsoft.com/office/drawing/2014/main" id="{85E5BA1C-BB6D-454B-9B8A-4C5F32577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8380" y="2526718"/>
              <a:ext cx="29085" cy="21498"/>
            </a:xfrm>
            <a:custGeom>
              <a:avLst/>
              <a:gdLst>
                <a:gd name="T0" fmla="*/ 4 w 16"/>
                <a:gd name="T1" fmla="*/ 12 h 12"/>
                <a:gd name="T2" fmla="*/ 2 w 16"/>
                <a:gd name="T3" fmla="*/ 11 h 12"/>
                <a:gd name="T4" fmla="*/ 2 w 16"/>
                <a:gd name="T5" fmla="*/ 6 h 12"/>
                <a:gd name="T6" fmla="*/ 6 w 16"/>
                <a:gd name="T7" fmla="*/ 2 h 12"/>
                <a:gd name="T8" fmla="*/ 11 w 16"/>
                <a:gd name="T9" fmla="*/ 2 h 12"/>
                <a:gd name="T10" fmla="*/ 15 w 16"/>
                <a:gd name="T11" fmla="*/ 6 h 12"/>
                <a:gd name="T12" fmla="*/ 15 w 16"/>
                <a:gd name="T13" fmla="*/ 11 h 12"/>
                <a:gd name="T14" fmla="*/ 10 w 16"/>
                <a:gd name="T15" fmla="*/ 11 h 12"/>
                <a:gd name="T16" fmla="*/ 8 w 16"/>
                <a:gd name="T17" fmla="*/ 9 h 12"/>
                <a:gd name="T18" fmla="*/ 7 w 16"/>
                <a:gd name="T19" fmla="*/ 11 h 12"/>
                <a:gd name="T20" fmla="*/ 4 w 16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1"/>
                    <a:pt x="2" y="11"/>
                  </a:cubicBezTo>
                  <a:cubicBezTo>
                    <a:pt x="0" y="9"/>
                    <a:pt x="0" y="7"/>
                    <a:pt x="2" y="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0"/>
                    <a:pt x="10" y="0"/>
                    <a:pt x="11" y="2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7"/>
                    <a:pt x="16" y="9"/>
                    <a:pt x="15" y="11"/>
                  </a:cubicBezTo>
                  <a:cubicBezTo>
                    <a:pt x="14" y="12"/>
                    <a:pt x="12" y="12"/>
                    <a:pt x="10" y="1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5" y="12"/>
                    <a:pt x="4" y="1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3" name="Freeform 1088">
              <a:extLst>
                <a:ext uri="{FF2B5EF4-FFF2-40B4-BE49-F238E27FC236}">
                  <a16:creationId xmlns:a16="http://schemas.microsoft.com/office/drawing/2014/main" id="{8E0835DE-F11F-4BC8-B73F-2C7F8C28F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1922" y="2505220"/>
              <a:ext cx="72081" cy="12646"/>
            </a:xfrm>
            <a:custGeom>
              <a:avLst/>
              <a:gdLst>
                <a:gd name="T0" fmla="*/ 37 w 40"/>
                <a:gd name="T1" fmla="*/ 7 h 7"/>
                <a:gd name="T2" fmla="*/ 3 w 40"/>
                <a:gd name="T3" fmla="*/ 7 h 7"/>
                <a:gd name="T4" fmla="*/ 0 w 40"/>
                <a:gd name="T5" fmla="*/ 3 h 7"/>
                <a:gd name="T6" fmla="*/ 3 w 40"/>
                <a:gd name="T7" fmla="*/ 0 h 7"/>
                <a:gd name="T8" fmla="*/ 37 w 40"/>
                <a:gd name="T9" fmla="*/ 0 h 7"/>
                <a:gd name="T10" fmla="*/ 40 w 40"/>
                <a:gd name="T11" fmla="*/ 3 h 7"/>
                <a:gd name="T12" fmla="*/ 37 w 4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7">
                  <a:moveTo>
                    <a:pt x="3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40" y="2"/>
                    <a:pt x="40" y="3"/>
                  </a:cubicBezTo>
                  <a:cubicBezTo>
                    <a:pt x="40" y="5"/>
                    <a:pt x="38" y="7"/>
                    <a:pt x="37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4" name="Freeform 1089">
              <a:extLst>
                <a:ext uri="{FF2B5EF4-FFF2-40B4-BE49-F238E27FC236}">
                  <a16:creationId xmlns:a16="http://schemas.microsoft.com/office/drawing/2014/main" id="{8B1D1F18-5F8C-4707-B96D-BC1540DB3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1922" y="2535570"/>
              <a:ext cx="72081" cy="12646"/>
            </a:xfrm>
            <a:custGeom>
              <a:avLst/>
              <a:gdLst>
                <a:gd name="T0" fmla="*/ 37 w 40"/>
                <a:gd name="T1" fmla="*/ 7 h 7"/>
                <a:gd name="T2" fmla="*/ 3 w 40"/>
                <a:gd name="T3" fmla="*/ 7 h 7"/>
                <a:gd name="T4" fmla="*/ 0 w 40"/>
                <a:gd name="T5" fmla="*/ 3 h 7"/>
                <a:gd name="T6" fmla="*/ 3 w 40"/>
                <a:gd name="T7" fmla="*/ 0 h 7"/>
                <a:gd name="T8" fmla="*/ 37 w 40"/>
                <a:gd name="T9" fmla="*/ 0 h 7"/>
                <a:gd name="T10" fmla="*/ 40 w 40"/>
                <a:gd name="T11" fmla="*/ 3 h 7"/>
                <a:gd name="T12" fmla="*/ 37 w 4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7">
                  <a:moveTo>
                    <a:pt x="3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40" y="1"/>
                    <a:pt x="40" y="3"/>
                  </a:cubicBezTo>
                  <a:cubicBezTo>
                    <a:pt x="40" y="5"/>
                    <a:pt x="38" y="7"/>
                    <a:pt x="37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5" name="Freeform 1090">
              <a:extLst>
                <a:ext uri="{FF2B5EF4-FFF2-40B4-BE49-F238E27FC236}">
                  <a16:creationId xmlns:a16="http://schemas.microsoft.com/office/drawing/2014/main" id="{0F224DBE-F4EB-4ED4-AADE-9855900DA9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11922" y="2338295"/>
              <a:ext cx="72081" cy="110019"/>
            </a:xfrm>
            <a:custGeom>
              <a:avLst/>
              <a:gdLst>
                <a:gd name="T0" fmla="*/ 37 w 40"/>
                <a:gd name="T1" fmla="*/ 61 h 61"/>
                <a:gd name="T2" fmla="*/ 3 w 40"/>
                <a:gd name="T3" fmla="*/ 61 h 61"/>
                <a:gd name="T4" fmla="*/ 0 w 40"/>
                <a:gd name="T5" fmla="*/ 58 h 61"/>
                <a:gd name="T6" fmla="*/ 0 w 40"/>
                <a:gd name="T7" fmla="*/ 3 h 61"/>
                <a:gd name="T8" fmla="*/ 3 w 40"/>
                <a:gd name="T9" fmla="*/ 0 h 61"/>
                <a:gd name="T10" fmla="*/ 37 w 40"/>
                <a:gd name="T11" fmla="*/ 0 h 61"/>
                <a:gd name="T12" fmla="*/ 40 w 40"/>
                <a:gd name="T13" fmla="*/ 3 h 61"/>
                <a:gd name="T14" fmla="*/ 40 w 40"/>
                <a:gd name="T15" fmla="*/ 58 h 61"/>
                <a:gd name="T16" fmla="*/ 37 w 40"/>
                <a:gd name="T17" fmla="*/ 61 h 61"/>
                <a:gd name="T18" fmla="*/ 6 w 40"/>
                <a:gd name="T19" fmla="*/ 54 h 61"/>
                <a:gd name="T20" fmla="*/ 33 w 40"/>
                <a:gd name="T21" fmla="*/ 54 h 61"/>
                <a:gd name="T22" fmla="*/ 33 w 40"/>
                <a:gd name="T23" fmla="*/ 7 h 61"/>
                <a:gd name="T24" fmla="*/ 6 w 40"/>
                <a:gd name="T25" fmla="*/ 7 h 61"/>
                <a:gd name="T26" fmla="*/ 6 w 40"/>
                <a:gd name="T2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61">
                  <a:moveTo>
                    <a:pt x="37" y="61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1" y="61"/>
                    <a:pt x="0" y="60"/>
                    <a:pt x="0" y="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40" y="1"/>
                    <a:pt x="40" y="3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60"/>
                    <a:pt x="38" y="61"/>
                    <a:pt x="37" y="61"/>
                  </a:cubicBezTo>
                  <a:close/>
                  <a:moveTo>
                    <a:pt x="6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5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6" name="Freeform 1091">
              <a:extLst>
                <a:ext uri="{FF2B5EF4-FFF2-40B4-BE49-F238E27FC236}">
                  <a16:creationId xmlns:a16="http://schemas.microsoft.com/office/drawing/2014/main" id="{D150CEB9-629A-4110-AD71-58D0944E51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11922" y="2216894"/>
              <a:ext cx="72081" cy="56906"/>
            </a:xfrm>
            <a:custGeom>
              <a:avLst/>
              <a:gdLst>
                <a:gd name="T0" fmla="*/ 37 w 40"/>
                <a:gd name="T1" fmla="*/ 32 h 32"/>
                <a:gd name="T2" fmla="*/ 3 w 40"/>
                <a:gd name="T3" fmla="*/ 32 h 32"/>
                <a:gd name="T4" fmla="*/ 0 w 40"/>
                <a:gd name="T5" fmla="*/ 28 h 32"/>
                <a:gd name="T6" fmla="*/ 0 w 40"/>
                <a:gd name="T7" fmla="*/ 3 h 32"/>
                <a:gd name="T8" fmla="*/ 3 w 40"/>
                <a:gd name="T9" fmla="*/ 0 h 32"/>
                <a:gd name="T10" fmla="*/ 37 w 40"/>
                <a:gd name="T11" fmla="*/ 0 h 32"/>
                <a:gd name="T12" fmla="*/ 40 w 40"/>
                <a:gd name="T13" fmla="*/ 3 h 32"/>
                <a:gd name="T14" fmla="*/ 40 w 40"/>
                <a:gd name="T15" fmla="*/ 28 h 32"/>
                <a:gd name="T16" fmla="*/ 37 w 40"/>
                <a:gd name="T17" fmla="*/ 32 h 32"/>
                <a:gd name="T18" fmla="*/ 6 w 40"/>
                <a:gd name="T19" fmla="*/ 25 h 32"/>
                <a:gd name="T20" fmla="*/ 33 w 40"/>
                <a:gd name="T21" fmla="*/ 25 h 32"/>
                <a:gd name="T22" fmla="*/ 33 w 40"/>
                <a:gd name="T23" fmla="*/ 7 h 32"/>
                <a:gd name="T24" fmla="*/ 6 w 40"/>
                <a:gd name="T25" fmla="*/ 7 h 32"/>
                <a:gd name="T26" fmla="*/ 6 w 40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32">
                  <a:moveTo>
                    <a:pt x="37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40" y="1"/>
                    <a:pt x="40" y="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30"/>
                    <a:pt x="38" y="32"/>
                    <a:pt x="37" y="32"/>
                  </a:cubicBezTo>
                  <a:close/>
                  <a:moveTo>
                    <a:pt x="6" y="25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7" name="Freeform 1092">
              <a:extLst>
                <a:ext uri="{FF2B5EF4-FFF2-40B4-BE49-F238E27FC236}">
                  <a16:creationId xmlns:a16="http://schemas.microsoft.com/office/drawing/2014/main" id="{C3B081A8-9AA9-4EFE-88B3-D81041240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8847" y="2216894"/>
              <a:ext cx="12646" cy="56906"/>
            </a:xfrm>
            <a:custGeom>
              <a:avLst/>
              <a:gdLst>
                <a:gd name="T0" fmla="*/ 3 w 7"/>
                <a:gd name="T1" fmla="*/ 32 h 32"/>
                <a:gd name="T2" fmla="*/ 0 w 7"/>
                <a:gd name="T3" fmla="*/ 28 h 32"/>
                <a:gd name="T4" fmla="*/ 0 w 7"/>
                <a:gd name="T5" fmla="*/ 3 h 32"/>
                <a:gd name="T6" fmla="*/ 3 w 7"/>
                <a:gd name="T7" fmla="*/ 0 h 32"/>
                <a:gd name="T8" fmla="*/ 7 w 7"/>
                <a:gd name="T9" fmla="*/ 3 h 32"/>
                <a:gd name="T10" fmla="*/ 7 w 7"/>
                <a:gd name="T11" fmla="*/ 28 h 32"/>
                <a:gd name="T12" fmla="*/ 3 w 7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2">
                  <a:moveTo>
                    <a:pt x="3" y="32"/>
                  </a:move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5" y="32"/>
                    <a:pt x="3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8" name="Freeform 1093">
              <a:extLst>
                <a:ext uri="{FF2B5EF4-FFF2-40B4-BE49-F238E27FC236}">
                  <a16:creationId xmlns:a16="http://schemas.microsoft.com/office/drawing/2014/main" id="{AEF2C21A-273B-40A5-B2FD-7ADB69BF5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0910" y="2216894"/>
              <a:ext cx="12646" cy="56906"/>
            </a:xfrm>
            <a:custGeom>
              <a:avLst/>
              <a:gdLst>
                <a:gd name="T0" fmla="*/ 3 w 7"/>
                <a:gd name="T1" fmla="*/ 32 h 32"/>
                <a:gd name="T2" fmla="*/ 0 w 7"/>
                <a:gd name="T3" fmla="*/ 28 h 32"/>
                <a:gd name="T4" fmla="*/ 0 w 7"/>
                <a:gd name="T5" fmla="*/ 3 h 32"/>
                <a:gd name="T6" fmla="*/ 3 w 7"/>
                <a:gd name="T7" fmla="*/ 0 h 32"/>
                <a:gd name="T8" fmla="*/ 7 w 7"/>
                <a:gd name="T9" fmla="*/ 3 h 32"/>
                <a:gd name="T10" fmla="*/ 7 w 7"/>
                <a:gd name="T11" fmla="*/ 28 h 32"/>
                <a:gd name="T12" fmla="*/ 3 w 7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2">
                  <a:moveTo>
                    <a:pt x="3" y="32"/>
                  </a:move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5" y="32"/>
                    <a:pt x="3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99" name="Freeform 1094">
              <a:extLst>
                <a:ext uri="{FF2B5EF4-FFF2-40B4-BE49-F238E27FC236}">
                  <a16:creationId xmlns:a16="http://schemas.microsoft.com/office/drawing/2014/main" id="{C2A685A4-3353-448F-A275-F444F5963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8847" y="2338295"/>
              <a:ext cx="12646" cy="110019"/>
            </a:xfrm>
            <a:custGeom>
              <a:avLst/>
              <a:gdLst>
                <a:gd name="T0" fmla="*/ 3 w 7"/>
                <a:gd name="T1" fmla="*/ 61 h 61"/>
                <a:gd name="T2" fmla="*/ 0 w 7"/>
                <a:gd name="T3" fmla="*/ 58 h 61"/>
                <a:gd name="T4" fmla="*/ 0 w 7"/>
                <a:gd name="T5" fmla="*/ 3 h 61"/>
                <a:gd name="T6" fmla="*/ 3 w 7"/>
                <a:gd name="T7" fmla="*/ 0 h 61"/>
                <a:gd name="T8" fmla="*/ 7 w 7"/>
                <a:gd name="T9" fmla="*/ 3 h 61"/>
                <a:gd name="T10" fmla="*/ 7 w 7"/>
                <a:gd name="T11" fmla="*/ 58 h 61"/>
                <a:gd name="T12" fmla="*/ 3 w 7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61">
                  <a:moveTo>
                    <a:pt x="3" y="61"/>
                  </a:moveTo>
                  <a:cubicBezTo>
                    <a:pt x="1" y="61"/>
                    <a:pt x="0" y="60"/>
                    <a:pt x="0" y="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60"/>
                    <a:pt x="5" y="61"/>
                    <a:pt x="3" y="6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0" name="Freeform 1095">
              <a:extLst>
                <a:ext uri="{FF2B5EF4-FFF2-40B4-BE49-F238E27FC236}">
                  <a16:creationId xmlns:a16="http://schemas.microsoft.com/office/drawing/2014/main" id="{3EBF6445-BC5C-4198-B5C1-945D12218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0910" y="2338295"/>
              <a:ext cx="12646" cy="58171"/>
            </a:xfrm>
            <a:custGeom>
              <a:avLst/>
              <a:gdLst>
                <a:gd name="T0" fmla="*/ 3 w 7"/>
                <a:gd name="T1" fmla="*/ 32 h 32"/>
                <a:gd name="T2" fmla="*/ 0 w 7"/>
                <a:gd name="T3" fmla="*/ 28 h 32"/>
                <a:gd name="T4" fmla="*/ 0 w 7"/>
                <a:gd name="T5" fmla="*/ 3 h 32"/>
                <a:gd name="T6" fmla="*/ 3 w 7"/>
                <a:gd name="T7" fmla="*/ 0 h 32"/>
                <a:gd name="T8" fmla="*/ 7 w 7"/>
                <a:gd name="T9" fmla="*/ 3 h 32"/>
                <a:gd name="T10" fmla="*/ 7 w 7"/>
                <a:gd name="T11" fmla="*/ 28 h 32"/>
                <a:gd name="T12" fmla="*/ 3 w 7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2">
                  <a:moveTo>
                    <a:pt x="3" y="32"/>
                  </a:move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5" y="32"/>
                    <a:pt x="3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1" name="Freeform 1096">
              <a:extLst>
                <a:ext uri="{FF2B5EF4-FFF2-40B4-BE49-F238E27FC236}">
                  <a16:creationId xmlns:a16="http://schemas.microsoft.com/office/drawing/2014/main" id="{C5E22FA2-00A2-433A-B613-541D2B6CB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1670" y="2116992"/>
              <a:ext cx="255446" cy="407197"/>
            </a:xfrm>
            <a:custGeom>
              <a:avLst/>
              <a:gdLst>
                <a:gd name="T0" fmla="*/ 54 w 141"/>
                <a:gd name="T1" fmla="*/ 225 h 225"/>
                <a:gd name="T2" fmla="*/ 16 w 141"/>
                <a:gd name="T3" fmla="*/ 225 h 225"/>
                <a:gd name="T4" fmla="*/ 0 w 141"/>
                <a:gd name="T5" fmla="*/ 209 h 225"/>
                <a:gd name="T6" fmla="*/ 0 w 141"/>
                <a:gd name="T7" fmla="*/ 83 h 225"/>
                <a:gd name="T8" fmla="*/ 6 w 141"/>
                <a:gd name="T9" fmla="*/ 71 h 225"/>
                <a:gd name="T10" fmla="*/ 0 w 141"/>
                <a:gd name="T11" fmla="*/ 58 h 225"/>
                <a:gd name="T12" fmla="*/ 0 w 141"/>
                <a:gd name="T13" fmla="*/ 16 h 225"/>
                <a:gd name="T14" fmla="*/ 16 w 141"/>
                <a:gd name="T15" fmla="*/ 0 h 225"/>
                <a:gd name="T16" fmla="*/ 125 w 141"/>
                <a:gd name="T17" fmla="*/ 0 h 225"/>
                <a:gd name="T18" fmla="*/ 141 w 141"/>
                <a:gd name="T19" fmla="*/ 16 h 225"/>
                <a:gd name="T20" fmla="*/ 141 w 141"/>
                <a:gd name="T21" fmla="*/ 37 h 225"/>
                <a:gd name="T22" fmla="*/ 138 w 141"/>
                <a:gd name="T23" fmla="*/ 41 h 225"/>
                <a:gd name="T24" fmla="*/ 67 w 141"/>
                <a:gd name="T25" fmla="*/ 41 h 225"/>
                <a:gd name="T26" fmla="*/ 57 w 141"/>
                <a:gd name="T27" fmla="*/ 50 h 225"/>
                <a:gd name="T28" fmla="*/ 57 w 141"/>
                <a:gd name="T29" fmla="*/ 92 h 225"/>
                <a:gd name="T30" fmla="*/ 67 w 141"/>
                <a:gd name="T31" fmla="*/ 101 h 225"/>
                <a:gd name="T32" fmla="*/ 70 w 141"/>
                <a:gd name="T33" fmla="*/ 104 h 225"/>
                <a:gd name="T34" fmla="*/ 67 w 141"/>
                <a:gd name="T35" fmla="*/ 108 h 225"/>
                <a:gd name="T36" fmla="*/ 57 w 141"/>
                <a:gd name="T37" fmla="*/ 117 h 225"/>
                <a:gd name="T38" fmla="*/ 57 w 141"/>
                <a:gd name="T39" fmla="*/ 222 h 225"/>
                <a:gd name="T40" fmla="*/ 54 w 141"/>
                <a:gd name="T41" fmla="*/ 225 h 225"/>
                <a:gd name="T42" fmla="*/ 20 w 141"/>
                <a:gd name="T43" fmla="*/ 71 h 225"/>
                <a:gd name="T44" fmla="*/ 16 w 141"/>
                <a:gd name="T45" fmla="*/ 74 h 225"/>
                <a:gd name="T46" fmla="*/ 7 w 141"/>
                <a:gd name="T47" fmla="*/ 83 h 225"/>
                <a:gd name="T48" fmla="*/ 7 w 141"/>
                <a:gd name="T49" fmla="*/ 209 h 225"/>
                <a:gd name="T50" fmla="*/ 16 w 141"/>
                <a:gd name="T51" fmla="*/ 218 h 225"/>
                <a:gd name="T52" fmla="*/ 51 w 141"/>
                <a:gd name="T53" fmla="*/ 218 h 225"/>
                <a:gd name="T54" fmla="*/ 51 w 141"/>
                <a:gd name="T55" fmla="*/ 117 h 225"/>
                <a:gd name="T56" fmla="*/ 57 w 141"/>
                <a:gd name="T57" fmla="*/ 104 h 225"/>
                <a:gd name="T58" fmla="*/ 51 w 141"/>
                <a:gd name="T59" fmla="*/ 92 h 225"/>
                <a:gd name="T60" fmla="*/ 51 w 141"/>
                <a:gd name="T61" fmla="*/ 50 h 225"/>
                <a:gd name="T62" fmla="*/ 67 w 141"/>
                <a:gd name="T63" fmla="*/ 34 h 225"/>
                <a:gd name="T64" fmla="*/ 134 w 141"/>
                <a:gd name="T65" fmla="*/ 34 h 225"/>
                <a:gd name="T66" fmla="*/ 134 w 141"/>
                <a:gd name="T67" fmla="*/ 16 h 225"/>
                <a:gd name="T68" fmla="*/ 125 w 141"/>
                <a:gd name="T69" fmla="*/ 7 h 225"/>
                <a:gd name="T70" fmla="*/ 16 w 141"/>
                <a:gd name="T71" fmla="*/ 7 h 225"/>
                <a:gd name="T72" fmla="*/ 7 w 141"/>
                <a:gd name="T73" fmla="*/ 16 h 225"/>
                <a:gd name="T74" fmla="*/ 7 w 141"/>
                <a:gd name="T75" fmla="*/ 58 h 225"/>
                <a:gd name="T76" fmla="*/ 16 w 141"/>
                <a:gd name="T77" fmla="*/ 67 h 225"/>
                <a:gd name="T78" fmla="*/ 20 w 141"/>
                <a:gd name="T79" fmla="*/ 7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1" h="225">
                  <a:moveTo>
                    <a:pt x="54" y="225"/>
                  </a:moveTo>
                  <a:cubicBezTo>
                    <a:pt x="16" y="225"/>
                    <a:pt x="16" y="225"/>
                    <a:pt x="16" y="225"/>
                  </a:cubicBezTo>
                  <a:cubicBezTo>
                    <a:pt x="7" y="225"/>
                    <a:pt x="0" y="218"/>
                    <a:pt x="0" y="209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78"/>
                    <a:pt x="3" y="74"/>
                    <a:pt x="6" y="71"/>
                  </a:cubicBezTo>
                  <a:cubicBezTo>
                    <a:pt x="3" y="68"/>
                    <a:pt x="0" y="63"/>
                    <a:pt x="0" y="5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4" y="0"/>
                    <a:pt x="141" y="7"/>
                    <a:pt x="141" y="16"/>
                  </a:cubicBezTo>
                  <a:cubicBezTo>
                    <a:pt x="141" y="37"/>
                    <a:pt x="141" y="37"/>
                    <a:pt x="141" y="37"/>
                  </a:cubicBezTo>
                  <a:cubicBezTo>
                    <a:pt x="141" y="39"/>
                    <a:pt x="140" y="41"/>
                    <a:pt x="138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2" y="41"/>
                    <a:pt x="57" y="45"/>
                    <a:pt x="57" y="50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97"/>
                    <a:pt x="62" y="101"/>
                    <a:pt x="67" y="101"/>
                  </a:cubicBezTo>
                  <a:cubicBezTo>
                    <a:pt x="68" y="101"/>
                    <a:pt x="70" y="102"/>
                    <a:pt x="70" y="104"/>
                  </a:cubicBezTo>
                  <a:cubicBezTo>
                    <a:pt x="70" y="106"/>
                    <a:pt x="68" y="108"/>
                    <a:pt x="67" y="108"/>
                  </a:cubicBezTo>
                  <a:cubicBezTo>
                    <a:pt x="62" y="108"/>
                    <a:pt x="57" y="112"/>
                    <a:pt x="57" y="117"/>
                  </a:cubicBezTo>
                  <a:cubicBezTo>
                    <a:pt x="57" y="222"/>
                    <a:pt x="57" y="222"/>
                    <a:pt x="57" y="222"/>
                  </a:cubicBezTo>
                  <a:cubicBezTo>
                    <a:pt x="57" y="224"/>
                    <a:pt x="56" y="225"/>
                    <a:pt x="54" y="225"/>
                  </a:cubicBezTo>
                  <a:close/>
                  <a:moveTo>
                    <a:pt x="20" y="71"/>
                  </a:moveTo>
                  <a:cubicBezTo>
                    <a:pt x="20" y="73"/>
                    <a:pt x="18" y="74"/>
                    <a:pt x="16" y="74"/>
                  </a:cubicBezTo>
                  <a:cubicBezTo>
                    <a:pt x="11" y="74"/>
                    <a:pt x="7" y="78"/>
                    <a:pt x="7" y="83"/>
                  </a:cubicBezTo>
                  <a:cubicBezTo>
                    <a:pt x="7" y="209"/>
                    <a:pt x="7" y="209"/>
                    <a:pt x="7" y="209"/>
                  </a:cubicBezTo>
                  <a:cubicBezTo>
                    <a:pt x="7" y="214"/>
                    <a:pt x="11" y="218"/>
                    <a:pt x="16" y="218"/>
                  </a:cubicBezTo>
                  <a:cubicBezTo>
                    <a:pt x="51" y="218"/>
                    <a:pt x="51" y="218"/>
                    <a:pt x="51" y="218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1" y="112"/>
                    <a:pt x="53" y="107"/>
                    <a:pt x="57" y="104"/>
                  </a:cubicBezTo>
                  <a:cubicBezTo>
                    <a:pt x="53" y="101"/>
                    <a:pt x="51" y="97"/>
                    <a:pt x="51" y="92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1" y="41"/>
                    <a:pt x="58" y="34"/>
                    <a:pt x="67" y="34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4" y="11"/>
                    <a:pt x="130" y="7"/>
                    <a:pt x="12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1" y="7"/>
                    <a:pt x="7" y="11"/>
                    <a:pt x="7" y="16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63"/>
                    <a:pt x="11" y="67"/>
                    <a:pt x="16" y="67"/>
                  </a:cubicBezTo>
                  <a:cubicBezTo>
                    <a:pt x="18" y="67"/>
                    <a:pt x="20" y="69"/>
                    <a:pt x="20" y="7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2" name="Oval 1097">
              <a:extLst>
                <a:ext uri="{FF2B5EF4-FFF2-40B4-BE49-F238E27FC236}">
                  <a16:creationId xmlns:a16="http://schemas.microsoft.com/office/drawing/2014/main" id="{C4DC03D1-BF4F-417B-8772-9D9ED3B4A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25930" y="2238392"/>
              <a:ext cx="15175" cy="13910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3" name="Oval 1098">
              <a:extLst>
                <a:ext uri="{FF2B5EF4-FFF2-40B4-BE49-F238E27FC236}">
                  <a16:creationId xmlns:a16="http://schemas.microsoft.com/office/drawing/2014/main" id="{71F00B6E-ECA6-4DF1-92DA-53F1CA6D34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5016" y="2238392"/>
              <a:ext cx="16440" cy="13910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4" name="Freeform 1099">
              <a:extLst>
                <a:ext uri="{FF2B5EF4-FFF2-40B4-BE49-F238E27FC236}">
                  <a16:creationId xmlns:a16="http://schemas.microsoft.com/office/drawing/2014/main" id="{19083B78-44FD-4313-BB20-A7BCA29C9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9607" y="2444520"/>
              <a:ext cx="64494" cy="11381"/>
            </a:xfrm>
            <a:custGeom>
              <a:avLst/>
              <a:gdLst>
                <a:gd name="T0" fmla="*/ 33 w 36"/>
                <a:gd name="T1" fmla="*/ 6 h 6"/>
                <a:gd name="T2" fmla="*/ 4 w 36"/>
                <a:gd name="T3" fmla="*/ 6 h 6"/>
                <a:gd name="T4" fmla="*/ 0 w 36"/>
                <a:gd name="T5" fmla="*/ 3 h 6"/>
                <a:gd name="T6" fmla="*/ 4 w 36"/>
                <a:gd name="T7" fmla="*/ 0 h 6"/>
                <a:gd name="T8" fmla="*/ 33 w 36"/>
                <a:gd name="T9" fmla="*/ 0 h 6"/>
                <a:gd name="T10" fmla="*/ 36 w 36"/>
                <a:gd name="T11" fmla="*/ 3 h 6"/>
                <a:gd name="T12" fmla="*/ 33 w 3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33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1"/>
                    <a:pt x="36" y="3"/>
                  </a:cubicBezTo>
                  <a:cubicBezTo>
                    <a:pt x="36" y="5"/>
                    <a:pt x="35" y="6"/>
                    <a:pt x="33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5" name="Freeform 1100">
              <a:extLst>
                <a:ext uri="{FF2B5EF4-FFF2-40B4-BE49-F238E27FC236}">
                  <a16:creationId xmlns:a16="http://schemas.microsoft.com/office/drawing/2014/main" id="{7720282F-FBD7-49A9-822D-3F96C1B17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9607" y="2473605"/>
              <a:ext cx="64494" cy="12646"/>
            </a:xfrm>
            <a:custGeom>
              <a:avLst/>
              <a:gdLst>
                <a:gd name="T0" fmla="*/ 33 w 36"/>
                <a:gd name="T1" fmla="*/ 7 h 7"/>
                <a:gd name="T2" fmla="*/ 4 w 36"/>
                <a:gd name="T3" fmla="*/ 7 h 7"/>
                <a:gd name="T4" fmla="*/ 0 w 36"/>
                <a:gd name="T5" fmla="*/ 4 h 7"/>
                <a:gd name="T6" fmla="*/ 4 w 36"/>
                <a:gd name="T7" fmla="*/ 0 h 7"/>
                <a:gd name="T8" fmla="*/ 33 w 36"/>
                <a:gd name="T9" fmla="*/ 0 h 7"/>
                <a:gd name="T10" fmla="*/ 36 w 36"/>
                <a:gd name="T11" fmla="*/ 4 h 7"/>
                <a:gd name="T12" fmla="*/ 33 w 3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7">
                  <a:moveTo>
                    <a:pt x="3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2"/>
                    <a:pt x="36" y="4"/>
                  </a:cubicBezTo>
                  <a:cubicBezTo>
                    <a:pt x="36" y="6"/>
                    <a:pt x="35" y="7"/>
                    <a:pt x="3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6" name="Freeform 1101">
              <a:extLst>
                <a:ext uri="{FF2B5EF4-FFF2-40B4-BE49-F238E27FC236}">
                  <a16:creationId xmlns:a16="http://schemas.microsoft.com/office/drawing/2014/main" id="{41F08CB5-5111-4829-AB6F-FD80D6122B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9607" y="2276330"/>
              <a:ext cx="88521" cy="112548"/>
            </a:xfrm>
            <a:custGeom>
              <a:avLst/>
              <a:gdLst>
                <a:gd name="T0" fmla="*/ 33 w 49"/>
                <a:gd name="T1" fmla="*/ 62 h 62"/>
                <a:gd name="T2" fmla="*/ 4 w 49"/>
                <a:gd name="T3" fmla="*/ 62 h 62"/>
                <a:gd name="T4" fmla="*/ 0 w 49"/>
                <a:gd name="T5" fmla="*/ 58 h 62"/>
                <a:gd name="T6" fmla="*/ 0 w 49"/>
                <a:gd name="T7" fmla="*/ 4 h 62"/>
                <a:gd name="T8" fmla="*/ 4 w 49"/>
                <a:gd name="T9" fmla="*/ 0 h 62"/>
                <a:gd name="T10" fmla="*/ 33 w 49"/>
                <a:gd name="T11" fmla="*/ 0 h 62"/>
                <a:gd name="T12" fmla="*/ 36 w 49"/>
                <a:gd name="T13" fmla="*/ 4 h 62"/>
                <a:gd name="T14" fmla="*/ 39 w 49"/>
                <a:gd name="T15" fmla="*/ 11 h 62"/>
                <a:gd name="T16" fmla="*/ 46 w 49"/>
                <a:gd name="T17" fmla="*/ 13 h 62"/>
                <a:gd name="T18" fmla="*/ 49 w 49"/>
                <a:gd name="T19" fmla="*/ 16 h 62"/>
                <a:gd name="T20" fmla="*/ 46 w 49"/>
                <a:gd name="T21" fmla="*/ 20 h 62"/>
                <a:gd name="T22" fmla="*/ 40 w 49"/>
                <a:gd name="T23" fmla="*/ 22 h 62"/>
                <a:gd name="T24" fmla="*/ 36 w 49"/>
                <a:gd name="T25" fmla="*/ 29 h 62"/>
                <a:gd name="T26" fmla="*/ 36 w 49"/>
                <a:gd name="T27" fmla="*/ 58 h 62"/>
                <a:gd name="T28" fmla="*/ 33 w 49"/>
                <a:gd name="T29" fmla="*/ 62 h 62"/>
                <a:gd name="T30" fmla="*/ 7 w 49"/>
                <a:gd name="T31" fmla="*/ 55 h 62"/>
                <a:gd name="T32" fmla="*/ 30 w 49"/>
                <a:gd name="T33" fmla="*/ 55 h 62"/>
                <a:gd name="T34" fmla="*/ 30 w 49"/>
                <a:gd name="T35" fmla="*/ 29 h 62"/>
                <a:gd name="T36" fmla="*/ 35 w 49"/>
                <a:gd name="T37" fmla="*/ 17 h 62"/>
                <a:gd name="T38" fmla="*/ 36 w 49"/>
                <a:gd name="T39" fmla="*/ 16 h 62"/>
                <a:gd name="T40" fmla="*/ 35 w 49"/>
                <a:gd name="T41" fmla="*/ 16 h 62"/>
                <a:gd name="T42" fmla="*/ 30 w 49"/>
                <a:gd name="T43" fmla="*/ 7 h 62"/>
                <a:gd name="T44" fmla="*/ 7 w 49"/>
                <a:gd name="T45" fmla="*/ 7 h 62"/>
                <a:gd name="T46" fmla="*/ 7 w 49"/>
                <a:gd name="T47" fmla="*/ 5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" h="62">
                  <a:moveTo>
                    <a:pt x="33" y="62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2" y="62"/>
                    <a:pt x="0" y="60"/>
                    <a:pt x="0" y="5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2"/>
                    <a:pt x="36" y="4"/>
                  </a:cubicBezTo>
                  <a:cubicBezTo>
                    <a:pt x="36" y="6"/>
                    <a:pt x="38" y="9"/>
                    <a:pt x="39" y="11"/>
                  </a:cubicBezTo>
                  <a:cubicBezTo>
                    <a:pt x="41" y="12"/>
                    <a:pt x="43" y="13"/>
                    <a:pt x="46" y="13"/>
                  </a:cubicBezTo>
                  <a:cubicBezTo>
                    <a:pt x="47" y="13"/>
                    <a:pt x="49" y="14"/>
                    <a:pt x="49" y="16"/>
                  </a:cubicBezTo>
                  <a:cubicBezTo>
                    <a:pt x="49" y="18"/>
                    <a:pt x="47" y="20"/>
                    <a:pt x="46" y="20"/>
                  </a:cubicBezTo>
                  <a:cubicBezTo>
                    <a:pt x="43" y="20"/>
                    <a:pt x="41" y="21"/>
                    <a:pt x="40" y="22"/>
                  </a:cubicBezTo>
                  <a:cubicBezTo>
                    <a:pt x="38" y="24"/>
                    <a:pt x="36" y="26"/>
                    <a:pt x="36" y="29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60"/>
                    <a:pt x="35" y="62"/>
                    <a:pt x="33" y="62"/>
                  </a:cubicBezTo>
                  <a:close/>
                  <a:moveTo>
                    <a:pt x="7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4"/>
                    <a:pt x="32" y="20"/>
                    <a:pt x="35" y="17"/>
                  </a:cubicBezTo>
                  <a:cubicBezTo>
                    <a:pt x="35" y="17"/>
                    <a:pt x="35" y="17"/>
                    <a:pt x="36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2" y="13"/>
                    <a:pt x="31" y="10"/>
                    <a:pt x="30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7" name="Freeform 1102">
              <a:extLst>
                <a:ext uri="{FF2B5EF4-FFF2-40B4-BE49-F238E27FC236}">
                  <a16:creationId xmlns:a16="http://schemas.microsoft.com/office/drawing/2014/main" id="{0213C989-9AC2-41E0-BBF2-CCC14325D0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9607" y="2154930"/>
              <a:ext cx="73346" cy="58171"/>
            </a:xfrm>
            <a:custGeom>
              <a:avLst/>
              <a:gdLst>
                <a:gd name="T0" fmla="*/ 33 w 41"/>
                <a:gd name="T1" fmla="*/ 32 h 32"/>
                <a:gd name="T2" fmla="*/ 4 w 41"/>
                <a:gd name="T3" fmla="*/ 32 h 32"/>
                <a:gd name="T4" fmla="*/ 0 w 41"/>
                <a:gd name="T5" fmla="*/ 29 h 32"/>
                <a:gd name="T6" fmla="*/ 0 w 41"/>
                <a:gd name="T7" fmla="*/ 4 h 32"/>
                <a:gd name="T8" fmla="*/ 4 w 41"/>
                <a:gd name="T9" fmla="*/ 0 h 32"/>
                <a:gd name="T10" fmla="*/ 37 w 41"/>
                <a:gd name="T11" fmla="*/ 0 h 32"/>
                <a:gd name="T12" fmla="*/ 41 w 41"/>
                <a:gd name="T13" fmla="*/ 4 h 32"/>
                <a:gd name="T14" fmla="*/ 41 w 41"/>
                <a:gd name="T15" fmla="*/ 19 h 32"/>
                <a:gd name="T16" fmla="*/ 39 w 41"/>
                <a:gd name="T17" fmla="*/ 22 h 32"/>
                <a:gd name="T18" fmla="*/ 36 w 41"/>
                <a:gd name="T19" fmla="*/ 29 h 32"/>
                <a:gd name="T20" fmla="*/ 33 w 41"/>
                <a:gd name="T21" fmla="*/ 32 h 32"/>
                <a:gd name="T22" fmla="*/ 7 w 41"/>
                <a:gd name="T23" fmla="*/ 25 h 32"/>
                <a:gd name="T24" fmla="*/ 30 w 41"/>
                <a:gd name="T25" fmla="*/ 25 h 32"/>
                <a:gd name="T26" fmla="*/ 34 w 41"/>
                <a:gd name="T27" fmla="*/ 18 h 32"/>
                <a:gd name="T28" fmla="*/ 34 w 41"/>
                <a:gd name="T29" fmla="*/ 7 h 32"/>
                <a:gd name="T30" fmla="*/ 7 w 41"/>
                <a:gd name="T31" fmla="*/ 7 h 32"/>
                <a:gd name="T32" fmla="*/ 7 w 41"/>
                <a:gd name="T33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32">
                  <a:moveTo>
                    <a:pt x="33" y="32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0" y="31"/>
                    <a:pt x="0" y="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2"/>
                    <a:pt x="41" y="4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1" y="20"/>
                    <a:pt x="40" y="21"/>
                    <a:pt x="39" y="22"/>
                  </a:cubicBezTo>
                  <a:cubicBezTo>
                    <a:pt x="38" y="24"/>
                    <a:pt x="36" y="26"/>
                    <a:pt x="36" y="29"/>
                  </a:cubicBezTo>
                  <a:cubicBezTo>
                    <a:pt x="36" y="31"/>
                    <a:pt x="35" y="32"/>
                    <a:pt x="33" y="32"/>
                  </a:cubicBezTo>
                  <a:close/>
                  <a:moveTo>
                    <a:pt x="7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1" y="23"/>
                    <a:pt x="32" y="20"/>
                    <a:pt x="34" y="18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8" name="Freeform 1103">
              <a:extLst>
                <a:ext uri="{FF2B5EF4-FFF2-40B4-BE49-F238E27FC236}">
                  <a16:creationId xmlns:a16="http://schemas.microsoft.com/office/drawing/2014/main" id="{11E617B7-364C-481C-9392-19B32B7F8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6532" y="2154930"/>
              <a:ext cx="12646" cy="35408"/>
            </a:xfrm>
            <a:custGeom>
              <a:avLst/>
              <a:gdLst>
                <a:gd name="T0" fmla="*/ 4 w 7"/>
                <a:gd name="T1" fmla="*/ 20 h 20"/>
                <a:gd name="T2" fmla="*/ 0 w 7"/>
                <a:gd name="T3" fmla="*/ 16 h 20"/>
                <a:gd name="T4" fmla="*/ 0 w 7"/>
                <a:gd name="T5" fmla="*/ 4 h 20"/>
                <a:gd name="T6" fmla="*/ 4 w 7"/>
                <a:gd name="T7" fmla="*/ 0 h 20"/>
                <a:gd name="T8" fmla="*/ 7 w 7"/>
                <a:gd name="T9" fmla="*/ 4 h 20"/>
                <a:gd name="T10" fmla="*/ 7 w 7"/>
                <a:gd name="T11" fmla="*/ 16 h 20"/>
                <a:gd name="T12" fmla="*/ 4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4" y="20"/>
                  </a:move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6" y="20"/>
                    <a:pt x="4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9" name="Freeform 1104">
              <a:extLst>
                <a:ext uri="{FF2B5EF4-FFF2-40B4-BE49-F238E27FC236}">
                  <a16:creationId xmlns:a16="http://schemas.microsoft.com/office/drawing/2014/main" id="{DDB30EA0-6283-49E2-A40C-4F5ABF4E2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9859" y="2154930"/>
              <a:ext cx="11381" cy="3540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6 h 20"/>
                <a:gd name="T4" fmla="*/ 0 w 6"/>
                <a:gd name="T5" fmla="*/ 4 h 20"/>
                <a:gd name="T6" fmla="*/ 3 w 6"/>
                <a:gd name="T7" fmla="*/ 0 h 20"/>
                <a:gd name="T8" fmla="*/ 6 w 6"/>
                <a:gd name="T9" fmla="*/ 4 h 20"/>
                <a:gd name="T10" fmla="*/ 6 w 6"/>
                <a:gd name="T11" fmla="*/ 16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1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8"/>
                    <a:pt x="5" y="20"/>
                    <a:pt x="3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10" name="Agrupar 1709">
            <a:extLst>
              <a:ext uri="{FF2B5EF4-FFF2-40B4-BE49-F238E27FC236}">
                <a16:creationId xmlns:a16="http://schemas.microsoft.com/office/drawing/2014/main" id="{104D6D96-6A40-4975-A7DB-804CA8094673}"/>
              </a:ext>
            </a:extLst>
          </p:cNvPr>
          <p:cNvGrpSpPr/>
          <p:nvPr/>
        </p:nvGrpSpPr>
        <p:grpSpPr>
          <a:xfrm>
            <a:off x="7727591" y="2147342"/>
            <a:ext cx="408462" cy="408462"/>
            <a:chOff x="8409203" y="2147342"/>
            <a:chExt cx="408462" cy="408462"/>
          </a:xfrm>
        </p:grpSpPr>
        <p:sp>
          <p:nvSpPr>
            <p:cNvPr id="1310" name="Freeform 1105">
              <a:extLst>
                <a:ext uri="{FF2B5EF4-FFF2-40B4-BE49-F238E27FC236}">
                  <a16:creationId xmlns:a16="http://schemas.microsoft.com/office/drawing/2014/main" id="{A90ACC53-D6B7-42A0-857C-8CA5F6E38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90039" y="2177692"/>
              <a:ext cx="44260" cy="340174"/>
            </a:xfrm>
            <a:custGeom>
              <a:avLst/>
              <a:gdLst>
                <a:gd name="T0" fmla="*/ 21 w 24"/>
                <a:gd name="T1" fmla="*/ 187 h 187"/>
                <a:gd name="T2" fmla="*/ 4 w 24"/>
                <a:gd name="T3" fmla="*/ 187 h 187"/>
                <a:gd name="T4" fmla="*/ 0 w 24"/>
                <a:gd name="T5" fmla="*/ 183 h 187"/>
                <a:gd name="T6" fmla="*/ 0 w 24"/>
                <a:gd name="T7" fmla="*/ 10 h 187"/>
                <a:gd name="T8" fmla="*/ 11 w 24"/>
                <a:gd name="T9" fmla="*/ 0 h 187"/>
                <a:gd name="T10" fmla="*/ 14 w 24"/>
                <a:gd name="T11" fmla="*/ 0 h 187"/>
                <a:gd name="T12" fmla="*/ 24 w 24"/>
                <a:gd name="T13" fmla="*/ 10 h 187"/>
                <a:gd name="T14" fmla="*/ 24 w 24"/>
                <a:gd name="T15" fmla="*/ 183 h 187"/>
                <a:gd name="T16" fmla="*/ 21 w 24"/>
                <a:gd name="T17" fmla="*/ 187 h 187"/>
                <a:gd name="T18" fmla="*/ 7 w 24"/>
                <a:gd name="T19" fmla="*/ 180 h 187"/>
                <a:gd name="T20" fmla="*/ 17 w 24"/>
                <a:gd name="T21" fmla="*/ 180 h 187"/>
                <a:gd name="T22" fmla="*/ 17 w 24"/>
                <a:gd name="T23" fmla="*/ 10 h 187"/>
                <a:gd name="T24" fmla="*/ 14 w 24"/>
                <a:gd name="T25" fmla="*/ 7 h 187"/>
                <a:gd name="T26" fmla="*/ 11 w 24"/>
                <a:gd name="T27" fmla="*/ 7 h 187"/>
                <a:gd name="T28" fmla="*/ 7 w 24"/>
                <a:gd name="T29" fmla="*/ 10 h 187"/>
                <a:gd name="T30" fmla="*/ 7 w 24"/>
                <a:gd name="T31" fmla="*/ 18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87">
                  <a:moveTo>
                    <a:pt x="21" y="187"/>
                  </a:moveTo>
                  <a:cubicBezTo>
                    <a:pt x="4" y="187"/>
                    <a:pt x="4" y="187"/>
                    <a:pt x="4" y="187"/>
                  </a:cubicBezTo>
                  <a:cubicBezTo>
                    <a:pt x="2" y="187"/>
                    <a:pt x="0" y="185"/>
                    <a:pt x="0" y="18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24" y="4"/>
                    <a:pt x="24" y="10"/>
                  </a:cubicBezTo>
                  <a:cubicBezTo>
                    <a:pt x="24" y="183"/>
                    <a:pt x="24" y="183"/>
                    <a:pt x="24" y="183"/>
                  </a:cubicBezTo>
                  <a:cubicBezTo>
                    <a:pt x="24" y="185"/>
                    <a:pt x="23" y="187"/>
                    <a:pt x="21" y="187"/>
                  </a:cubicBezTo>
                  <a:close/>
                  <a:moveTo>
                    <a:pt x="7" y="180"/>
                  </a:moveTo>
                  <a:cubicBezTo>
                    <a:pt x="17" y="180"/>
                    <a:pt x="17" y="180"/>
                    <a:pt x="17" y="18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8"/>
                    <a:pt x="16" y="7"/>
                    <a:pt x="14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9" y="7"/>
                    <a:pt x="7" y="8"/>
                    <a:pt x="7" y="10"/>
                  </a:cubicBezTo>
                  <a:lnTo>
                    <a:pt x="7" y="18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1" name="Freeform 1106">
              <a:extLst>
                <a:ext uri="{FF2B5EF4-FFF2-40B4-BE49-F238E27FC236}">
                  <a16:creationId xmlns:a16="http://schemas.microsoft.com/office/drawing/2014/main" id="{162325AD-545C-452F-8725-A4AB0EC69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553" y="2543158"/>
              <a:ext cx="346496" cy="12646"/>
            </a:xfrm>
            <a:custGeom>
              <a:avLst/>
              <a:gdLst>
                <a:gd name="T0" fmla="*/ 187 w 191"/>
                <a:gd name="T1" fmla="*/ 7 h 7"/>
                <a:gd name="T2" fmla="*/ 3 w 191"/>
                <a:gd name="T3" fmla="*/ 7 h 7"/>
                <a:gd name="T4" fmla="*/ 0 w 191"/>
                <a:gd name="T5" fmla="*/ 3 h 7"/>
                <a:gd name="T6" fmla="*/ 3 w 191"/>
                <a:gd name="T7" fmla="*/ 0 h 7"/>
                <a:gd name="T8" fmla="*/ 187 w 191"/>
                <a:gd name="T9" fmla="*/ 0 h 7"/>
                <a:gd name="T10" fmla="*/ 191 w 191"/>
                <a:gd name="T11" fmla="*/ 3 h 7"/>
                <a:gd name="T12" fmla="*/ 187 w 19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">
                  <a:moveTo>
                    <a:pt x="18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9" y="0"/>
                    <a:pt x="191" y="2"/>
                    <a:pt x="191" y="3"/>
                  </a:cubicBezTo>
                  <a:cubicBezTo>
                    <a:pt x="191" y="5"/>
                    <a:pt x="189" y="7"/>
                    <a:pt x="187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2" name="Freeform 1107">
              <a:extLst>
                <a:ext uri="{FF2B5EF4-FFF2-40B4-BE49-F238E27FC236}">
                  <a16:creationId xmlns:a16="http://schemas.microsoft.com/office/drawing/2014/main" id="{685A6AF8-177F-49DF-984F-5C8886EDD2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90039" y="2147342"/>
              <a:ext cx="44260" cy="4299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7 h 24"/>
                <a:gd name="T12" fmla="*/ 7 w 24"/>
                <a:gd name="T13" fmla="*/ 12 h 24"/>
                <a:gd name="T14" fmla="*/ 12 w 24"/>
                <a:gd name="T15" fmla="*/ 17 h 24"/>
                <a:gd name="T16" fmla="*/ 17 w 24"/>
                <a:gd name="T17" fmla="*/ 12 h 24"/>
                <a:gd name="T18" fmla="*/ 12 w 24"/>
                <a:gd name="T19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7"/>
                  </a:moveTo>
                  <a:cubicBezTo>
                    <a:pt x="10" y="7"/>
                    <a:pt x="7" y="9"/>
                    <a:pt x="7" y="12"/>
                  </a:cubicBezTo>
                  <a:cubicBezTo>
                    <a:pt x="7" y="15"/>
                    <a:pt x="10" y="17"/>
                    <a:pt x="12" y="17"/>
                  </a:cubicBezTo>
                  <a:cubicBezTo>
                    <a:pt x="15" y="17"/>
                    <a:pt x="17" y="15"/>
                    <a:pt x="17" y="12"/>
                  </a:cubicBezTo>
                  <a:cubicBezTo>
                    <a:pt x="17" y="9"/>
                    <a:pt x="15" y="7"/>
                    <a:pt x="12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3" name="Freeform 1108">
              <a:extLst>
                <a:ext uri="{FF2B5EF4-FFF2-40B4-BE49-F238E27FC236}">
                  <a16:creationId xmlns:a16="http://schemas.microsoft.com/office/drawing/2014/main" id="{1E7B6991-31FB-4974-9205-0507FA19A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1654" y="2209307"/>
              <a:ext cx="196011" cy="103696"/>
            </a:xfrm>
            <a:custGeom>
              <a:avLst/>
              <a:gdLst>
                <a:gd name="T0" fmla="*/ 79 w 108"/>
                <a:gd name="T1" fmla="*/ 57 h 57"/>
                <a:gd name="T2" fmla="*/ 4 w 108"/>
                <a:gd name="T3" fmla="*/ 57 h 57"/>
                <a:gd name="T4" fmla="*/ 0 w 108"/>
                <a:gd name="T5" fmla="*/ 53 h 57"/>
                <a:gd name="T6" fmla="*/ 0 w 108"/>
                <a:gd name="T7" fmla="*/ 3 h 57"/>
                <a:gd name="T8" fmla="*/ 4 w 108"/>
                <a:gd name="T9" fmla="*/ 0 h 57"/>
                <a:gd name="T10" fmla="*/ 79 w 108"/>
                <a:gd name="T11" fmla="*/ 0 h 57"/>
                <a:gd name="T12" fmla="*/ 81 w 108"/>
                <a:gd name="T13" fmla="*/ 1 h 57"/>
                <a:gd name="T14" fmla="*/ 107 w 108"/>
                <a:gd name="T15" fmla="*/ 26 h 57"/>
                <a:gd name="T16" fmla="*/ 107 w 108"/>
                <a:gd name="T17" fmla="*/ 31 h 57"/>
                <a:gd name="T18" fmla="*/ 81 w 108"/>
                <a:gd name="T19" fmla="*/ 56 h 57"/>
                <a:gd name="T20" fmla="*/ 79 w 108"/>
                <a:gd name="T21" fmla="*/ 57 h 57"/>
                <a:gd name="T22" fmla="*/ 7 w 108"/>
                <a:gd name="T23" fmla="*/ 50 h 57"/>
                <a:gd name="T24" fmla="*/ 78 w 108"/>
                <a:gd name="T25" fmla="*/ 50 h 57"/>
                <a:gd name="T26" fmla="*/ 99 w 108"/>
                <a:gd name="T27" fmla="*/ 28 h 57"/>
                <a:gd name="T28" fmla="*/ 78 w 108"/>
                <a:gd name="T29" fmla="*/ 6 h 57"/>
                <a:gd name="T30" fmla="*/ 7 w 108"/>
                <a:gd name="T31" fmla="*/ 6 h 57"/>
                <a:gd name="T32" fmla="*/ 7 w 108"/>
                <a:gd name="T33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57">
                  <a:moveTo>
                    <a:pt x="79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5"/>
                    <a:pt x="0" y="5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0" y="0"/>
                    <a:pt x="81" y="0"/>
                    <a:pt x="81" y="1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8" y="27"/>
                    <a:pt x="108" y="29"/>
                    <a:pt x="107" y="31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0" y="57"/>
                    <a:pt x="79" y="57"/>
                  </a:cubicBezTo>
                  <a:close/>
                  <a:moveTo>
                    <a:pt x="7" y="50"/>
                  </a:moveTo>
                  <a:cubicBezTo>
                    <a:pt x="78" y="50"/>
                    <a:pt x="78" y="50"/>
                    <a:pt x="78" y="50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5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4" name="Freeform 1109">
              <a:extLst>
                <a:ext uri="{FF2B5EF4-FFF2-40B4-BE49-F238E27FC236}">
                  <a16:creationId xmlns:a16="http://schemas.microsoft.com/office/drawing/2014/main" id="{CC598EEE-E126-4595-8075-24579F26EA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9203" y="2300357"/>
              <a:ext cx="193482" cy="102431"/>
            </a:xfrm>
            <a:custGeom>
              <a:avLst/>
              <a:gdLst>
                <a:gd name="T0" fmla="*/ 104 w 107"/>
                <a:gd name="T1" fmla="*/ 57 h 57"/>
                <a:gd name="T2" fmla="*/ 28 w 107"/>
                <a:gd name="T3" fmla="*/ 57 h 57"/>
                <a:gd name="T4" fmla="*/ 26 w 107"/>
                <a:gd name="T5" fmla="*/ 56 h 57"/>
                <a:gd name="T6" fmla="*/ 1 w 107"/>
                <a:gd name="T7" fmla="*/ 31 h 57"/>
                <a:gd name="T8" fmla="*/ 1 w 107"/>
                <a:gd name="T9" fmla="*/ 26 h 57"/>
                <a:gd name="T10" fmla="*/ 26 w 107"/>
                <a:gd name="T11" fmla="*/ 1 h 57"/>
                <a:gd name="T12" fmla="*/ 28 w 107"/>
                <a:gd name="T13" fmla="*/ 0 h 57"/>
                <a:gd name="T14" fmla="*/ 104 w 107"/>
                <a:gd name="T15" fmla="*/ 0 h 57"/>
                <a:gd name="T16" fmla="*/ 107 w 107"/>
                <a:gd name="T17" fmla="*/ 3 h 57"/>
                <a:gd name="T18" fmla="*/ 107 w 107"/>
                <a:gd name="T19" fmla="*/ 54 h 57"/>
                <a:gd name="T20" fmla="*/ 104 w 107"/>
                <a:gd name="T21" fmla="*/ 57 h 57"/>
                <a:gd name="T22" fmla="*/ 30 w 107"/>
                <a:gd name="T23" fmla="*/ 50 h 57"/>
                <a:gd name="T24" fmla="*/ 100 w 107"/>
                <a:gd name="T25" fmla="*/ 50 h 57"/>
                <a:gd name="T26" fmla="*/ 100 w 107"/>
                <a:gd name="T27" fmla="*/ 7 h 57"/>
                <a:gd name="T28" fmla="*/ 30 w 107"/>
                <a:gd name="T29" fmla="*/ 7 h 57"/>
                <a:gd name="T30" fmla="*/ 8 w 107"/>
                <a:gd name="T31" fmla="*/ 28 h 57"/>
                <a:gd name="T32" fmla="*/ 30 w 107"/>
                <a:gd name="T33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57">
                  <a:moveTo>
                    <a:pt x="104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7" y="57"/>
                    <a:pt x="26" y="56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0"/>
                    <a:pt x="0" y="27"/>
                    <a:pt x="1" y="2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7" y="3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7" y="55"/>
                    <a:pt x="106" y="57"/>
                    <a:pt x="104" y="57"/>
                  </a:cubicBezTo>
                  <a:close/>
                  <a:moveTo>
                    <a:pt x="30" y="50"/>
                  </a:moveTo>
                  <a:cubicBezTo>
                    <a:pt x="100" y="50"/>
                    <a:pt x="100" y="50"/>
                    <a:pt x="100" y="50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30" y="5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5" name="Freeform 1110">
              <a:extLst>
                <a:ext uri="{FF2B5EF4-FFF2-40B4-BE49-F238E27FC236}">
                  <a16:creationId xmlns:a16="http://schemas.microsoft.com/office/drawing/2014/main" id="{10944F69-5283-4700-BEE5-7FF6A835B4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44514" y="2505220"/>
              <a:ext cx="135311" cy="50583"/>
            </a:xfrm>
            <a:custGeom>
              <a:avLst/>
              <a:gdLst>
                <a:gd name="T0" fmla="*/ 71 w 74"/>
                <a:gd name="T1" fmla="*/ 28 h 28"/>
                <a:gd name="T2" fmla="*/ 4 w 74"/>
                <a:gd name="T3" fmla="*/ 28 h 28"/>
                <a:gd name="T4" fmla="*/ 0 w 74"/>
                <a:gd name="T5" fmla="*/ 24 h 28"/>
                <a:gd name="T6" fmla="*/ 0 w 74"/>
                <a:gd name="T7" fmla="*/ 21 h 28"/>
                <a:gd name="T8" fmla="*/ 21 w 74"/>
                <a:gd name="T9" fmla="*/ 0 h 28"/>
                <a:gd name="T10" fmla="*/ 54 w 74"/>
                <a:gd name="T11" fmla="*/ 0 h 28"/>
                <a:gd name="T12" fmla="*/ 74 w 74"/>
                <a:gd name="T13" fmla="*/ 21 h 28"/>
                <a:gd name="T14" fmla="*/ 74 w 74"/>
                <a:gd name="T15" fmla="*/ 24 h 28"/>
                <a:gd name="T16" fmla="*/ 71 w 74"/>
                <a:gd name="T17" fmla="*/ 28 h 28"/>
                <a:gd name="T18" fmla="*/ 7 w 74"/>
                <a:gd name="T19" fmla="*/ 21 h 28"/>
                <a:gd name="T20" fmla="*/ 67 w 74"/>
                <a:gd name="T21" fmla="*/ 21 h 28"/>
                <a:gd name="T22" fmla="*/ 67 w 74"/>
                <a:gd name="T23" fmla="*/ 21 h 28"/>
                <a:gd name="T24" fmla="*/ 54 w 74"/>
                <a:gd name="T25" fmla="*/ 7 h 28"/>
                <a:gd name="T26" fmla="*/ 21 w 74"/>
                <a:gd name="T27" fmla="*/ 7 h 28"/>
                <a:gd name="T28" fmla="*/ 7 w 74"/>
                <a:gd name="T29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28">
                  <a:moveTo>
                    <a:pt x="71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2" y="28"/>
                    <a:pt x="0" y="26"/>
                    <a:pt x="0" y="2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5" y="0"/>
                    <a:pt x="74" y="9"/>
                    <a:pt x="74" y="21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6"/>
                    <a:pt x="73" y="28"/>
                    <a:pt x="71" y="28"/>
                  </a:cubicBezTo>
                  <a:close/>
                  <a:moveTo>
                    <a:pt x="7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13"/>
                    <a:pt x="61" y="7"/>
                    <a:pt x="54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3" y="7"/>
                    <a:pt x="7" y="13"/>
                    <a:pt x="7" y="2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6" name="Freeform 1111">
              <a:extLst>
                <a:ext uri="{FF2B5EF4-FFF2-40B4-BE49-F238E27FC236}">
                  <a16:creationId xmlns:a16="http://schemas.microsoft.com/office/drawing/2014/main" id="{7753F46F-FAEE-4A9E-9397-EF5E56315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9591" y="2238392"/>
              <a:ext cx="88521" cy="12646"/>
            </a:xfrm>
            <a:custGeom>
              <a:avLst/>
              <a:gdLst>
                <a:gd name="T0" fmla="*/ 46 w 49"/>
                <a:gd name="T1" fmla="*/ 7 h 7"/>
                <a:gd name="T2" fmla="*/ 4 w 49"/>
                <a:gd name="T3" fmla="*/ 7 h 7"/>
                <a:gd name="T4" fmla="*/ 0 w 49"/>
                <a:gd name="T5" fmla="*/ 4 h 7"/>
                <a:gd name="T6" fmla="*/ 4 w 49"/>
                <a:gd name="T7" fmla="*/ 0 h 7"/>
                <a:gd name="T8" fmla="*/ 46 w 49"/>
                <a:gd name="T9" fmla="*/ 0 h 7"/>
                <a:gd name="T10" fmla="*/ 49 w 49"/>
                <a:gd name="T11" fmla="*/ 4 h 7"/>
                <a:gd name="T12" fmla="*/ 46 w 4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7">
                  <a:moveTo>
                    <a:pt x="4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9" y="2"/>
                    <a:pt x="49" y="4"/>
                  </a:cubicBezTo>
                  <a:cubicBezTo>
                    <a:pt x="49" y="6"/>
                    <a:pt x="47" y="7"/>
                    <a:pt x="46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7" name="Freeform 1112">
              <a:extLst>
                <a:ext uri="{FF2B5EF4-FFF2-40B4-BE49-F238E27FC236}">
                  <a16:creationId xmlns:a16="http://schemas.microsoft.com/office/drawing/2014/main" id="{F7B22AB3-F095-47D5-A89C-CFF166E09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9591" y="2268742"/>
              <a:ext cx="58171" cy="12646"/>
            </a:xfrm>
            <a:custGeom>
              <a:avLst/>
              <a:gdLst>
                <a:gd name="T0" fmla="*/ 29 w 32"/>
                <a:gd name="T1" fmla="*/ 7 h 7"/>
                <a:gd name="T2" fmla="*/ 4 w 32"/>
                <a:gd name="T3" fmla="*/ 7 h 7"/>
                <a:gd name="T4" fmla="*/ 0 w 32"/>
                <a:gd name="T5" fmla="*/ 4 h 7"/>
                <a:gd name="T6" fmla="*/ 4 w 32"/>
                <a:gd name="T7" fmla="*/ 0 h 7"/>
                <a:gd name="T8" fmla="*/ 29 w 32"/>
                <a:gd name="T9" fmla="*/ 0 h 7"/>
                <a:gd name="T10" fmla="*/ 32 w 32"/>
                <a:gd name="T11" fmla="*/ 4 h 7"/>
                <a:gd name="T12" fmla="*/ 29 w 3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7">
                  <a:moveTo>
                    <a:pt x="2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2"/>
                    <a:pt x="32" y="4"/>
                  </a:cubicBezTo>
                  <a:cubicBezTo>
                    <a:pt x="32" y="5"/>
                    <a:pt x="31" y="7"/>
                    <a:pt x="29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8" name="Freeform 1113">
              <a:extLst>
                <a:ext uri="{FF2B5EF4-FFF2-40B4-BE49-F238E27FC236}">
                  <a16:creationId xmlns:a16="http://schemas.microsoft.com/office/drawing/2014/main" id="{A6F6B363-E9DC-4A51-A320-40B88FFCF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7491" y="2330707"/>
              <a:ext cx="87256" cy="10117"/>
            </a:xfrm>
            <a:custGeom>
              <a:avLst/>
              <a:gdLst>
                <a:gd name="T0" fmla="*/ 45 w 48"/>
                <a:gd name="T1" fmla="*/ 6 h 6"/>
                <a:gd name="T2" fmla="*/ 3 w 48"/>
                <a:gd name="T3" fmla="*/ 6 h 6"/>
                <a:gd name="T4" fmla="*/ 0 w 48"/>
                <a:gd name="T5" fmla="*/ 3 h 6"/>
                <a:gd name="T6" fmla="*/ 3 w 48"/>
                <a:gd name="T7" fmla="*/ 0 h 6"/>
                <a:gd name="T8" fmla="*/ 45 w 48"/>
                <a:gd name="T9" fmla="*/ 0 h 6"/>
                <a:gd name="T10" fmla="*/ 48 w 48"/>
                <a:gd name="T11" fmla="*/ 3 h 6"/>
                <a:gd name="T12" fmla="*/ 45 w 48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6">
                  <a:moveTo>
                    <a:pt x="45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7" y="0"/>
                    <a:pt x="48" y="1"/>
                    <a:pt x="48" y="3"/>
                  </a:cubicBezTo>
                  <a:cubicBezTo>
                    <a:pt x="48" y="5"/>
                    <a:pt x="47" y="6"/>
                    <a:pt x="45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19" name="Freeform 1114">
              <a:extLst>
                <a:ext uri="{FF2B5EF4-FFF2-40B4-BE49-F238E27FC236}">
                  <a16:creationId xmlns:a16="http://schemas.microsoft.com/office/drawing/2014/main" id="{C9209493-F818-4196-937C-8D6366060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6577" y="2359793"/>
              <a:ext cx="58171" cy="12646"/>
            </a:xfrm>
            <a:custGeom>
              <a:avLst/>
              <a:gdLst>
                <a:gd name="T0" fmla="*/ 29 w 32"/>
                <a:gd name="T1" fmla="*/ 7 h 7"/>
                <a:gd name="T2" fmla="*/ 4 w 32"/>
                <a:gd name="T3" fmla="*/ 7 h 7"/>
                <a:gd name="T4" fmla="*/ 0 w 32"/>
                <a:gd name="T5" fmla="*/ 4 h 7"/>
                <a:gd name="T6" fmla="*/ 4 w 32"/>
                <a:gd name="T7" fmla="*/ 0 h 7"/>
                <a:gd name="T8" fmla="*/ 29 w 32"/>
                <a:gd name="T9" fmla="*/ 0 h 7"/>
                <a:gd name="T10" fmla="*/ 32 w 32"/>
                <a:gd name="T11" fmla="*/ 4 h 7"/>
                <a:gd name="T12" fmla="*/ 29 w 3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7">
                  <a:moveTo>
                    <a:pt x="2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2"/>
                    <a:pt x="32" y="4"/>
                  </a:cubicBezTo>
                  <a:cubicBezTo>
                    <a:pt x="32" y="6"/>
                    <a:pt x="31" y="7"/>
                    <a:pt x="29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6" name="Agrupar 1705">
            <a:extLst>
              <a:ext uri="{FF2B5EF4-FFF2-40B4-BE49-F238E27FC236}">
                <a16:creationId xmlns:a16="http://schemas.microsoft.com/office/drawing/2014/main" id="{5A106EBA-CFDF-4987-BFD0-EF07E03D0AD4}"/>
              </a:ext>
            </a:extLst>
          </p:cNvPr>
          <p:cNvGrpSpPr/>
          <p:nvPr/>
        </p:nvGrpSpPr>
        <p:grpSpPr>
          <a:xfrm>
            <a:off x="10379427" y="1415147"/>
            <a:ext cx="409725" cy="407197"/>
            <a:chOff x="11061039" y="1415147"/>
            <a:chExt cx="409725" cy="407197"/>
          </a:xfrm>
        </p:grpSpPr>
        <p:sp>
          <p:nvSpPr>
            <p:cNvPr id="1320" name="Freeform 1115">
              <a:extLst>
                <a:ext uri="{FF2B5EF4-FFF2-40B4-BE49-F238E27FC236}">
                  <a16:creationId xmlns:a16="http://schemas.microsoft.com/office/drawing/2014/main" id="{B8DCE61B-A153-482B-844A-DCD6CECB38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1389" y="1597248"/>
              <a:ext cx="346496" cy="225096"/>
            </a:xfrm>
            <a:custGeom>
              <a:avLst/>
              <a:gdLst>
                <a:gd name="T0" fmla="*/ 134 w 191"/>
                <a:gd name="T1" fmla="*/ 124 h 124"/>
                <a:gd name="T2" fmla="*/ 57 w 191"/>
                <a:gd name="T3" fmla="*/ 124 h 124"/>
                <a:gd name="T4" fmla="*/ 56 w 191"/>
                <a:gd name="T5" fmla="*/ 124 h 124"/>
                <a:gd name="T6" fmla="*/ 0 w 191"/>
                <a:gd name="T7" fmla="*/ 37 h 124"/>
                <a:gd name="T8" fmla="*/ 6 w 191"/>
                <a:gd name="T9" fmla="*/ 2 h 124"/>
                <a:gd name="T10" fmla="*/ 10 w 191"/>
                <a:gd name="T11" fmla="*/ 0 h 124"/>
                <a:gd name="T12" fmla="*/ 181 w 191"/>
                <a:gd name="T13" fmla="*/ 0 h 124"/>
                <a:gd name="T14" fmla="*/ 185 w 191"/>
                <a:gd name="T15" fmla="*/ 2 h 124"/>
                <a:gd name="T16" fmla="*/ 191 w 191"/>
                <a:gd name="T17" fmla="*/ 37 h 124"/>
                <a:gd name="T18" fmla="*/ 135 w 191"/>
                <a:gd name="T19" fmla="*/ 124 h 124"/>
                <a:gd name="T20" fmla="*/ 134 w 191"/>
                <a:gd name="T21" fmla="*/ 124 h 124"/>
                <a:gd name="T22" fmla="*/ 58 w 191"/>
                <a:gd name="T23" fmla="*/ 117 h 124"/>
                <a:gd name="T24" fmla="*/ 133 w 191"/>
                <a:gd name="T25" fmla="*/ 117 h 124"/>
                <a:gd name="T26" fmla="*/ 184 w 191"/>
                <a:gd name="T27" fmla="*/ 37 h 124"/>
                <a:gd name="T28" fmla="*/ 179 w 191"/>
                <a:gd name="T29" fmla="*/ 6 h 124"/>
                <a:gd name="T30" fmla="*/ 12 w 191"/>
                <a:gd name="T31" fmla="*/ 6 h 124"/>
                <a:gd name="T32" fmla="*/ 7 w 191"/>
                <a:gd name="T33" fmla="*/ 37 h 124"/>
                <a:gd name="T34" fmla="*/ 58 w 191"/>
                <a:gd name="T35" fmla="*/ 11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1" h="124">
                  <a:moveTo>
                    <a:pt x="134" y="124"/>
                  </a:moveTo>
                  <a:cubicBezTo>
                    <a:pt x="57" y="124"/>
                    <a:pt x="57" y="124"/>
                    <a:pt x="57" y="124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22" y="108"/>
                    <a:pt x="0" y="74"/>
                    <a:pt x="0" y="37"/>
                  </a:cubicBezTo>
                  <a:cubicBezTo>
                    <a:pt x="0" y="25"/>
                    <a:pt x="2" y="13"/>
                    <a:pt x="6" y="2"/>
                  </a:cubicBezTo>
                  <a:cubicBezTo>
                    <a:pt x="7" y="1"/>
                    <a:pt x="8" y="0"/>
                    <a:pt x="10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83" y="0"/>
                    <a:pt x="184" y="1"/>
                    <a:pt x="185" y="2"/>
                  </a:cubicBezTo>
                  <a:cubicBezTo>
                    <a:pt x="189" y="13"/>
                    <a:pt x="191" y="25"/>
                    <a:pt x="191" y="37"/>
                  </a:cubicBezTo>
                  <a:cubicBezTo>
                    <a:pt x="191" y="74"/>
                    <a:pt x="169" y="108"/>
                    <a:pt x="135" y="124"/>
                  </a:cubicBezTo>
                  <a:cubicBezTo>
                    <a:pt x="135" y="124"/>
                    <a:pt x="134" y="124"/>
                    <a:pt x="134" y="124"/>
                  </a:cubicBezTo>
                  <a:close/>
                  <a:moveTo>
                    <a:pt x="58" y="117"/>
                  </a:moveTo>
                  <a:cubicBezTo>
                    <a:pt x="133" y="117"/>
                    <a:pt x="133" y="117"/>
                    <a:pt x="133" y="117"/>
                  </a:cubicBezTo>
                  <a:cubicBezTo>
                    <a:pt x="164" y="102"/>
                    <a:pt x="184" y="71"/>
                    <a:pt x="184" y="37"/>
                  </a:cubicBezTo>
                  <a:cubicBezTo>
                    <a:pt x="184" y="26"/>
                    <a:pt x="182" y="16"/>
                    <a:pt x="179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8" y="16"/>
                    <a:pt x="7" y="26"/>
                    <a:pt x="7" y="37"/>
                  </a:cubicBezTo>
                  <a:cubicBezTo>
                    <a:pt x="7" y="71"/>
                    <a:pt x="27" y="102"/>
                    <a:pt x="58" y="1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1" name="Freeform 1116">
              <a:extLst>
                <a:ext uri="{FF2B5EF4-FFF2-40B4-BE49-F238E27FC236}">
                  <a16:creationId xmlns:a16="http://schemas.microsoft.com/office/drawing/2014/main" id="{7042A28F-9B31-472A-B179-4B66F13921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1389" y="1597248"/>
              <a:ext cx="346496" cy="225096"/>
            </a:xfrm>
            <a:custGeom>
              <a:avLst/>
              <a:gdLst>
                <a:gd name="T0" fmla="*/ 134 w 191"/>
                <a:gd name="T1" fmla="*/ 124 h 124"/>
                <a:gd name="T2" fmla="*/ 57 w 191"/>
                <a:gd name="T3" fmla="*/ 124 h 124"/>
                <a:gd name="T4" fmla="*/ 56 w 191"/>
                <a:gd name="T5" fmla="*/ 124 h 124"/>
                <a:gd name="T6" fmla="*/ 0 w 191"/>
                <a:gd name="T7" fmla="*/ 37 h 124"/>
                <a:gd name="T8" fmla="*/ 6 w 191"/>
                <a:gd name="T9" fmla="*/ 2 h 124"/>
                <a:gd name="T10" fmla="*/ 10 w 191"/>
                <a:gd name="T11" fmla="*/ 0 h 124"/>
                <a:gd name="T12" fmla="*/ 181 w 191"/>
                <a:gd name="T13" fmla="*/ 0 h 124"/>
                <a:gd name="T14" fmla="*/ 185 w 191"/>
                <a:gd name="T15" fmla="*/ 2 h 124"/>
                <a:gd name="T16" fmla="*/ 191 w 191"/>
                <a:gd name="T17" fmla="*/ 37 h 124"/>
                <a:gd name="T18" fmla="*/ 135 w 191"/>
                <a:gd name="T19" fmla="*/ 124 h 124"/>
                <a:gd name="T20" fmla="*/ 134 w 191"/>
                <a:gd name="T21" fmla="*/ 124 h 124"/>
                <a:gd name="T22" fmla="*/ 58 w 191"/>
                <a:gd name="T23" fmla="*/ 117 h 124"/>
                <a:gd name="T24" fmla="*/ 133 w 191"/>
                <a:gd name="T25" fmla="*/ 117 h 124"/>
                <a:gd name="T26" fmla="*/ 184 w 191"/>
                <a:gd name="T27" fmla="*/ 37 h 124"/>
                <a:gd name="T28" fmla="*/ 179 w 191"/>
                <a:gd name="T29" fmla="*/ 6 h 124"/>
                <a:gd name="T30" fmla="*/ 12 w 191"/>
                <a:gd name="T31" fmla="*/ 6 h 124"/>
                <a:gd name="T32" fmla="*/ 7 w 191"/>
                <a:gd name="T33" fmla="*/ 37 h 124"/>
                <a:gd name="T34" fmla="*/ 58 w 191"/>
                <a:gd name="T35" fmla="*/ 11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1" h="124">
                  <a:moveTo>
                    <a:pt x="134" y="124"/>
                  </a:moveTo>
                  <a:cubicBezTo>
                    <a:pt x="57" y="124"/>
                    <a:pt x="57" y="124"/>
                    <a:pt x="57" y="124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22" y="108"/>
                    <a:pt x="0" y="74"/>
                    <a:pt x="0" y="37"/>
                  </a:cubicBezTo>
                  <a:cubicBezTo>
                    <a:pt x="0" y="25"/>
                    <a:pt x="2" y="13"/>
                    <a:pt x="6" y="2"/>
                  </a:cubicBezTo>
                  <a:cubicBezTo>
                    <a:pt x="7" y="1"/>
                    <a:pt x="8" y="0"/>
                    <a:pt x="10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83" y="0"/>
                    <a:pt x="184" y="1"/>
                    <a:pt x="185" y="2"/>
                  </a:cubicBezTo>
                  <a:cubicBezTo>
                    <a:pt x="189" y="13"/>
                    <a:pt x="191" y="25"/>
                    <a:pt x="191" y="37"/>
                  </a:cubicBezTo>
                  <a:cubicBezTo>
                    <a:pt x="191" y="74"/>
                    <a:pt x="169" y="108"/>
                    <a:pt x="135" y="124"/>
                  </a:cubicBezTo>
                  <a:cubicBezTo>
                    <a:pt x="135" y="124"/>
                    <a:pt x="134" y="124"/>
                    <a:pt x="134" y="124"/>
                  </a:cubicBezTo>
                  <a:close/>
                  <a:moveTo>
                    <a:pt x="58" y="117"/>
                  </a:moveTo>
                  <a:cubicBezTo>
                    <a:pt x="133" y="117"/>
                    <a:pt x="133" y="117"/>
                    <a:pt x="133" y="117"/>
                  </a:cubicBezTo>
                  <a:cubicBezTo>
                    <a:pt x="164" y="102"/>
                    <a:pt x="184" y="71"/>
                    <a:pt x="184" y="37"/>
                  </a:cubicBezTo>
                  <a:cubicBezTo>
                    <a:pt x="184" y="26"/>
                    <a:pt x="182" y="16"/>
                    <a:pt x="179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8" y="16"/>
                    <a:pt x="7" y="26"/>
                    <a:pt x="7" y="37"/>
                  </a:cubicBezTo>
                  <a:cubicBezTo>
                    <a:pt x="7" y="71"/>
                    <a:pt x="27" y="102"/>
                    <a:pt x="58" y="1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2" name="Freeform 1117">
              <a:extLst>
                <a:ext uri="{FF2B5EF4-FFF2-40B4-BE49-F238E27FC236}">
                  <a16:creationId xmlns:a16="http://schemas.microsoft.com/office/drawing/2014/main" id="{6CCC19A4-9753-48D7-8812-BB4B00393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279" y="1776819"/>
              <a:ext cx="17704" cy="15175"/>
            </a:xfrm>
            <a:custGeom>
              <a:avLst/>
              <a:gdLst>
                <a:gd name="T0" fmla="*/ 4 w 10"/>
                <a:gd name="T1" fmla="*/ 8 h 8"/>
                <a:gd name="T2" fmla="*/ 1 w 10"/>
                <a:gd name="T3" fmla="*/ 6 h 8"/>
                <a:gd name="T4" fmla="*/ 2 w 10"/>
                <a:gd name="T5" fmla="*/ 2 h 8"/>
                <a:gd name="T6" fmla="*/ 4 w 10"/>
                <a:gd name="T7" fmla="*/ 1 h 8"/>
                <a:gd name="T8" fmla="*/ 9 w 10"/>
                <a:gd name="T9" fmla="*/ 2 h 8"/>
                <a:gd name="T10" fmla="*/ 8 w 10"/>
                <a:gd name="T11" fmla="*/ 7 h 8"/>
                <a:gd name="T12" fmla="*/ 6 w 10"/>
                <a:gd name="T13" fmla="*/ 8 h 8"/>
                <a:gd name="T14" fmla="*/ 4 w 10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8">
                  <a:moveTo>
                    <a:pt x="4" y="8"/>
                  </a:moveTo>
                  <a:cubicBezTo>
                    <a:pt x="3" y="8"/>
                    <a:pt x="2" y="7"/>
                    <a:pt x="1" y="6"/>
                  </a:cubicBezTo>
                  <a:cubicBezTo>
                    <a:pt x="0" y="5"/>
                    <a:pt x="1" y="2"/>
                    <a:pt x="2" y="2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6" y="0"/>
                    <a:pt x="8" y="0"/>
                    <a:pt x="9" y="2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7" y="7"/>
                    <a:pt x="6" y="7"/>
                    <a:pt x="6" y="8"/>
                  </a:cubicBezTo>
                  <a:cubicBezTo>
                    <a:pt x="5" y="8"/>
                    <a:pt x="5" y="8"/>
                    <a:pt x="4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3" name="Freeform 1118">
              <a:extLst>
                <a:ext uri="{FF2B5EF4-FFF2-40B4-BE49-F238E27FC236}">
                  <a16:creationId xmlns:a16="http://schemas.microsoft.com/office/drawing/2014/main" id="{B6E25DEA-6B16-4E41-A579-C03EBCB9E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0629" y="1671858"/>
              <a:ext cx="56906" cy="98638"/>
            </a:xfrm>
            <a:custGeom>
              <a:avLst/>
              <a:gdLst>
                <a:gd name="T0" fmla="*/ 4 w 31"/>
                <a:gd name="T1" fmla="*/ 54 h 54"/>
                <a:gd name="T2" fmla="*/ 1 w 31"/>
                <a:gd name="T3" fmla="*/ 53 h 54"/>
                <a:gd name="T4" fmla="*/ 1 w 31"/>
                <a:gd name="T5" fmla="*/ 49 h 54"/>
                <a:gd name="T6" fmla="*/ 24 w 31"/>
                <a:gd name="T7" fmla="*/ 4 h 54"/>
                <a:gd name="T8" fmla="*/ 28 w 31"/>
                <a:gd name="T9" fmla="*/ 1 h 54"/>
                <a:gd name="T10" fmla="*/ 31 w 31"/>
                <a:gd name="T11" fmla="*/ 4 h 54"/>
                <a:gd name="T12" fmla="*/ 6 w 31"/>
                <a:gd name="T13" fmla="*/ 54 h 54"/>
                <a:gd name="T14" fmla="*/ 4 w 31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54">
                  <a:moveTo>
                    <a:pt x="4" y="54"/>
                  </a:moveTo>
                  <a:cubicBezTo>
                    <a:pt x="3" y="54"/>
                    <a:pt x="2" y="54"/>
                    <a:pt x="1" y="53"/>
                  </a:cubicBezTo>
                  <a:cubicBezTo>
                    <a:pt x="0" y="52"/>
                    <a:pt x="0" y="50"/>
                    <a:pt x="1" y="49"/>
                  </a:cubicBezTo>
                  <a:cubicBezTo>
                    <a:pt x="14" y="37"/>
                    <a:pt x="22" y="21"/>
                    <a:pt x="24" y="4"/>
                  </a:cubicBezTo>
                  <a:cubicBezTo>
                    <a:pt x="24" y="2"/>
                    <a:pt x="26" y="0"/>
                    <a:pt x="28" y="1"/>
                  </a:cubicBezTo>
                  <a:cubicBezTo>
                    <a:pt x="30" y="1"/>
                    <a:pt x="31" y="2"/>
                    <a:pt x="31" y="4"/>
                  </a:cubicBezTo>
                  <a:cubicBezTo>
                    <a:pt x="29" y="23"/>
                    <a:pt x="20" y="41"/>
                    <a:pt x="6" y="54"/>
                  </a:cubicBezTo>
                  <a:cubicBezTo>
                    <a:pt x="5" y="54"/>
                    <a:pt x="4" y="54"/>
                    <a:pt x="4" y="5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4" name="Freeform 1119">
              <a:extLst>
                <a:ext uri="{FF2B5EF4-FFF2-40B4-BE49-F238E27FC236}">
                  <a16:creationId xmlns:a16="http://schemas.microsoft.com/office/drawing/2014/main" id="{85CE0F8D-3FDB-4C47-ADDD-866B31120A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05299" y="1542870"/>
              <a:ext cx="317411" cy="65758"/>
            </a:xfrm>
            <a:custGeom>
              <a:avLst/>
              <a:gdLst>
                <a:gd name="T0" fmla="*/ 171 w 175"/>
                <a:gd name="T1" fmla="*/ 36 h 36"/>
                <a:gd name="T2" fmla="*/ 171 w 175"/>
                <a:gd name="T3" fmla="*/ 36 h 36"/>
                <a:gd name="T4" fmla="*/ 4 w 175"/>
                <a:gd name="T5" fmla="*/ 36 h 36"/>
                <a:gd name="T6" fmla="*/ 0 w 175"/>
                <a:gd name="T7" fmla="*/ 34 h 36"/>
                <a:gd name="T8" fmla="*/ 1 w 175"/>
                <a:gd name="T9" fmla="*/ 30 h 36"/>
                <a:gd name="T10" fmla="*/ 35 w 175"/>
                <a:gd name="T11" fmla="*/ 1 h 36"/>
                <a:gd name="T12" fmla="*/ 37 w 175"/>
                <a:gd name="T13" fmla="*/ 0 h 36"/>
                <a:gd name="T14" fmla="*/ 96 w 175"/>
                <a:gd name="T15" fmla="*/ 0 h 36"/>
                <a:gd name="T16" fmla="*/ 99 w 175"/>
                <a:gd name="T17" fmla="*/ 4 h 36"/>
                <a:gd name="T18" fmla="*/ 99 w 175"/>
                <a:gd name="T19" fmla="*/ 11 h 36"/>
                <a:gd name="T20" fmla="*/ 101 w 175"/>
                <a:gd name="T21" fmla="*/ 13 h 36"/>
                <a:gd name="T22" fmla="*/ 103 w 175"/>
                <a:gd name="T23" fmla="*/ 12 h 36"/>
                <a:gd name="T24" fmla="*/ 110 w 175"/>
                <a:gd name="T25" fmla="*/ 2 h 36"/>
                <a:gd name="T26" fmla="*/ 113 w 175"/>
                <a:gd name="T27" fmla="*/ 0 h 36"/>
                <a:gd name="T28" fmla="*/ 138 w 175"/>
                <a:gd name="T29" fmla="*/ 0 h 36"/>
                <a:gd name="T30" fmla="*/ 140 w 175"/>
                <a:gd name="T31" fmla="*/ 1 h 36"/>
                <a:gd name="T32" fmla="*/ 173 w 175"/>
                <a:gd name="T33" fmla="*/ 30 h 36"/>
                <a:gd name="T34" fmla="*/ 175 w 175"/>
                <a:gd name="T35" fmla="*/ 33 h 36"/>
                <a:gd name="T36" fmla="*/ 171 w 175"/>
                <a:gd name="T37" fmla="*/ 36 h 36"/>
                <a:gd name="T38" fmla="*/ 13 w 175"/>
                <a:gd name="T39" fmla="*/ 30 h 36"/>
                <a:gd name="T40" fmla="*/ 162 w 175"/>
                <a:gd name="T41" fmla="*/ 30 h 36"/>
                <a:gd name="T42" fmla="*/ 136 w 175"/>
                <a:gd name="T43" fmla="*/ 7 h 36"/>
                <a:gd name="T44" fmla="*/ 114 w 175"/>
                <a:gd name="T45" fmla="*/ 7 h 36"/>
                <a:gd name="T46" fmla="*/ 109 w 175"/>
                <a:gd name="T47" fmla="*/ 16 h 36"/>
                <a:gd name="T48" fmla="*/ 101 w 175"/>
                <a:gd name="T49" fmla="*/ 20 h 36"/>
                <a:gd name="T50" fmla="*/ 92 w 175"/>
                <a:gd name="T51" fmla="*/ 11 h 36"/>
                <a:gd name="T52" fmla="*/ 92 w 175"/>
                <a:gd name="T53" fmla="*/ 7 h 36"/>
                <a:gd name="T54" fmla="*/ 38 w 175"/>
                <a:gd name="T55" fmla="*/ 7 h 36"/>
                <a:gd name="T56" fmla="*/ 13 w 175"/>
                <a:gd name="T5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5" h="36">
                  <a:moveTo>
                    <a:pt x="171" y="36"/>
                  </a:moveTo>
                  <a:cubicBezTo>
                    <a:pt x="171" y="36"/>
                    <a:pt x="171" y="36"/>
                    <a:pt x="171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" y="36"/>
                    <a:pt x="1" y="36"/>
                    <a:pt x="0" y="34"/>
                  </a:cubicBezTo>
                  <a:cubicBezTo>
                    <a:pt x="0" y="33"/>
                    <a:pt x="0" y="31"/>
                    <a:pt x="1" y="3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6" y="0"/>
                    <a:pt x="37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2"/>
                    <a:pt x="99" y="4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9" y="12"/>
                    <a:pt x="100" y="13"/>
                    <a:pt x="101" y="13"/>
                  </a:cubicBezTo>
                  <a:cubicBezTo>
                    <a:pt x="102" y="13"/>
                    <a:pt x="103" y="13"/>
                    <a:pt x="103" y="1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1"/>
                    <a:pt x="111" y="0"/>
                    <a:pt x="113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9" y="0"/>
                    <a:pt x="139" y="1"/>
                    <a:pt x="140" y="1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4" y="31"/>
                    <a:pt x="175" y="32"/>
                    <a:pt x="175" y="33"/>
                  </a:cubicBezTo>
                  <a:cubicBezTo>
                    <a:pt x="175" y="35"/>
                    <a:pt x="173" y="36"/>
                    <a:pt x="171" y="36"/>
                  </a:cubicBezTo>
                  <a:close/>
                  <a:moveTo>
                    <a:pt x="13" y="30"/>
                  </a:moveTo>
                  <a:cubicBezTo>
                    <a:pt x="162" y="30"/>
                    <a:pt x="162" y="30"/>
                    <a:pt x="162" y="30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07" y="18"/>
                    <a:pt x="104" y="20"/>
                    <a:pt x="101" y="20"/>
                  </a:cubicBezTo>
                  <a:cubicBezTo>
                    <a:pt x="96" y="20"/>
                    <a:pt x="92" y="16"/>
                    <a:pt x="92" y="11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38" y="7"/>
                    <a:pt x="38" y="7"/>
                    <a:pt x="38" y="7"/>
                  </a:cubicBezTo>
                  <a:lnTo>
                    <a:pt x="13" y="3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5" name="Oval 1120">
              <a:extLst>
                <a:ext uri="{FF2B5EF4-FFF2-40B4-BE49-F238E27FC236}">
                  <a16:creationId xmlns:a16="http://schemas.microsoft.com/office/drawing/2014/main" id="{2C8FB5BE-5646-4D04-A2F9-0BB9771D7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96350" y="1732558"/>
              <a:ext cx="15175" cy="15175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6" name="Oval 1121">
              <a:extLst>
                <a:ext uri="{FF2B5EF4-FFF2-40B4-BE49-F238E27FC236}">
                  <a16:creationId xmlns:a16="http://schemas.microsoft.com/office/drawing/2014/main" id="{BA8D03FB-416F-495D-8A60-F359856434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58412" y="1741410"/>
              <a:ext cx="15175" cy="13910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7" name="Oval 1122">
              <a:extLst>
                <a:ext uri="{FF2B5EF4-FFF2-40B4-BE49-F238E27FC236}">
                  <a16:creationId xmlns:a16="http://schemas.microsoft.com/office/drawing/2014/main" id="{00FE7DCD-F4EE-4FDE-B861-7B0B918B5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88762" y="1770496"/>
              <a:ext cx="15175" cy="16440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8" name="Freeform 1123">
              <a:extLst>
                <a:ext uri="{FF2B5EF4-FFF2-40B4-BE49-F238E27FC236}">
                  <a16:creationId xmlns:a16="http://schemas.microsoft.com/office/drawing/2014/main" id="{B332DDF3-1894-46DD-BE4F-78B46845E2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8314" y="1415147"/>
              <a:ext cx="212450" cy="131517"/>
            </a:xfrm>
            <a:custGeom>
              <a:avLst/>
              <a:gdLst>
                <a:gd name="T0" fmla="*/ 113 w 117"/>
                <a:gd name="T1" fmla="*/ 73 h 73"/>
                <a:gd name="T2" fmla="*/ 112 w 117"/>
                <a:gd name="T3" fmla="*/ 72 h 73"/>
                <a:gd name="T4" fmla="*/ 2 w 117"/>
                <a:gd name="T5" fmla="*/ 6 h 73"/>
                <a:gd name="T6" fmla="*/ 0 w 117"/>
                <a:gd name="T7" fmla="*/ 3 h 73"/>
                <a:gd name="T8" fmla="*/ 3 w 117"/>
                <a:gd name="T9" fmla="*/ 0 h 73"/>
                <a:gd name="T10" fmla="*/ 79 w 117"/>
                <a:gd name="T11" fmla="*/ 0 h 73"/>
                <a:gd name="T12" fmla="*/ 82 w 117"/>
                <a:gd name="T13" fmla="*/ 2 h 73"/>
                <a:gd name="T14" fmla="*/ 116 w 117"/>
                <a:gd name="T15" fmla="*/ 68 h 73"/>
                <a:gd name="T16" fmla="*/ 116 w 117"/>
                <a:gd name="T17" fmla="*/ 72 h 73"/>
                <a:gd name="T18" fmla="*/ 113 w 117"/>
                <a:gd name="T19" fmla="*/ 73 h 73"/>
                <a:gd name="T20" fmla="*/ 16 w 117"/>
                <a:gd name="T21" fmla="*/ 7 h 73"/>
                <a:gd name="T22" fmla="*/ 105 w 117"/>
                <a:gd name="T23" fmla="*/ 60 h 73"/>
                <a:gd name="T24" fmla="*/ 77 w 117"/>
                <a:gd name="T25" fmla="*/ 7 h 73"/>
                <a:gd name="T26" fmla="*/ 16 w 117"/>
                <a:gd name="T27" fmla="*/ 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73">
                  <a:moveTo>
                    <a:pt x="113" y="73"/>
                  </a:moveTo>
                  <a:cubicBezTo>
                    <a:pt x="113" y="73"/>
                    <a:pt x="112" y="73"/>
                    <a:pt x="112" y="7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0" y="0"/>
                    <a:pt x="81" y="1"/>
                    <a:pt x="82" y="2"/>
                  </a:cubicBezTo>
                  <a:cubicBezTo>
                    <a:pt x="116" y="68"/>
                    <a:pt x="116" y="68"/>
                    <a:pt x="116" y="68"/>
                  </a:cubicBezTo>
                  <a:cubicBezTo>
                    <a:pt x="117" y="69"/>
                    <a:pt x="117" y="71"/>
                    <a:pt x="116" y="72"/>
                  </a:cubicBezTo>
                  <a:cubicBezTo>
                    <a:pt x="115" y="72"/>
                    <a:pt x="114" y="73"/>
                    <a:pt x="113" y="73"/>
                  </a:cubicBezTo>
                  <a:close/>
                  <a:moveTo>
                    <a:pt x="16" y="7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77" y="7"/>
                    <a:pt x="77" y="7"/>
                    <a:pt x="77" y="7"/>
                  </a:cubicBezTo>
                  <a:lnTo>
                    <a:pt x="16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29" name="Freeform 1124">
              <a:extLst>
                <a:ext uri="{FF2B5EF4-FFF2-40B4-BE49-F238E27FC236}">
                  <a16:creationId xmlns:a16="http://schemas.microsoft.com/office/drawing/2014/main" id="{C4921866-3889-492D-A8CB-677C68403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279" y="1475847"/>
              <a:ext cx="51848" cy="79669"/>
            </a:xfrm>
            <a:custGeom>
              <a:avLst/>
              <a:gdLst>
                <a:gd name="T0" fmla="*/ 4 w 29"/>
                <a:gd name="T1" fmla="*/ 44 h 44"/>
                <a:gd name="T2" fmla="*/ 2 w 29"/>
                <a:gd name="T3" fmla="*/ 44 h 44"/>
                <a:gd name="T4" fmla="*/ 1 w 29"/>
                <a:gd name="T5" fmla="*/ 39 h 44"/>
                <a:gd name="T6" fmla="*/ 22 w 29"/>
                <a:gd name="T7" fmla="*/ 2 h 44"/>
                <a:gd name="T8" fmla="*/ 27 w 29"/>
                <a:gd name="T9" fmla="*/ 1 h 44"/>
                <a:gd name="T10" fmla="*/ 28 w 29"/>
                <a:gd name="T11" fmla="*/ 6 h 44"/>
                <a:gd name="T12" fmla="*/ 7 w 29"/>
                <a:gd name="T13" fmla="*/ 42 h 44"/>
                <a:gd name="T14" fmla="*/ 4 w 29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4" y="44"/>
                  </a:moveTo>
                  <a:cubicBezTo>
                    <a:pt x="3" y="44"/>
                    <a:pt x="2" y="44"/>
                    <a:pt x="2" y="44"/>
                  </a:cubicBezTo>
                  <a:cubicBezTo>
                    <a:pt x="0" y="43"/>
                    <a:pt x="0" y="41"/>
                    <a:pt x="1" y="39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3" y="1"/>
                    <a:pt x="25" y="0"/>
                    <a:pt x="27" y="1"/>
                  </a:cubicBezTo>
                  <a:cubicBezTo>
                    <a:pt x="28" y="2"/>
                    <a:pt x="29" y="4"/>
                    <a:pt x="28" y="6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4"/>
                    <a:pt x="5" y="44"/>
                    <a:pt x="4" y="4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0" name="Freeform 1125">
              <a:extLst>
                <a:ext uri="{FF2B5EF4-FFF2-40B4-BE49-F238E27FC236}">
                  <a16:creationId xmlns:a16="http://schemas.microsoft.com/office/drawing/2014/main" id="{27165C9F-390D-492A-84ED-8E101DBE4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1039" y="1445497"/>
              <a:ext cx="194746" cy="110019"/>
            </a:xfrm>
            <a:custGeom>
              <a:avLst/>
              <a:gdLst>
                <a:gd name="T0" fmla="*/ 105 w 108"/>
                <a:gd name="T1" fmla="*/ 61 h 61"/>
                <a:gd name="T2" fmla="*/ 105 w 108"/>
                <a:gd name="T3" fmla="*/ 61 h 61"/>
                <a:gd name="T4" fmla="*/ 86 w 108"/>
                <a:gd name="T5" fmla="*/ 61 h 61"/>
                <a:gd name="T6" fmla="*/ 83 w 108"/>
                <a:gd name="T7" fmla="*/ 59 h 61"/>
                <a:gd name="T8" fmla="*/ 63 w 108"/>
                <a:gd name="T9" fmla="*/ 26 h 61"/>
                <a:gd name="T10" fmla="*/ 59 w 108"/>
                <a:gd name="T11" fmla="*/ 23 h 61"/>
                <a:gd name="T12" fmla="*/ 3 w 108"/>
                <a:gd name="T13" fmla="*/ 23 h 61"/>
                <a:gd name="T14" fmla="*/ 0 w 108"/>
                <a:gd name="T15" fmla="*/ 20 h 61"/>
                <a:gd name="T16" fmla="*/ 0 w 108"/>
                <a:gd name="T17" fmla="*/ 3 h 61"/>
                <a:gd name="T18" fmla="*/ 3 w 108"/>
                <a:gd name="T19" fmla="*/ 0 h 61"/>
                <a:gd name="T20" fmla="*/ 61 w 108"/>
                <a:gd name="T21" fmla="*/ 0 h 61"/>
                <a:gd name="T22" fmla="*/ 82 w 108"/>
                <a:gd name="T23" fmla="*/ 12 h 61"/>
                <a:gd name="T24" fmla="*/ 108 w 108"/>
                <a:gd name="T25" fmla="*/ 55 h 61"/>
                <a:gd name="T26" fmla="*/ 108 w 108"/>
                <a:gd name="T27" fmla="*/ 58 h 61"/>
                <a:gd name="T28" fmla="*/ 105 w 108"/>
                <a:gd name="T29" fmla="*/ 61 h 61"/>
                <a:gd name="T30" fmla="*/ 88 w 108"/>
                <a:gd name="T31" fmla="*/ 54 h 61"/>
                <a:gd name="T32" fmla="*/ 99 w 108"/>
                <a:gd name="T33" fmla="*/ 54 h 61"/>
                <a:gd name="T34" fmla="*/ 77 w 108"/>
                <a:gd name="T35" fmla="*/ 15 h 61"/>
                <a:gd name="T36" fmla="*/ 61 w 108"/>
                <a:gd name="T37" fmla="*/ 7 h 61"/>
                <a:gd name="T38" fmla="*/ 7 w 108"/>
                <a:gd name="T39" fmla="*/ 7 h 61"/>
                <a:gd name="T40" fmla="*/ 7 w 108"/>
                <a:gd name="T41" fmla="*/ 17 h 61"/>
                <a:gd name="T42" fmla="*/ 59 w 108"/>
                <a:gd name="T43" fmla="*/ 17 h 61"/>
                <a:gd name="T44" fmla="*/ 69 w 108"/>
                <a:gd name="T45" fmla="*/ 22 h 61"/>
                <a:gd name="T46" fmla="*/ 88 w 108"/>
                <a:gd name="T4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61">
                  <a:moveTo>
                    <a:pt x="105" y="61"/>
                  </a:moveTo>
                  <a:cubicBezTo>
                    <a:pt x="105" y="61"/>
                    <a:pt x="105" y="61"/>
                    <a:pt x="105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4" y="61"/>
                    <a:pt x="83" y="60"/>
                    <a:pt x="83" y="59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2" y="24"/>
                    <a:pt x="61" y="23"/>
                    <a:pt x="59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70" y="0"/>
                    <a:pt x="78" y="4"/>
                    <a:pt x="82" y="12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56"/>
                    <a:pt x="108" y="57"/>
                    <a:pt x="108" y="58"/>
                  </a:cubicBezTo>
                  <a:cubicBezTo>
                    <a:pt x="108" y="60"/>
                    <a:pt x="107" y="61"/>
                    <a:pt x="105" y="61"/>
                  </a:cubicBezTo>
                  <a:close/>
                  <a:moveTo>
                    <a:pt x="88" y="54"/>
                  </a:moveTo>
                  <a:cubicBezTo>
                    <a:pt x="99" y="54"/>
                    <a:pt x="99" y="54"/>
                    <a:pt x="99" y="5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3" y="10"/>
                    <a:pt x="68" y="7"/>
                    <a:pt x="61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63" y="17"/>
                    <a:pt x="67" y="19"/>
                    <a:pt x="69" y="22"/>
                  </a:cubicBezTo>
                  <a:lnTo>
                    <a:pt x="88" y="5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7" name="Agrupar 1706">
            <a:extLst>
              <a:ext uri="{FF2B5EF4-FFF2-40B4-BE49-F238E27FC236}">
                <a16:creationId xmlns:a16="http://schemas.microsoft.com/office/drawing/2014/main" id="{FB8FF719-79D0-44DA-847F-B033C9B5450F}"/>
              </a:ext>
            </a:extLst>
          </p:cNvPr>
          <p:cNvGrpSpPr/>
          <p:nvPr/>
        </p:nvGrpSpPr>
        <p:grpSpPr>
          <a:xfrm>
            <a:off x="9611824" y="1415147"/>
            <a:ext cx="408460" cy="407197"/>
            <a:chOff x="10293436" y="1415147"/>
            <a:chExt cx="408460" cy="407197"/>
          </a:xfrm>
        </p:grpSpPr>
        <p:sp>
          <p:nvSpPr>
            <p:cNvPr id="1331" name="Freeform 1126">
              <a:extLst>
                <a:ext uri="{FF2B5EF4-FFF2-40B4-BE49-F238E27FC236}">
                  <a16:creationId xmlns:a16="http://schemas.microsoft.com/office/drawing/2014/main" id="{67412DD0-3B5D-44F5-B67A-D62C2FA43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1625" y="1786935"/>
              <a:ext cx="240271" cy="35408"/>
            </a:xfrm>
            <a:custGeom>
              <a:avLst/>
              <a:gdLst>
                <a:gd name="T0" fmla="*/ 113 w 132"/>
                <a:gd name="T1" fmla="*/ 20 h 20"/>
                <a:gd name="T2" fmla="*/ 109 w 132"/>
                <a:gd name="T3" fmla="*/ 20 h 20"/>
                <a:gd name="T4" fmla="*/ 97 w 132"/>
                <a:gd name="T5" fmla="*/ 12 h 20"/>
                <a:gd name="T6" fmla="*/ 82 w 132"/>
                <a:gd name="T7" fmla="*/ 20 h 20"/>
                <a:gd name="T8" fmla="*/ 82 w 132"/>
                <a:gd name="T9" fmla="*/ 20 h 20"/>
                <a:gd name="T10" fmla="*/ 66 w 132"/>
                <a:gd name="T11" fmla="*/ 12 h 20"/>
                <a:gd name="T12" fmla="*/ 51 w 132"/>
                <a:gd name="T13" fmla="*/ 20 h 20"/>
                <a:gd name="T14" fmla="*/ 51 w 132"/>
                <a:gd name="T15" fmla="*/ 20 h 20"/>
                <a:gd name="T16" fmla="*/ 35 w 132"/>
                <a:gd name="T17" fmla="*/ 12 h 20"/>
                <a:gd name="T18" fmla="*/ 20 w 132"/>
                <a:gd name="T19" fmla="*/ 20 h 20"/>
                <a:gd name="T20" fmla="*/ 20 w 132"/>
                <a:gd name="T21" fmla="*/ 20 h 20"/>
                <a:gd name="T22" fmla="*/ 1 w 132"/>
                <a:gd name="T23" fmla="*/ 5 h 20"/>
                <a:gd name="T24" fmla="*/ 3 w 132"/>
                <a:gd name="T25" fmla="*/ 1 h 20"/>
                <a:gd name="T26" fmla="*/ 7 w 132"/>
                <a:gd name="T27" fmla="*/ 3 h 20"/>
                <a:gd name="T28" fmla="*/ 20 w 132"/>
                <a:gd name="T29" fmla="*/ 13 h 20"/>
                <a:gd name="T30" fmla="*/ 20 w 132"/>
                <a:gd name="T31" fmla="*/ 13 h 20"/>
                <a:gd name="T32" fmla="*/ 32 w 132"/>
                <a:gd name="T33" fmla="*/ 3 h 20"/>
                <a:gd name="T34" fmla="*/ 32 w 132"/>
                <a:gd name="T35" fmla="*/ 3 h 20"/>
                <a:gd name="T36" fmla="*/ 36 w 132"/>
                <a:gd name="T37" fmla="*/ 1 h 20"/>
                <a:gd name="T38" fmla="*/ 39 w 132"/>
                <a:gd name="T39" fmla="*/ 4 h 20"/>
                <a:gd name="T40" fmla="*/ 51 w 132"/>
                <a:gd name="T41" fmla="*/ 13 h 20"/>
                <a:gd name="T42" fmla="*/ 51 w 132"/>
                <a:gd name="T43" fmla="*/ 13 h 20"/>
                <a:gd name="T44" fmla="*/ 63 w 132"/>
                <a:gd name="T45" fmla="*/ 3 h 20"/>
                <a:gd name="T46" fmla="*/ 63 w 132"/>
                <a:gd name="T47" fmla="*/ 3 h 20"/>
                <a:gd name="T48" fmla="*/ 67 w 132"/>
                <a:gd name="T49" fmla="*/ 1 h 20"/>
                <a:gd name="T50" fmla="*/ 70 w 132"/>
                <a:gd name="T51" fmla="*/ 4 h 20"/>
                <a:gd name="T52" fmla="*/ 82 w 132"/>
                <a:gd name="T53" fmla="*/ 13 h 20"/>
                <a:gd name="T54" fmla="*/ 82 w 132"/>
                <a:gd name="T55" fmla="*/ 13 h 20"/>
                <a:gd name="T56" fmla="*/ 94 w 132"/>
                <a:gd name="T57" fmla="*/ 3 h 20"/>
                <a:gd name="T58" fmla="*/ 94 w 132"/>
                <a:gd name="T59" fmla="*/ 2 h 20"/>
                <a:gd name="T60" fmla="*/ 98 w 132"/>
                <a:gd name="T61" fmla="*/ 1 h 20"/>
                <a:gd name="T62" fmla="*/ 101 w 132"/>
                <a:gd name="T63" fmla="*/ 4 h 20"/>
                <a:gd name="T64" fmla="*/ 110 w 132"/>
                <a:gd name="T65" fmla="*/ 13 h 20"/>
                <a:gd name="T66" fmla="*/ 123 w 132"/>
                <a:gd name="T67" fmla="*/ 9 h 20"/>
                <a:gd name="T68" fmla="*/ 125 w 132"/>
                <a:gd name="T69" fmla="*/ 4 h 20"/>
                <a:gd name="T70" fmla="*/ 129 w 132"/>
                <a:gd name="T71" fmla="*/ 1 h 20"/>
                <a:gd name="T72" fmla="*/ 132 w 132"/>
                <a:gd name="T73" fmla="*/ 5 h 20"/>
                <a:gd name="T74" fmla="*/ 132 w 132"/>
                <a:gd name="T75" fmla="*/ 5 h 20"/>
                <a:gd name="T76" fmla="*/ 128 w 132"/>
                <a:gd name="T77" fmla="*/ 13 h 20"/>
                <a:gd name="T78" fmla="*/ 113 w 132"/>
                <a:gd name="T7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2" h="20">
                  <a:moveTo>
                    <a:pt x="113" y="20"/>
                  </a:moveTo>
                  <a:cubicBezTo>
                    <a:pt x="112" y="20"/>
                    <a:pt x="110" y="20"/>
                    <a:pt x="109" y="20"/>
                  </a:cubicBezTo>
                  <a:cubicBezTo>
                    <a:pt x="104" y="19"/>
                    <a:pt x="100" y="16"/>
                    <a:pt x="97" y="12"/>
                  </a:cubicBezTo>
                  <a:cubicBezTo>
                    <a:pt x="93" y="18"/>
                    <a:pt x="87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76" y="20"/>
                    <a:pt x="70" y="18"/>
                    <a:pt x="66" y="12"/>
                  </a:cubicBezTo>
                  <a:cubicBezTo>
                    <a:pt x="62" y="18"/>
                    <a:pt x="56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45" y="20"/>
                    <a:pt x="39" y="18"/>
                    <a:pt x="35" y="12"/>
                  </a:cubicBezTo>
                  <a:cubicBezTo>
                    <a:pt x="31" y="18"/>
                    <a:pt x="25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2" y="20"/>
                    <a:pt x="3" y="15"/>
                    <a:pt x="1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9" y="11"/>
                    <a:pt x="15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4" y="13"/>
                    <a:pt x="30" y="11"/>
                    <a:pt x="32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3" y="1"/>
                    <a:pt x="34" y="1"/>
                    <a:pt x="36" y="1"/>
                  </a:cubicBezTo>
                  <a:cubicBezTo>
                    <a:pt x="37" y="1"/>
                    <a:pt x="38" y="2"/>
                    <a:pt x="39" y="4"/>
                  </a:cubicBezTo>
                  <a:cubicBezTo>
                    <a:pt x="40" y="11"/>
                    <a:pt x="46" y="13"/>
                    <a:pt x="51" y="13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5" y="13"/>
                    <a:pt x="61" y="11"/>
                    <a:pt x="6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4" y="1"/>
                    <a:pt x="66" y="0"/>
                    <a:pt x="67" y="1"/>
                  </a:cubicBezTo>
                  <a:cubicBezTo>
                    <a:pt x="68" y="1"/>
                    <a:pt x="69" y="2"/>
                    <a:pt x="70" y="4"/>
                  </a:cubicBezTo>
                  <a:cubicBezTo>
                    <a:pt x="71" y="11"/>
                    <a:pt x="77" y="13"/>
                    <a:pt x="82" y="13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6" y="13"/>
                    <a:pt x="92" y="11"/>
                    <a:pt x="94" y="3"/>
                  </a:cubicBezTo>
                  <a:cubicBezTo>
                    <a:pt x="94" y="3"/>
                    <a:pt x="94" y="3"/>
                    <a:pt x="94" y="2"/>
                  </a:cubicBezTo>
                  <a:cubicBezTo>
                    <a:pt x="95" y="1"/>
                    <a:pt x="97" y="1"/>
                    <a:pt x="98" y="1"/>
                  </a:cubicBezTo>
                  <a:cubicBezTo>
                    <a:pt x="99" y="1"/>
                    <a:pt x="101" y="2"/>
                    <a:pt x="101" y="4"/>
                  </a:cubicBezTo>
                  <a:cubicBezTo>
                    <a:pt x="102" y="9"/>
                    <a:pt x="105" y="12"/>
                    <a:pt x="110" y="13"/>
                  </a:cubicBezTo>
                  <a:cubicBezTo>
                    <a:pt x="115" y="14"/>
                    <a:pt x="120" y="12"/>
                    <a:pt x="123" y="9"/>
                  </a:cubicBezTo>
                  <a:cubicBezTo>
                    <a:pt x="124" y="7"/>
                    <a:pt x="125" y="5"/>
                    <a:pt x="125" y="4"/>
                  </a:cubicBezTo>
                  <a:cubicBezTo>
                    <a:pt x="126" y="2"/>
                    <a:pt x="128" y="1"/>
                    <a:pt x="129" y="1"/>
                  </a:cubicBezTo>
                  <a:cubicBezTo>
                    <a:pt x="131" y="1"/>
                    <a:pt x="132" y="3"/>
                    <a:pt x="132" y="5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1" y="8"/>
                    <a:pt x="130" y="11"/>
                    <a:pt x="128" y="13"/>
                  </a:cubicBezTo>
                  <a:cubicBezTo>
                    <a:pt x="125" y="17"/>
                    <a:pt x="119" y="20"/>
                    <a:pt x="113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2" name="Freeform 1127">
              <a:extLst>
                <a:ext uri="{FF2B5EF4-FFF2-40B4-BE49-F238E27FC236}">
                  <a16:creationId xmlns:a16="http://schemas.microsoft.com/office/drawing/2014/main" id="{827C9BB2-1E5A-4256-A056-96FCD6E22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5984" y="1788200"/>
              <a:ext cx="68288" cy="34144"/>
            </a:xfrm>
            <a:custGeom>
              <a:avLst/>
              <a:gdLst>
                <a:gd name="T0" fmla="*/ 19 w 38"/>
                <a:gd name="T1" fmla="*/ 19 h 19"/>
                <a:gd name="T2" fmla="*/ 19 w 38"/>
                <a:gd name="T3" fmla="*/ 19 h 19"/>
                <a:gd name="T4" fmla="*/ 1 w 38"/>
                <a:gd name="T5" fmla="*/ 4 h 19"/>
                <a:gd name="T6" fmla="*/ 0 w 38"/>
                <a:gd name="T7" fmla="*/ 3 h 19"/>
                <a:gd name="T8" fmla="*/ 4 w 38"/>
                <a:gd name="T9" fmla="*/ 0 h 19"/>
                <a:gd name="T10" fmla="*/ 7 w 38"/>
                <a:gd name="T11" fmla="*/ 2 h 19"/>
                <a:gd name="T12" fmla="*/ 19 w 38"/>
                <a:gd name="T13" fmla="*/ 12 h 19"/>
                <a:gd name="T14" fmla="*/ 19 w 38"/>
                <a:gd name="T15" fmla="*/ 12 h 19"/>
                <a:gd name="T16" fmla="*/ 32 w 38"/>
                <a:gd name="T17" fmla="*/ 3 h 19"/>
                <a:gd name="T18" fmla="*/ 35 w 38"/>
                <a:gd name="T19" fmla="*/ 0 h 19"/>
                <a:gd name="T20" fmla="*/ 38 w 38"/>
                <a:gd name="T21" fmla="*/ 3 h 19"/>
                <a:gd name="T22" fmla="*/ 38 w 38"/>
                <a:gd name="T23" fmla="*/ 3 h 19"/>
                <a:gd name="T24" fmla="*/ 38 w 38"/>
                <a:gd name="T25" fmla="*/ 4 h 19"/>
                <a:gd name="T26" fmla="*/ 19 w 38"/>
                <a:gd name="T2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19">
                  <a:moveTo>
                    <a:pt x="19" y="19"/>
                  </a:moveTo>
                  <a:cubicBezTo>
                    <a:pt x="19" y="19"/>
                    <a:pt x="19" y="19"/>
                    <a:pt x="19" y="19"/>
                  </a:cubicBezTo>
                  <a:cubicBezTo>
                    <a:pt x="12" y="19"/>
                    <a:pt x="3" y="14"/>
                    <a:pt x="1" y="4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7" y="1"/>
                    <a:pt x="7" y="2"/>
                  </a:cubicBezTo>
                  <a:cubicBezTo>
                    <a:pt x="9" y="10"/>
                    <a:pt x="15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4" y="12"/>
                    <a:pt x="30" y="10"/>
                    <a:pt x="32" y="3"/>
                  </a:cubicBezTo>
                  <a:cubicBezTo>
                    <a:pt x="32" y="1"/>
                    <a:pt x="33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4"/>
                    <a:pt x="38" y="4"/>
                  </a:cubicBezTo>
                  <a:cubicBezTo>
                    <a:pt x="36" y="14"/>
                    <a:pt x="27" y="19"/>
                    <a:pt x="19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3" name="Freeform 1128">
              <a:extLst>
                <a:ext uri="{FF2B5EF4-FFF2-40B4-BE49-F238E27FC236}">
                  <a16:creationId xmlns:a16="http://schemas.microsoft.com/office/drawing/2014/main" id="{CED3108E-60CB-4F3E-9977-E0D467637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9077" y="1786935"/>
              <a:ext cx="69552" cy="35408"/>
            </a:xfrm>
            <a:custGeom>
              <a:avLst/>
              <a:gdLst>
                <a:gd name="T0" fmla="*/ 19 w 38"/>
                <a:gd name="T1" fmla="*/ 20 h 20"/>
                <a:gd name="T2" fmla="*/ 0 w 38"/>
                <a:gd name="T3" fmla="*/ 5 h 20"/>
                <a:gd name="T4" fmla="*/ 3 w 38"/>
                <a:gd name="T5" fmla="*/ 1 h 20"/>
                <a:gd name="T6" fmla="*/ 7 w 38"/>
                <a:gd name="T7" fmla="*/ 3 h 20"/>
                <a:gd name="T8" fmla="*/ 19 w 38"/>
                <a:gd name="T9" fmla="*/ 13 h 20"/>
                <a:gd name="T10" fmla="*/ 32 w 38"/>
                <a:gd name="T11" fmla="*/ 3 h 20"/>
                <a:gd name="T12" fmla="*/ 35 w 38"/>
                <a:gd name="T13" fmla="*/ 1 h 20"/>
                <a:gd name="T14" fmla="*/ 38 w 38"/>
                <a:gd name="T15" fmla="*/ 4 h 20"/>
                <a:gd name="T16" fmla="*/ 38 w 38"/>
                <a:gd name="T17" fmla="*/ 4 h 20"/>
                <a:gd name="T18" fmla="*/ 38 w 38"/>
                <a:gd name="T19" fmla="*/ 5 h 20"/>
                <a:gd name="T20" fmla="*/ 19 w 38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20">
                  <a:moveTo>
                    <a:pt x="19" y="20"/>
                  </a:moveTo>
                  <a:cubicBezTo>
                    <a:pt x="12" y="20"/>
                    <a:pt x="3" y="15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9" y="11"/>
                    <a:pt x="15" y="13"/>
                    <a:pt x="19" y="13"/>
                  </a:cubicBezTo>
                  <a:cubicBezTo>
                    <a:pt x="24" y="13"/>
                    <a:pt x="30" y="11"/>
                    <a:pt x="32" y="3"/>
                  </a:cubicBezTo>
                  <a:cubicBezTo>
                    <a:pt x="32" y="2"/>
                    <a:pt x="33" y="1"/>
                    <a:pt x="35" y="1"/>
                  </a:cubicBezTo>
                  <a:cubicBezTo>
                    <a:pt x="37" y="1"/>
                    <a:pt x="38" y="2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5"/>
                    <a:pt x="38" y="5"/>
                  </a:cubicBezTo>
                  <a:cubicBezTo>
                    <a:pt x="36" y="15"/>
                    <a:pt x="27" y="20"/>
                    <a:pt x="19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4" name="Freeform 1129">
              <a:extLst>
                <a:ext uri="{FF2B5EF4-FFF2-40B4-BE49-F238E27FC236}">
                  <a16:creationId xmlns:a16="http://schemas.microsoft.com/office/drawing/2014/main" id="{7BF7E5C8-F704-4475-B60A-BB985A2A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3436" y="1786935"/>
              <a:ext cx="68288" cy="35408"/>
            </a:xfrm>
            <a:custGeom>
              <a:avLst/>
              <a:gdLst>
                <a:gd name="T0" fmla="*/ 19 w 38"/>
                <a:gd name="T1" fmla="*/ 20 h 20"/>
                <a:gd name="T2" fmla="*/ 4 w 38"/>
                <a:gd name="T3" fmla="*/ 13 h 20"/>
                <a:gd name="T4" fmla="*/ 0 w 38"/>
                <a:gd name="T5" fmla="*/ 5 h 20"/>
                <a:gd name="T6" fmla="*/ 3 w 38"/>
                <a:gd name="T7" fmla="*/ 1 h 20"/>
                <a:gd name="T8" fmla="*/ 7 w 38"/>
                <a:gd name="T9" fmla="*/ 3 h 20"/>
                <a:gd name="T10" fmla="*/ 9 w 38"/>
                <a:gd name="T11" fmla="*/ 8 h 20"/>
                <a:gd name="T12" fmla="*/ 22 w 38"/>
                <a:gd name="T13" fmla="*/ 13 h 20"/>
                <a:gd name="T14" fmla="*/ 31 w 38"/>
                <a:gd name="T15" fmla="*/ 3 h 20"/>
                <a:gd name="T16" fmla="*/ 35 w 38"/>
                <a:gd name="T17" fmla="*/ 1 h 20"/>
                <a:gd name="T18" fmla="*/ 38 w 38"/>
                <a:gd name="T19" fmla="*/ 4 h 20"/>
                <a:gd name="T20" fmla="*/ 38 w 38"/>
                <a:gd name="T21" fmla="*/ 4 h 20"/>
                <a:gd name="T22" fmla="*/ 38 w 38"/>
                <a:gd name="T23" fmla="*/ 5 h 20"/>
                <a:gd name="T24" fmla="*/ 24 w 38"/>
                <a:gd name="T25" fmla="*/ 19 h 20"/>
                <a:gd name="T26" fmla="*/ 19 w 38"/>
                <a:gd name="T2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20">
                  <a:moveTo>
                    <a:pt x="19" y="20"/>
                  </a:moveTo>
                  <a:cubicBezTo>
                    <a:pt x="13" y="20"/>
                    <a:pt x="8" y="17"/>
                    <a:pt x="4" y="13"/>
                  </a:cubicBezTo>
                  <a:cubicBezTo>
                    <a:pt x="2" y="11"/>
                    <a:pt x="1" y="8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5"/>
                    <a:pt x="8" y="7"/>
                    <a:pt x="9" y="8"/>
                  </a:cubicBezTo>
                  <a:cubicBezTo>
                    <a:pt x="12" y="12"/>
                    <a:pt x="17" y="14"/>
                    <a:pt x="22" y="13"/>
                  </a:cubicBezTo>
                  <a:cubicBezTo>
                    <a:pt x="27" y="12"/>
                    <a:pt x="30" y="8"/>
                    <a:pt x="31" y="3"/>
                  </a:cubicBezTo>
                  <a:cubicBezTo>
                    <a:pt x="32" y="2"/>
                    <a:pt x="33" y="1"/>
                    <a:pt x="35" y="1"/>
                  </a:cubicBezTo>
                  <a:cubicBezTo>
                    <a:pt x="37" y="1"/>
                    <a:pt x="38" y="2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5"/>
                    <a:pt x="38" y="5"/>
                  </a:cubicBezTo>
                  <a:cubicBezTo>
                    <a:pt x="36" y="12"/>
                    <a:pt x="31" y="18"/>
                    <a:pt x="24" y="19"/>
                  </a:cubicBezTo>
                  <a:cubicBezTo>
                    <a:pt x="22" y="20"/>
                    <a:pt x="21" y="20"/>
                    <a:pt x="19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5" name="Freeform 1130">
              <a:extLst>
                <a:ext uri="{FF2B5EF4-FFF2-40B4-BE49-F238E27FC236}">
                  <a16:creationId xmlns:a16="http://schemas.microsoft.com/office/drawing/2014/main" id="{E0E70241-2FE8-4E85-8B0A-230AA88979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74174" y="1574485"/>
              <a:ext cx="103696" cy="213715"/>
            </a:xfrm>
            <a:custGeom>
              <a:avLst/>
              <a:gdLst>
                <a:gd name="T0" fmla="*/ 46 w 57"/>
                <a:gd name="T1" fmla="*/ 118 h 118"/>
                <a:gd name="T2" fmla="*/ 44 w 57"/>
                <a:gd name="T3" fmla="*/ 118 h 118"/>
                <a:gd name="T4" fmla="*/ 6 w 57"/>
                <a:gd name="T5" fmla="*/ 99 h 118"/>
                <a:gd name="T6" fmla="*/ 4 w 57"/>
                <a:gd name="T7" fmla="*/ 96 h 118"/>
                <a:gd name="T8" fmla="*/ 0 w 57"/>
                <a:gd name="T9" fmla="*/ 57 h 118"/>
                <a:gd name="T10" fmla="*/ 7 w 57"/>
                <a:gd name="T11" fmla="*/ 26 h 118"/>
                <a:gd name="T12" fmla="*/ 26 w 57"/>
                <a:gd name="T13" fmla="*/ 1 h 118"/>
                <a:gd name="T14" fmla="*/ 29 w 57"/>
                <a:gd name="T15" fmla="*/ 0 h 118"/>
                <a:gd name="T16" fmla="*/ 31 w 57"/>
                <a:gd name="T17" fmla="*/ 1 h 118"/>
                <a:gd name="T18" fmla="*/ 51 w 57"/>
                <a:gd name="T19" fmla="*/ 26 h 118"/>
                <a:gd name="T20" fmla="*/ 57 w 57"/>
                <a:gd name="T21" fmla="*/ 57 h 118"/>
                <a:gd name="T22" fmla="*/ 53 w 57"/>
                <a:gd name="T23" fmla="*/ 101 h 118"/>
                <a:gd name="T24" fmla="*/ 49 w 57"/>
                <a:gd name="T25" fmla="*/ 115 h 118"/>
                <a:gd name="T26" fmla="*/ 47 w 57"/>
                <a:gd name="T27" fmla="*/ 118 h 118"/>
                <a:gd name="T28" fmla="*/ 46 w 57"/>
                <a:gd name="T29" fmla="*/ 118 h 118"/>
                <a:gd name="T30" fmla="*/ 10 w 57"/>
                <a:gd name="T31" fmla="*/ 93 h 118"/>
                <a:gd name="T32" fmla="*/ 44 w 57"/>
                <a:gd name="T33" fmla="*/ 109 h 118"/>
                <a:gd name="T34" fmla="*/ 46 w 57"/>
                <a:gd name="T35" fmla="*/ 100 h 118"/>
                <a:gd name="T36" fmla="*/ 51 w 57"/>
                <a:gd name="T37" fmla="*/ 57 h 118"/>
                <a:gd name="T38" fmla="*/ 44 w 57"/>
                <a:gd name="T39" fmla="*/ 29 h 118"/>
                <a:gd name="T40" fmla="*/ 29 w 57"/>
                <a:gd name="T41" fmla="*/ 8 h 118"/>
                <a:gd name="T42" fmla="*/ 13 w 57"/>
                <a:gd name="T43" fmla="*/ 29 h 118"/>
                <a:gd name="T44" fmla="*/ 7 w 57"/>
                <a:gd name="T45" fmla="*/ 57 h 118"/>
                <a:gd name="T46" fmla="*/ 10 w 57"/>
                <a:gd name="T47" fmla="*/ 9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" h="118">
                  <a:moveTo>
                    <a:pt x="46" y="118"/>
                  </a:moveTo>
                  <a:cubicBezTo>
                    <a:pt x="45" y="118"/>
                    <a:pt x="45" y="118"/>
                    <a:pt x="44" y="118"/>
                  </a:cubicBezTo>
                  <a:cubicBezTo>
                    <a:pt x="33" y="109"/>
                    <a:pt x="20" y="103"/>
                    <a:pt x="6" y="99"/>
                  </a:cubicBezTo>
                  <a:cubicBezTo>
                    <a:pt x="5" y="98"/>
                    <a:pt x="4" y="97"/>
                    <a:pt x="4" y="96"/>
                  </a:cubicBezTo>
                  <a:cubicBezTo>
                    <a:pt x="2" y="83"/>
                    <a:pt x="0" y="70"/>
                    <a:pt x="0" y="57"/>
                  </a:cubicBezTo>
                  <a:cubicBezTo>
                    <a:pt x="0" y="46"/>
                    <a:pt x="3" y="36"/>
                    <a:pt x="7" y="26"/>
                  </a:cubicBezTo>
                  <a:cubicBezTo>
                    <a:pt x="12" y="17"/>
                    <a:pt x="18" y="8"/>
                    <a:pt x="26" y="1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0" y="1"/>
                    <a:pt x="31" y="1"/>
                    <a:pt x="31" y="1"/>
                  </a:cubicBezTo>
                  <a:cubicBezTo>
                    <a:pt x="39" y="8"/>
                    <a:pt x="46" y="17"/>
                    <a:pt x="51" y="26"/>
                  </a:cubicBezTo>
                  <a:cubicBezTo>
                    <a:pt x="55" y="36"/>
                    <a:pt x="57" y="46"/>
                    <a:pt x="57" y="57"/>
                  </a:cubicBezTo>
                  <a:cubicBezTo>
                    <a:pt x="57" y="72"/>
                    <a:pt x="56" y="87"/>
                    <a:pt x="53" y="101"/>
                  </a:cubicBezTo>
                  <a:cubicBezTo>
                    <a:pt x="49" y="115"/>
                    <a:pt x="49" y="115"/>
                    <a:pt x="49" y="115"/>
                  </a:cubicBezTo>
                  <a:cubicBezTo>
                    <a:pt x="49" y="117"/>
                    <a:pt x="48" y="118"/>
                    <a:pt x="47" y="118"/>
                  </a:cubicBezTo>
                  <a:cubicBezTo>
                    <a:pt x="47" y="118"/>
                    <a:pt x="47" y="118"/>
                    <a:pt x="46" y="118"/>
                  </a:cubicBezTo>
                  <a:close/>
                  <a:moveTo>
                    <a:pt x="10" y="93"/>
                  </a:moveTo>
                  <a:cubicBezTo>
                    <a:pt x="22" y="97"/>
                    <a:pt x="34" y="102"/>
                    <a:pt x="44" y="109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9" y="86"/>
                    <a:pt x="51" y="72"/>
                    <a:pt x="51" y="57"/>
                  </a:cubicBezTo>
                  <a:cubicBezTo>
                    <a:pt x="51" y="47"/>
                    <a:pt x="49" y="38"/>
                    <a:pt x="44" y="29"/>
                  </a:cubicBezTo>
                  <a:cubicBezTo>
                    <a:pt x="41" y="21"/>
                    <a:pt x="35" y="14"/>
                    <a:pt x="29" y="8"/>
                  </a:cubicBezTo>
                  <a:cubicBezTo>
                    <a:pt x="22" y="14"/>
                    <a:pt x="17" y="21"/>
                    <a:pt x="13" y="29"/>
                  </a:cubicBezTo>
                  <a:cubicBezTo>
                    <a:pt x="9" y="38"/>
                    <a:pt x="7" y="47"/>
                    <a:pt x="7" y="57"/>
                  </a:cubicBezTo>
                  <a:cubicBezTo>
                    <a:pt x="7" y="69"/>
                    <a:pt x="8" y="81"/>
                    <a:pt x="10" y="9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6" name="Freeform 1131">
              <a:extLst>
                <a:ext uri="{FF2B5EF4-FFF2-40B4-BE49-F238E27FC236}">
                  <a16:creationId xmlns:a16="http://schemas.microsoft.com/office/drawing/2014/main" id="{60D2706A-BD37-4062-9E1B-F00CC5E1A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9699" y="1688298"/>
              <a:ext cx="12646" cy="82198"/>
            </a:xfrm>
            <a:custGeom>
              <a:avLst/>
              <a:gdLst>
                <a:gd name="T0" fmla="*/ 4 w 7"/>
                <a:gd name="T1" fmla="*/ 45 h 45"/>
                <a:gd name="T2" fmla="*/ 0 w 7"/>
                <a:gd name="T3" fmla="*/ 41 h 45"/>
                <a:gd name="T4" fmla="*/ 0 w 7"/>
                <a:gd name="T5" fmla="*/ 4 h 45"/>
                <a:gd name="T6" fmla="*/ 4 w 7"/>
                <a:gd name="T7" fmla="*/ 0 h 45"/>
                <a:gd name="T8" fmla="*/ 7 w 7"/>
                <a:gd name="T9" fmla="*/ 4 h 45"/>
                <a:gd name="T10" fmla="*/ 7 w 7"/>
                <a:gd name="T11" fmla="*/ 41 h 45"/>
                <a:gd name="T12" fmla="*/ 4 w 7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5">
                  <a:moveTo>
                    <a:pt x="4" y="45"/>
                  </a:moveTo>
                  <a:cubicBezTo>
                    <a:pt x="2" y="45"/>
                    <a:pt x="0" y="43"/>
                    <a:pt x="0" y="4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7" y="43"/>
                    <a:pt x="6" y="45"/>
                    <a:pt x="4" y="4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7" name="Freeform 1132">
              <a:extLst>
                <a:ext uri="{FF2B5EF4-FFF2-40B4-BE49-F238E27FC236}">
                  <a16:creationId xmlns:a16="http://schemas.microsoft.com/office/drawing/2014/main" id="{3F007452-17AA-4A87-9770-67B07E0B5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1275" y="1513785"/>
              <a:ext cx="24027" cy="13910"/>
            </a:xfrm>
            <a:custGeom>
              <a:avLst/>
              <a:gdLst>
                <a:gd name="T0" fmla="*/ 5 w 13"/>
                <a:gd name="T1" fmla="*/ 7 h 7"/>
                <a:gd name="T2" fmla="*/ 2 w 13"/>
                <a:gd name="T3" fmla="*/ 7 h 7"/>
                <a:gd name="T4" fmla="*/ 2 w 13"/>
                <a:gd name="T5" fmla="*/ 6 h 7"/>
                <a:gd name="T6" fmla="*/ 1 w 13"/>
                <a:gd name="T7" fmla="*/ 2 h 7"/>
                <a:gd name="T8" fmla="*/ 4 w 13"/>
                <a:gd name="T9" fmla="*/ 0 h 7"/>
                <a:gd name="T10" fmla="*/ 9 w 13"/>
                <a:gd name="T11" fmla="*/ 0 h 7"/>
                <a:gd name="T12" fmla="*/ 13 w 13"/>
                <a:gd name="T13" fmla="*/ 3 h 7"/>
                <a:gd name="T14" fmla="*/ 9 w 13"/>
                <a:gd name="T15" fmla="*/ 7 h 7"/>
                <a:gd name="T16" fmla="*/ 6 w 13"/>
                <a:gd name="T17" fmla="*/ 7 h 7"/>
                <a:gd name="T18" fmla="*/ 5 w 13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7">
                  <a:moveTo>
                    <a:pt x="5" y="7"/>
                  </a:moveTo>
                  <a:cubicBezTo>
                    <a:pt x="4" y="7"/>
                    <a:pt x="3" y="7"/>
                    <a:pt x="2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1"/>
                    <a:pt x="13" y="3"/>
                  </a:cubicBezTo>
                  <a:cubicBezTo>
                    <a:pt x="13" y="5"/>
                    <a:pt x="11" y="7"/>
                    <a:pt x="9" y="7"/>
                  </a:cubicBezTo>
                  <a:cubicBezTo>
                    <a:pt x="8" y="7"/>
                    <a:pt x="7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8" name="Freeform 1133">
              <a:extLst>
                <a:ext uri="{FF2B5EF4-FFF2-40B4-BE49-F238E27FC236}">
                  <a16:creationId xmlns:a16="http://schemas.microsoft.com/office/drawing/2014/main" id="{E51D0F04-C102-4379-85B5-D064E16E3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657" y="1513785"/>
              <a:ext cx="15175" cy="13910"/>
            </a:xfrm>
            <a:custGeom>
              <a:avLst/>
              <a:gdLst>
                <a:gd name="T0" fmla="*/ 5 w 9"/>
                <a:gd name="T1" fmla="*/ 7 h 7"/>
                <a:gd name="T2" fmla="*/ 5 w 9"/>
                <a:gd name="T3" fmla="*/ 7 h 7"/>
                <a:gd name="T4" fmla="*/ 3 w 9"/>
                <a:gd name="T5" fmla="*/ 7 h 7"/>
                <a:gd name="T6" fmla="*/ 0 w 9"/>
                <a:gd name="T7" fmla="*/ 3 h 7"/>
                <a:gd name="T8" fmla="*/ 3 w 9"/>
                <a:gd name="T9" fmla="*/ 0 h 7"/>
                <a:gd name="T10" fmla="*/ 5 w 9"/>
                <a:gd name="T11" fmla="*/ 0 h 7"/>
                <a:gd name="T12" fmla="*/ 9 w 9"/>
                <a:gd name="T13" fmla="*/ 3 h 7"/>
                <a:gd name="T14" fmla="*/ 8 w 9"/>
                <a:gd name="T15" fmla="*/ 6 h 7"/>
                <a:gd name="T16" fmla="*/ 5 w 9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7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1"/>
                    <a:pt x="9" y="3"/>
                  </a:cubicBezTo>
                  <a:cubicBezTo>
                    <a:pt x="9" y="4"/>
                    <a:pt x="8" y="5"/>
                    <a:pt x="8" y="6"/>
                  </a:cubicBezTo>
                  <a:cubicBezTo>
                    <a:pt x="7" y="7"/>
                    <a:pt x="6" y="7"/>
                    <a:pt x="5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9" name="Freeform 1134">
              <a:extLst>
                <a:ext uri="{FF2B5EF4-FFF2-40B4-BE49-F238E27FC236}">
                  <a16:creationId xmlns:a16="http://schemas.microsoft.com/office/drawing/2014/main" id="{BD9A3324-0DBE-498F-A7EF-DE8EB61099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7482" y="1415147"/>
              <a:ext cx="153015" cy="112548"/>
            </a:xfrm>
            <a:custGeom>
              <a:avLst/>
              <a:gdLst>
                <a:gd name="T0" fmla="*/ 22 w 84"/>
                <a:gd name="T1" fmla="*/ 62 h 62"/>
                <a:gd name="T2" fmla="*/ 14 w 84"/>
                <a:gd name="T3" fmla="*/ 61 h 62"/>
                <a:gd name="T4" fmla="*/ 13 w 84"/>
                <a:gd name="T5" fmla="*/ 61 h 62"/>
                <a:gd name="T6" fmla="*/ 2 w 84"/>
                <a:gd name="T7" fmla="*/ 49 h 62"/>
                <a:gd name="T8" fmla="*/ 2 w 84"/>
                <a:gd name="T9" fmla="*/ 45 h 62"/>
                <a:gd name="T10" fmla="*/ 37 w 84"/>
                <a:gd name="T11" fmla="*/ 9 h 62"/>
                <a:gd name="T12" fmla="*/ 60 w 84"/>
                <a:gd name="T13" fmla="*/ 0 h 62"/>
                <a:gd name="T14" fmla="*/ 83 w 84"/>
                <a:gd name="T15" fmla="*/ 9 h 62"/>
                <a:gd name="T16" fmla="*/ 84 w 84"/>
                <a:gd name="T17" fmla="*/ 12 h 62"/>
                <a:gd name="T18" fmla="*/ 83 w 84"/>
                <a:gd name="T19" fmla="*/ 14 h 62"/>
                <a:gd name="T20" fmla="*/ 45 w 84"/>
                <a:gd name="T21" fmla="*/ 53 h 62"/>
                <a:gd name="T22" fmla="*/ 22 w 84"/>
                <a:gd name="T23" fmla="*/ 62 h 62"/>
                <a:gd name="T24" fmla="*/ 17 w 84"/>
                <a:gd name="T25" fmla="*/ 55 h 62"/>
                <a:gd name="T26" fmla="*/ 22 w 84"/>
                <a:gd name="T27" fmla="*/ 55 h 62"/>
                <a:gd name="T28" fmla="*/ 40 w 84"/>
                <a:gd name="T29" fmla="*/ 48 h 62"/>
                <a:gd name="T30" fmla="*/ 40 w 84"/>
                <a:gd name="T31" fmla="*/ 47 h 62"/>
                <a:gd name="T32" fmla="*/ 76 w 84"/>
                <a:gd name="T33" fmla="*/ 12 h 62"/>
                <a:gd name="T34" fmla="*/ 60 w 84"/>
                <a:gd name="T35" fmla="*/ 7 h 62"/>
                <a:gd name="T36" fmla="*/ 42 w 84"/>
                <a:gd name="T37" fmla="*/ 14 h 62"/>
                <a:gd name="T38" fmla="*/ 9 w 84"/>
                <a:gd name="T39" fmla="*/ 47 h 62"/>
                <a:gd name="T40" fmla="*/ 17 w 84"/>
                <a:gd name="T41" fmla="*/ 5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62">
                  <a:moveTo>
                    <a:pt x="22" y="62"/>
                  </a:moveTo>
                  <a:cubicBezTo>
                    <a:pt x="19" y="62"/>
                    <a:pt x="17" y="62"/>
                    <a:pt x="14" y="61"/>
                  </a:cubicBezTo>
                  <a:cubicBezTo>
                    <a:pt x="14" y="61"/>
                    <a:pt x="13" y="61"/>
                    <a:pt x="13" y="61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0" y="48"/>
                    <a:pt x="0" y="46"/>
                    <a:pt x="2" y="45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43" y="3"/>
                    <a:pt x="51" y="0"/>
                    <a:pt x="60" y="0"/>
                  </a:cubicBezTo>
                  <a:cubicBezTo>
                    <a:pt x="69" y="0"/>
                    <a:pt x="77" y="3"/>
                    <a:pt x="83" y="9"/>
                  </a:cubicBezTo>
                  <a:cubicBezTo>
                    <a:pt x="84" y="10"/>
                    <a:pt x="84" y="11"/>
                    <a:pt x="84" y="12"/>
                  </a:cubicBezTo>
                  <a:cubicBezTo>
                    <a:pt x="84" y="13"/>
                    <a:pt x="84" y="14"/>
                    <a:pt x="83" y="14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39" y="59"/>
                    <a:pt x="30" y="62"/>
                    <a:pt x="22" y="62"/>
                  </a:cubicBezTo>
                  <a:close/>
                  <a:moveTo>
                    <a:pt x="17" y="55"/>
                  </a:moveTo>
                  <a:cubicBezTo>
                    <a:pt x="18" y="55"/>
                    <a:pt x="20" y="55"/>
                    <a:pt x="22" y="55"/>
                  </a:cubicBezTo>
                  <a:cubicBezTo>
                    <a:pt x="29" y="55"/>
                    <a:pt x="35" y="53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1" y="8"/>
                    <a:pt x="66" y="7"/>
                    <a:pt x="60" y="7"/>
                  </a:cubicBezTo>
                  <a:cubicBezTo>
                    <a:pt x="53" y="7"/>
                    <a:pt x="47" y="9"/>
                    <a:pt x="42" y="14"/>
                  </a:cubicBezTo>
                  <a:cubicBezTo>
                    <a:pt x="9" y="47"/>
                    <a:pt x="9" y="47"/>
                    <a:pt x="9" y="47"/>
                  </a:cubicBezTo>
                  <a:lnTo>
                    <a:pt x="17" y="5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0" name="Freeform 1135">
              <a:extLst>
                <a:ext uri="{FF2B5EF4-FFF2-40B4-BE49-F238E27FC236}">
                  <a16:creationId xmlns:a16="http://schemas.microsoft.com/office/drawing/2014/main" id="{64BFDC4D-C3DC-419C-9E3B-2E668A4665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3436" y="1513785"/>
              <a:ext cx="151750" cy="65758"/>
            </a:xfrm>
            <a:custGeom>
              <a:avLst/>
              <a:gdLst>
                <a:gd name="T0" fmla="*/ 58 w 84"/>
                <a:gd name="T1" fmla="*/ 36 h 36"/>
                <a:gd name="T2" fmla="*/ 4 w 84"/>
                <a:gd name="T3" fmla="*/ 36 h 36"/>
                <a:gd name="T4" fmla="*/ 0 w 84"/>
                <a:gd name="T5" fmla="*/ 33 h 36"/>
                <a:gd name="T6" fmla="*/ 10 w 84"/>
                <a:gd name="T7" fmla="*/ 9 h 36"/>
                <a:gd name="T8" fmla="*/ 33 w 84"/>
                <a:gd name="T9" fmla="*/ 0 h 36"/>
                <a:gd name="T10" fmla="*/ 80 w 84"/>
                <a:gd name="T11" fmla="*/ 0 h 36"/>
                <a:gd name="T12" fmla="*/ 82 w 84"/>
                <a:gd name="T13" fmla="*/ 1 h 36"/>
                <a:gd name="T14" fmla="*/ 83 w 84"/>
                <a:gd name="T15" fmla="*/ 1 h 36"/>
                <a:gd name="T16" fmla="*/ 84 w 84"/>
                <a:gd name="T17" fmla="*/ 5 h 36"/>
                <a:gd name="T18" fmla="*/ 82 w 84"/>
                <a:gd name="T19" fmla="*/ 7 h 36"/>
                <a:gd name="T20" fmla="*/ 74 w 84"/>
                <a:gd name="T21" fmla="*/ 18 h 36"/>
                <a:gd name="T22" fmla="*/ 74 w 84"/>
                <a:gd name="T23" fmla="*/ 19 h 36"/>
                <a:gd name="T24" fmla="*/ 74 w 84"/>
                <a:gd name="T25" fmla="*/ 22 h 36"/>
                <a:gd name="T26" fmla="*/ 71 w 84"/>
                <a:gd name="T27" fmla="*/ 24 h 36"/>
                <a:gd name="T28" fmla="*/ 62 w 84"/>
                <a:gd name="T29" fmla="*/ 33 h 36"/>
                <a:gd name="T30" fmla="*/ 58 w 84"/>
                <a:gd name="T31" fmla="*/ 36 h 36"/>
                <a:gd name="T32" fmla="*/ 7 w 84"/>
                <a:gd name="T33" fmla="*/ 29 h 36"/>
                <a:gd name="T34" fmla="*/ 56 w 84"/>
                <a:gd name="T35" fmla="*/ 29 h 36"/>
                <a:gd name="T36" fmla="*/ 67 w 84"/>
                <a:gd name="T37" fmla="*/ 17 h 36"/>
                <a:gd name="T38" fmla="*/ 71 w 84"/>
                <a:gd name="T39" fmla="*/ 7 h 36"/>
                <a:gd name="T40" fmla="*/ 33 w 84"/>
                <a:gd name="T41" fmla="*/ 7 h 36"/>
                <a:gd name="T42" fmla="*/ 15 w 84"/>
                <a:gd name="T43" fmla="*/ 14 h 36"/>
                <a:gd name="T44" fmla="*/ 7 w 84"/>
                <a:gd name="T45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36">
                  <a:moveTo>
                    <a:pt x="58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2" y="36"/>
                    <a:pt x="0" y="35"/>
                    <a:pt x="0" y="33"/>
                  </a:cubicBezTo>
                  <a:cubicBezTo>
                    <a:pt x="0" y="24"/>
                    <a:pt x="4" y="16"/>
                    <a:pt x="10" y="9"/>
                  </a:cubicBezTo>
                  <a:cubicBezTo>
                    <a:pt x="16" y="3"/>
                    <a:pt x="24" y="0"/>
                    <a:pt x="3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0"/>
                    <a:pt x="81" y="0"/>
                    <a:pt x="82" y="1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4" y="2"/>
                    <a:pt x="84" y="4"/>
                    <a:pt x="84" y="5"/>
                  </a:cubicBezTo>
                  <a:cubicBezTo>
                    <a:pt x="84" y="6"/>
                    <a:pt x="83" y="7"/>
                    <a:pt x="82" y="7"/>
                  </a:cubicBezTo>
                  <a:cubicBezTo>
                    <a:pt x="77" y="9"/>
                    <a:pt x="74" y="13"/>
                    <a:pt x="74" y="18"/>
                  </a:cubicBezTo>
                  <a:cubicBezTo>
                    <a:pt x="74" y="18"/>
                    <a:pt x="74" y="19"/>
                    <a:pt x="74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3" y="23"/>
                    <a:pt x="72" y="23"/>
                    <a:pt x="71" y="24"/>
                  </a:cubicBezTo>
                  <a:cubicBezTo>
                    <a:pt x="66" y="24"/>
                    <a:pt x="62" y="28"/>
                    <a:pt x="62" y="33"/>
                  </a:cubicBezTo>
                  <a:cubicBezTo>
                    <a:pt x="61" y="35"/>
                    <a:pt x="60" y="36"/>
                    <a:pt x="58" y="36"/>
                  </a:cubicBezTo>
                  <a:close/>
                  <a:moveTo>
                    <a:pt x="7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7" y="24"/>
                    <a:pt x="62" y="19"/>
                    <a:pt x="67" y="17"/>
                  </a:cubicBezTo>
                  <a:cubicBezTo>
                    <a:pt x="67" y="13"/>
                    <a:pt x="69" y="10"/>
                    <a:pt x="71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6" y="7"/>
                    <a:pt x="20" y="9"/>
                    <a:pt x="15" y="14"/>
                  </a:cubicBezTo>
                  <a:cubicBezTo>
                    <a:pt x="11" y="18"/>
                    <a:pt x="8" y="24"/>
                    <a:pt x="7" y="2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1" name="Freeform 1136">
              <a:extLst>
                <a:ext uri="{FF2B5EF4-FFF2-40B4-BE49-F238E27FC236}">
                  <a16:creationId xmlns:a16="http://schemas.microsoft.com/office/drawing/2014/main" id="{EDAEF2FF-684D-474E-93E5-24B2D870CC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4817" y="1429058"/>
              <a:ext cx="156809" cy="98638"/>
            </a:xfrm>
            <a:custGeom>
              <a:avLst/>
              <a:gdLst>
                <a:gd name="T0" fmla="*/ 83 w 87"/>
                <a:gd name="T1" fmla="*/ 54 h 54"/>
                <a:gd name="T2" fmla="*/ 83 w 87"/>
                <a:gd name="T3" fmla="*/ 54 h 54"/>
                <a:gd name="T4" fmla="*/ 81 w 87"/>
                <a:gd name="T5" fmla="*/ 54 h 54"/>
                <a:gd name="T6" fmla="*/ 80 w 87"/>
                <a:gd name="T7" fmla="*/ 54 h 54"/>
                <a:gd name="T8" fmla="*/ 42 w 87"/>
                <a:gd name="T9" fmla="*/ 54 h 54"/>
                <a:gd name="T10" fmla="*/ 39 w 87"/>
                <a:gd name="T11" fmla="*/ 53 h 54"/>
                <a:gd name="T12" fmla="*/ 1 w 87"/>
                <a:gd name="T13" fmla="*/ 15 h 54"/>
                <a:gd name="T14" fmla="*/ 0 w 87"/>
                <a:gd name="T15" fmla="*/ 12 h 54"/>
                <a:gd name="T16" fmla="*/ 1 w 87"/>
                <a:gd name="T17" fmla="*/ 10 h 54"/>
                <a:gd name="T18" fmla="*/ 24 w 87"/>
                <a:gd name="T19" fmla="*/ 0 h 54"/>
                <a:gd name="T20" fmla="*/ 48 w 87"/>
                <a:gd name="T21" fmla="*/ 10 h 54"/>
                <a:gd name="T22" fmla="*/ 86 w 87"/>
                <a:gd name="T23" fmla="*/ 48 h 54"/>
                <a:gd name="T24" fmla="*/ 87 w 87"/>
                <a:gd name="T25" fmla="*/ 51 h 54"/>
                <a:gd name="T26" fmla="*/ 86 w 87"/>
                <a:gd name="T27" fmla="*/ 53 h 54"/>
                <a:gd name="T28" fmla="*/ 83 w 87"/>
                <a:gd name="T29" fmla="*/ 54 h 54"/>
                <a:gd name="T30" fmla="*/ 43 w 87"/>
                <a:gd name="T31" fmla="*/ 47 h 54"/>
                <a:gd name="T32" fmla="*/ 75 w 87"/>
                <a:gd name="T33" fmla="*/ 47 h 54"/>
                <a:gd name="T34" fmla="*/ 43 w 87"/>
                <a:gd name="T35" fmla="*/ 15 h 54"/>
                <a:gd name="T36" fmla="*/ 24 w 87"/>
                <a:gd name="T37" fmla="*/ 7 h 54"/>
                <a:gd name="T38" fmla="*/ 9 w 87"/>
                <a:gd name="T39" fmla="*/ 12 h 54"/>
                <a:gd name="T40" fmla="*/ 43 w 87"/>
                <a:gd name="T41" fmla="*/ 4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7" h="54">
                  <a:moveTo>
                    <a:pt x="83" y="54"/>
                  </a:moveTo>
                  <a:cubicBezTo>
                    <a:pt x="83" y="54"/>
                    <a:pt x="83" y="54"/>
                    <a:pt x="83" y="54"/>
                  </a:cubicBezTo>
                  <a:cubicBezTo>
                    <a:pt x="82" y="54"/>
                    <a:pt x="82" y="54"/>
                    <a:pt x="81" y="54"/>
                  </a:cubicBezTo>
                  <a:cubicBezTo>
                    <a:pt x="81" y="54"/>
                    <a:pt x="81" y="54"/>
                    <a:pt x="80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1" y="54"/>
                    <a:pt x="40" y="53"/>
                    <a:pt x="39" y="5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11"/>
                    <a:pt x="1" y="10"/>
                    <a:pt x="1" y="10"/>
                  </a:cubicBezTo>
                  <a:cubicBezTo>
                    <a:pt x="8" y="4"/>
                    <a:pt x="16" y="0"/>
                    <a:pt x="24" y="0"/>
                  </a:cubicBezTo>
                  <a:cubicBezTo>
                    <a:pt x="33" y="0"/>
                    <a:pt x="41" y="4"/>
                    <a:pt x="48" y="10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7" y="49"/>
                    <a:pt x="87" y="50"/>
                    <a:pt x="87" y="51"/>
                  </a:cubicBezTo>
                  <a:cubicBezTo>
                    <a:pt x="87" y="52"/>
                    <a:pt x="87" y="52"/>
                    <a:pt x="86" y="53"/>
                  </a:cubicBezTo>
                  <a:cubicBezTo>
                    <a:pt x="85" y="54"/>
                    <a:pt x="84" y="54"/>
                    <a:pt x="83" y="54"/>
                  </a:cubicBezTo>
                  <a:close/>
                  <a:moveTo>
                    <a:pt x="43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38" y="10"/>
                    <a:pt x="31" y="7"/>
                    <a:pt x="24" y="7"/>
                  </a:cubicBezTo>
                  <a:cubicBezTo>
                    <a:pt x="19" y="7"/>
                    <a:pt x="13" y="9"/>
                    <a:pt x="9" y="12"/>
                  </a:cubicBezTo>
                  <a:lnTo>
                    <a:pt x="43" y="4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2" name="Freeform 1137">
              <a:extLst>
                <a:ext uri="{FF2B5EF4-FFF2-40B4-BE49-F238E27FC236}">
                  <a16:creationId xmlns:a16="http://schemas.microsoft.com/office/drawing/2014/main" id="{4F76A6F8-C917-481C-AEE3-9685C27F9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48980" y="1498610"/>
              <a:ext cx="144163" cy="67023"/>
            </a:xfrm>
            <a:custGeom>
              <a:avLst/>
              <a:gdLst>
                <a:gd name="T0" fmla="*/ 75 w 79"/>
                <a:gd name="T1" fmla="*/ 37 h 37"/>
                <a:gd name="T2" fmla="*/ 75 w 79"/>
                <a:gd name="T3" fmla="*/ 37 h 37"/>
                <a:gd name="T4" fmla="*/ 22 w 79"/>
                <a:gd name="T5" fmla="*/ 37 h 37"/>
                <a:gd name="T6" fmla="*/ 20 w 79"/>
                <a:gd name="T7" fmla="*/ 36 h 37"/>
                <a:gd name="T8" fmla="*/ 13 w 79"/>
                <a:gd name="T9" fmla="*/ 33 h 37"/>
                <a:gd name="T10" fmla="*/ 11 w 79"/>
                <a:gd name="T11" fmla="*/ 31 h 37"/>
                <a:gd name="T12" fmla="*/ 11 w 79"/>
                <a:gd name="T13" fmla="*/ 28 h 37"/>
                <a:gd name="T14" fmla="*/ 11 w 79"/>
                <a:gd name="T15" fmla="*/ 27 h 37"/>
                <a:gd name="T16" fmla="*/ 3 w 79"/>
                <a:gd name="T17" fmla="*/ 16 h 37"/>
                <a:gd name="T18" fmla="*/ 0 w 79"/>
                <a:gd name="T19" fmla="*/ 14 h 37"/>
                <a:gd name="T20" fmla="*/ 0 w 79"/>
                <a:gd name="T21" fmla="*/ 10 h 37"/>
                <a:gd name="T22" fmla="*/ 4 w 79"/>
                <a:gd name="T23" fmla="*/ 9 h 37"/>
                <a:gd name="T24" fmla="*/ 10 w 79"/>
                <a:gd name="T25" fmla="*/ 9 h 37"/>
                <a:gd name="T26" fmla="*/ 28 w 79"/>
                <a:gd name="T27" fmla="*/ 2 h 37"/>
                <a:gd name="T28" fmla="*/ 28 w 79"/>
                <a:gd name="T29" fmla="*/ 1 h 37"/>
                <a:gd name="T30" fmla="*/ 31 w 79"/>
                <a:gd name="T31" fmla="*/ 0 h 37"/>
                <a:gd name="T32" fmla="*/ 46 w 79"/>
                <a:gd name="T33" fmla="*/ 0 h 37"/>
                <a:gd name="T34" fmla="*/ 69 w 79"/>
                <a:gd name="T35" fmla="*/ 10 h 37"/>
                <a:gd name="T36" fmla="*/ 78 w 79"/>
                <a:gd name="T37" fmla="*/ 32 h 37"/>
                <a:gd name="T38" fmla="*/ 79 w 79"/>
                <a:gd name="T39" fmla="*/ 33 h 37"/>
                <a:gd name="T40" fmla="*/ 75 w 79"/>
                <a:gd name="T41" fmla="*/ 37 h 37"/>
                <a:gd name="T42" fmla="*/ 23 w 79"/>
                <a:gd name="T43" fmla="*/ 30 h 37"/>
                <a:gd name="T44" fmla="*/ 71 w 79"/>
                <a:gd name="T45" fmla="*/ 30 h 37"/>
                <a:gd name="T46" fmla="*/ 64 w 79"/>
                <a:gd name="T47" fmla="*/ 15 h 37"/>
                <a:gd name="T48" fmla="*/ 46 w 79"/>
                <a:gd name="T49" fmla="*/ 7 h 37"/>
                <a:gd name="T50" fmla="*/ 32 w 79"/>
                <a:gd name="T51" fmla="*/ 7 h 37"/>
                <a:gd name="T52" fmla="*/ 14 w 79"/>
                <a:gd name="T53" fmla="*/ 16 h 37"/>
                <a:gd name="T54" fmla="*/ 17 w 79"/>
                <a:gd name="T55" fmla="*/ 26 h 37"/>
                <a:gd name="T56" fmla="*/ 23 w 79"/>
                <a:gd name="T57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9" h="37">
                  <a:moveTo>
                    <a:pt x="75" y="37"/>
                  </a:moveTo>
                  <a:cubicBezTo>
                    <a:pt x="75" y="37"/>
                    <a:pt x="75" y="37"/>
                    <a:pt x="75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1" y="37"/>
                    <a:pt x="20" y="36"/>
                    <a:pt x="20" y="36"/>
                  </a:cubicBezTo>
                  <a:cubicBezTo>
                    <a:pt x="18" y="34"/>
                    <a:pt x="16" y="33"/>
                    <a:pt x="13" y="33"/>
                  </a:cubicBezTo>
                  <a:cubicBezTo>
                    <a:pt x="12" y="32"/>
                    <a:pt x="12" y="32"/>
                    <a:pt x="11" y="31"/>
                  </a:cubicBezTo>
                  <a:cubicBezTo>
                    <a:pt x="10" y="30"/>
                    <a:pt x="10" y="29"/>
                    <a:pt x="11" y="28"/>
                  </a:cubicBezTo>
                  <a:cubicBezTo>
                    <a:pt x="11" y="28"/>
                    <a:pt x="11" y="27"/>
                    <a:pt x="11" y="27"/>
                  </a:cubicBezTo>
                  <a:cubicBezTo>
                    <a:pt x="11" y="22"/>
                    <a:pt x="7" y="18"/>
                    <a:pt x="3" y="16"/>
                  </a:cubicBezTo>
                  <a:cubicBezTo>
                    <a:pt x="1" y="16"/>
                    <a:pt x="1" y="15"/>
                    <a:pt x="0" y="14"/>
                  </a:cubicBezTo>
                  <a:cubicBezTo>
                    <a:pt x="0" y="13"/>
                    <a:pt x="0" y="12"/>
                    <a:pt x="0" y="10"/>
                  </a:cubicBezTo>
                  <a:cubicBezTo>
                    <a:pt x="1" y="9"/>
                    <a:pt x="3" y="8"/>
                    <a:pt x="4" y="9"/>
                  </a:cubicBezTo>
                  <a:cubicBezTo>
                    <a:pt x="6" y="9"/>
                    <a:pt x="8" y="9"/>
                    <a:pt x="10" y="9"/>
                  </a:cubicBezTo>
                  <a:cubicBezTo>
                    <a:pt x="17" y="9"/>
                    <a:pt x="23" y="7"/>
                    <a:pt x="28" y="2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1"/>
                    <a:pt x="30" y="0"/>
                    <a:pt x="3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4" y="0"/>
                    <a:pt x="63" y="4"/>
                    <a:pt x="69" y="10"/>
                  </a:cubicBezTo>
                  <a:cubicBezTo>
                    <a:pt x="75" y="16"/>
                    <a:pt x="78" y="24"/>
                    <a:pt x="78" y="32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9" y="35"/>
                    <a:pt x="77" y="37"/>
                    <a:pt x="75" y="37"/>
                  </a:cubicBezTo>
                  <a:close/>
                  <a:moveTo>
                    <a:pt x="23" y="30"/>
                  </a:moveTo>
                  <a:cubicBezTo>
                    <a:pt x="71" y="30"/>
                    <a:pt x="71" y="30"/>
                    <a:pt x="71" y="30"/>
                  </a:cubicBezTo>
                  <a:cubicBezTo>
                    <a:pt x="71" y="24"/>
                    <a:pt x="68" y="19"/>
                    <a:pt x="64" y="15"/>
                  </a:cubicBezTo>
                  <a:cubicBezTo>
                    <a:pt x="59" y="10"/>
                    <a:pt x="53" y="7"/>
                    <a:pt x="46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12"/>
                    <a:pt x="21" y="15"/>
                    <a:pt x="14" y="16"/>
                  </a:cubicBezTo>
                  <a:cubicBezTo>
                    <a:pt x="16" y="19"/>
                    <a:pt x="17" y="23"/>
                    <a:pt x="17" y="26"/>
                  </a:cubicBezTo>
                  <a:cubicBezTo>
                    <a:pt x="20" y="27"/>
                    <a:pt x="22" y="28"/>
                    <a:pt x="23" y="3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3" name="Freeform 1138">
              <a:extLst>
                <a:ext uri="{FF2B5EF4-FFF2-40B4-BE49-F238E27FC236}">
                  <a16:creationId xmlns:a16="http://schemas.microsoft.com/office/drawing/2014/main" id="{F661A22F-8F81-428A-8CDE-AAFA0A3BD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69213" y="1579543"/>
              <a:ext cx="79669" cy="165661"/>
            </a:xfrm>
            <a:custGeom>
              <a:avLst/>
              <a:gdLst>
                <a:gd name="T0" fmla="*/ 16 w 44"/>
                <a:gd name="T1" fmla="*/ 91 h 91"/>
                <a:gd name="T2" fmla="*/ 13 w 44"/>
                <a:gd name="T3" fmla="*/ 90 h 91"/>
                <a:gd name="T4" fmla="*/ 12 w 44"/>
                <a:gd name="T5" fmla="*/ 87 h 91"/>
                <a:gd name="T6" fmla="*/ 12 w 44"/>
                <a:gd name="T7" fmla="*/ 64 h 91"/>
                <a:gd name="T8" fmla="*/ 0 w 44"/>
                <a:gd name="T9" fmla="*/ 15 h 91"/>
                <a:gd name="T10" fmla="*/ 0 w 44"/>
                <a:gd name="T11" fmla="*/ 12 h 91"/>
                <a:gd name="T12" fmla="*/ 3 w 44"/>
                <a:gd name="T13" fmla="*/ 10 h 91"/>
                <a:gd name="T14" fmla="*/ 11 w 44"/>
                <a:gd name="T15" fmla="*/ 3 h 91"/>
                <a:gd name="T16" fmla="*/ 14 w 44"/>
                <a:gd name="T17" fmla="*/ 1 h 91"/>
                <a:gd name="T18" fmla="*/ 18 w 44"/>
                <a:gd name="T19" fmla="*/ 2 h 91"/>
                <a:gd name="T20" fmla="*/ 44 w 44"/>
                <a:gd name="T21" fmla="*/ 86 h 91"/>
                <a:gd name="T22" fmla="*/ 44 w 44"/>
                <a:gd name="T23" fmla="*/ 87 h 91"/>
                <a:gd name="T24" fmla="*/ 41 w 44"/>
                <a:gd name="T25" fmla="*/ 91 h 91"/>
                <a:gd name="T26" fmla="*/ 41 w 44"/>
                <a:gd name="T27" fmla="*/ 91 h 91"/>
                <a:gd name="T28" fmla="*/ 40 w 44"/>
                <a:gd name="T29" fmla="*/ 91 h 91"/>
                <a:gd name="T30" fmla="*/ 16 w 44"/>
                <a:gd name="T31" fmla="*/ 91 h 91"/>
                <a:gd name="T32" fmla="*/ 16 w 44"/>
                <a:gd name="T33" fmla="*/ 91 h 91"/>
                <a:gd name="T34" fmla="*/ 8 w 44"/>
                <a:gd name="T35" fmla="*/ 15 h 91"/>
                <a:gd name="T36" fmla="*/ 19 w 44"/>
                <a:gd name="T37" fmla="*/ 64 h 91"/>
                <a:gd name="T38" fmla="*/ 19 w 44"/>
                <a:gd name="T39" fmla="*/ 84 h 91"/>
                <a:gd name="T40" fmla="*/ 37 w 44"/>
                <a:gd name="T41" fmla="*/ 83 h 91"/>
                <a:gd name="T42" fmla="*/ 15 w 44"/>
                <a:gd name="T43" fmla="*/ 10 h 91"/>
                <a:gd name="T44" fmla="*/ 8 w 44"/>
                <a:gd name="T45" fmla="*/ 1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" h="91">
                  <a:moveTo>
                    <a:pt x="16" y="91"/>
                  </a:moveTo>
                  <a:cubicBezTo>
                    <a:pt x="15" y="91"/>
                    <a:pt x="14" y="90"/>
                    <a:pt x="13" y="90"/>
                  </a:cubicBezTo>
                  <a:cubicBezTo>
                    <a:pt x="13" y="89"/>
                    <a:pt x="12" y="88"/>
                    <a:pt x="12" y="87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47"/>
                    <a:pt x="8" y="30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1" y="11"/>
                    <a:pt x="2" y="10"/>
                    <a:pt x="3" y="10"/>
                  </a:cubicBezTo>
                  <a:cubicBezTo>
                    <a:pt x="7" y="9"/>
                    <a:pt x="10" y="6"/>
                    <a:pt x="11" y="3"/>
                  </a:cubicBezTo>
                  <a:cubicBezTo>
                    <a:pt x="12" y="1"/>
                    <a:pt x="13" y="1"/>
                    <a:pt x="14" y="1"/>
                  </a:cubicBezTo>
                  <a:cubicBezTo>
                    <a:pt x="16" y="0"/>
                    <a:pt x="17" y="1"/>
                    <a:pt x="18" y="2"/>
                  </a:cubicBezTo>
                  <a:cubicBezTo>
                    <a:pt x="34" y="27"/>
                    <a:pt x="43" y="56"/>
                    <a:pt x="44" y="86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4" y="89"/>
                    <a:pt x="43" y="91"/>
                    <a:pt x="41" y="91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32" y="90"/>
                    <a:pt x="24" y="90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lose/>
                  <a:moveTo>
                    <a:pt x="8" y="15"/>
                  </a:moveTo>
                  <a:cubicBezTo>
                    <a:pt x="15" y="30"/>
                    <a:pt x="19" y="47"/>
                    <a:pt x="19" y="6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5" y="83"/>
                    <a:pt x="31" y="83"/>
                    <a:pt x="37" y="83"/>
                  </a:cubicBezTo>
                  <a:cubicBezTo>
                    <a:pt x="36" y="58"/>
                    <a:pt x="28" y="33"/>
                    <a:pt x="15" y="10"/>
                  </a:cubicBezTo>
                  <a:cubicBezTo>
                    <a:pt x="13" y="12"/>
                    <a:pt x="11" y="14"/>
                    <a:pt x="8" y="1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4" name="Freeform 1139">
              <a:extLst>
                <a:ext uri="{FF2B5EF4-FFF2-40B4-BE49-F238E27FC236}">
                  <a16:creationId xmlns:a16="http://schemas.microsoft.com/office/drawing/2014/main" id="{75088A1E-5D07-439E-8209-E876D330B3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3338" y="1542870"/>
              <a:ext cx="61965" cy="67023"/>
            </a:xfrm>
            <a:custGeom>
              <a:avLst/>
              <a:gdLst>
                <a:gd name="T0" fmla="*/ 18 w 34"/>
                <a:gd name="T1" fmla="*/ 37 h 37"/>
                <a:gd name="T2" fmla="*/ 0 w 34"/>
                <a:gd name="T3" fmla="*/ 19 h 37"/>
                <a:gd name="T4" fmla="*/ 0 w 34"/>
                <a:gd name="T5" fmla="*/ 16 h 37"/>
                <a:gd name="T6" fmla="*/ 15 w 34"/>
                <a:gd name="T7" fmla="*/ 1 h 37"/>
                <a:gd name="T8" fmla="*/ 27 w 34"/>
                <a:gd name="T9" fmla="*/ 3 h 37"/>
                <a:gd name="T10" fmla="*/ 33 w 34"/>
                <a:gd name="T11" fmla="*/ 10 h 37"/>
                <a:gd name="T12" fmla="*/ 33 w 34"/>
                <a:gd name="T13" fmla="*/ 13 h 37"/>
                <a:gd name="T14" fmla="*/ 32 w 34"/>
                <a:gd name="T15" fmla="*/ 17 h 37"/>
                <a:gd name="T16" fmla="*/ 32 w 34"/>
                <a:gd name="T17" fmla="*/ 19 h 37"/>
                <a:gd name="T18" fmla="*/ 33 w 34"/>
                <a:gd name="T19" fmla="*/ 24 h 37"/>
                <a:gd name="T20" fmla="*/ 33 w 34"/>
                <a:gd name="T21" fmla="*/ 28 h 37"/>
                <a:gd name="T22" fmla="*/ 18 w 34"/>
                <a:gd name="T23" fmla="*/ 37 h 37"/>
                <a:gd name="T24" fmla="*/ 18 w 34"/>
                <a:gd name="T25" fmla="*/ 7 h 37"/>
                <a:gd name="T26" fmla="*/ 16 w 34"/>
                <a:gd name="T27" fmla="*/ 8 h 37"/>
                <a:gd name="T28" fmla="*/ 7 w 34"/>
                <a:gd name="T29" fmla="*/ 17 h 37"/>
                <a:gd name="T30" fmla="*/ 7 w 34"/>
                <a:gd name="T31" fmla="*/ 19 h 37"/>
                <a:gd name="T32" fmla="*/ 18 w 34"/>
                <a:gd name="T33" fmla="*/ 30 h 37"/>
                <a:gd name="T34" fmla="*/ 26 w 34"/>
                <a:gd name="T35" fmla="*/ 26 h 37"/>
                <a:gd name="T36" fmla="*/ 25 w 34"/>
                <a:gd name="T37" fmla="*/ 19 h 37"/>
                <a:gd name="T38" fmla="*/ 25 w 34"/>
                <a:gd name="T39" fmla="*/ 16 h 37"/>
                <a:gd name="T40" fmla="*/ 26 w 34"/>
                <a:gd name="T41" fmla="*/ 11 h 37"/>
                <a:gd name="T42" fmla="*/ 24 w 34"/>
                <a:gd name="T43" fmla="*/ 9 h 37"/>
                <a:gd name="T44" fmla="*/ 18 w 34"/>
                <a:gd name="T45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7">
                  <a:moveTo>
                    <a:pt x="18" y="37"/>
                  </a:moveTo>
                  <a:cubicBezTo>
                    <a:pt x="8" y="37"/>
                    <a:pt x="0" y="29"/>
                    <a:pt x="0" y="19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1" y="8"/>
                    <a:pt x="7" y="2"/>
                    <a:pt x="15" y="1"/>
                  </a:cubicBezTo>
                  <a:cubicBezTo>
                    <a:pt x="20" y="0"/>
                    <a:pt x="24" y="1"/>
                    <a:pt x="27" y="3"/>
                  </a:cubicBezTo>
                  <a:cubicBezTo>
                    <a:pt x="30" y="5"/>
                    <a:pt x="32" y="7"/>
                    <a:pt x="33" y="10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4"/>
                    <a:pt x="32" y="16"/>
                    <a:pt x="32" y="17"/>
                  </a:cubicBezTo>
                  <a:cubicBezTo>
                    <a:pt x="32" y="18"/>
                    <a:pt x="32" y="18"/>
                    <a:pt x="32" y="19"/>
                  </a:cubicBezTo>
                  <a:cubicBezTo>
                    <a:pt x="32" y="21"/>
                    <a:pt x="32" y="23"/>
                    <a:pt x="33" y="24"/>
                  </a:cubicBezTo>
                  <a:cubicBezTo>
                    <a:pt x="34" y="26"/>
                    <a:pt x="34" y="27"/>
                    <a:pt x="33" y="28"/>
                  </a:cubicBezTo>
                  <a:cubicBezTo>
                    <a:pt x="30" y="34"/>
                    <a:pt x="24" y="37"/>
                    <a:pt x="18" y="37"/>
                  </a:cubicBezTo>
                  <a:close/>
                  <a:moveTo>
                    <a:pt x="18" y="7"/>
                  </a:moveTo>
                  <a:cubicBezTo>
                    <a:pt x="17" y="7"/>
                    <a:pt x="17" y="8"/>
                    <a:pt x="16" y="8"/>
                  </a:cubicBezTo>
                  <a:cubicBezTo>
                    <a:pt x="11" y="8"/>
                    <a:pt x="7" y="12"/>
                    <a:pt x="7" y="17"/>
                  </a:cubicBezTo>
                  <a:cubicBezTo>
                    <a:pt x="7" y="18"/>
                    <a:pt x="7" y="18"/>
                    <a:pt x="7" y="19"/>
                  </a:cubicBezTo>
                  <a:cubicBezTo>
                    <a:pt x="7" y="25"/>
                    <a:pt x="12" y="30"/>
                    <a:pt x="18" y="30"/>
                  </a:cubicBezTo>
                  <a:cubicBezTo>
                    <a:pt x="21" y="30"/>
                    <a:pt x="24" y="28"/>
                    <a:pt x="26" y="26"/>
                  </a:cubicBezTo>
                  <a:cubicBezTo>
                    <a:pt x="25" y="24"/>
                    <a:pt x="25" y="21"/>
                    <a:pt x="25" y="19"/>
                  </a:cubicBezTo>
                  <a:cubicBezTo>
                    <a:pt x="25" y="18"/>
                    <a:pt x="25" y="17"/>
                    <a:pt x="25" y="16"/>
                  </a:cubicBezTo>
                  <a:cubicBezTo>
                    <a:pt x="25" y="14"/>
                    <a:pt x="26" y="13"/>
                    <a:pt x="26" y="11"/>
                  </a:cubicBezTo>
                  <a:cubicBezTo>
                    <a:pt x="26" y="11"/>
                    <a:pt x="25" y="10"/>
                    <a:pt x="24" y="9"/>
                  </a:cubicBezTo>
                  <a:cubicBezTo>
                    <a:pt x="22" y="8"/>
                    <a:pt x="20" y="7"/>
                    <a:pt x="18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5" name="Freeform 1140">
              <a:extLst>
                <a:ext uri="{FF2B5EF4-FFF2-40B4-BE49-F238E27FC236}">
                  <a16:creationId xmlns:a16="http://schemas.microsoft.com/office/drawing/2014/main" id="{1352F98C-928F-4575-AB87-1BE8E6496C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38863" y="1542870"/>
              <a:ext cx="64494" cy="67023"/>
            </a:xfrm>
            <a:custGeom>
              <a:avLst/>
              <a:gdLst>
                <a:gd name="T0" fmla="*/ 18 w 36"/>
                <a:gd name="T1" fmla="*/ 37 h 37"/>
                <a:gd name="T2" fmla="*/ 2 w 36"/>
                <a:gd name="T3" fmla="*/ 28 h 37"/>
                <a:gd name="T4" fmla="*/ 0 w 36"/>
                <a:gd name="T5" fmla="*/ 19 h 37"/>
                <a:gd name="T6" fmla="*/ 0 w 36"/>
                <a:gd name="T7" fmla="*/ 16 h 37"/>
                <a:gd name="T8" fmla="*/ 2 w 36"/>
                <a:gd name="T9" fmla="*/ 9 h 37"/>
                <a:gd name="T10" fmla="*/ 2 w 36"/>
                <a:gd name="T11" fmla="*/ 9 h 37"/>
                <a:gd name="T12" fmla="*/ 3 w 36"/>
                <a:gd name="T13" fmla="*/ 9 h 37"/>
                <a:gd name="T14" fmla="*/ 12 w 36"/>
                <a:gd name="T15" fmla="*/ 2 h 37"/>
                <a:gd name="T16" fmla="*/ 20 w 36"/>
                <a:gd name="T17" fmla="*/ 1 h 37"/>
                <a:gd name="T18" fmla="*/ 31 w 36"/>
                <a:gd name="T19" fmla="*/ 6 h 37"/>
                <a:gd name="T20" fmla="*/ 36 w 36"/>
                <a:gd name="T21" fmla="*/ 19 h 37"/>
                <a:gd name="T22" fmla="*/ 35 w 36"/>
                <a:gd name="T23" fmla="*/ 25 h 37"/>
                <a:gd name="T24" fmla="*/ 21 w 36"/>
                <a:gd name="T25" fmla="*/ 37 h 37"/>
                <a:gd name="T26" fmla="*/ 18 w 36"/>
                <a:gd name="T27" fmla="*/ 37 h 37"/>
                <a:gd name="T28" fmla="*/ 8 w 36"/>
                <a:gd name="T29" fmla="*/ 13 h 37"/>
                <a:gd name="T30" fmla="*/ 8 w 36"/>
                <a:gd name="T31" fmla="*/ 13 h 37"/>
                <a:gd name="T32" fmla="*/ 7 w 36"/>
                <a:gd name="T33" fmla="*/ 17 h 37"/>
                <a:gd name="T34" fmla="*/ 7 w 36"/>
                <a:gd name="T35" fmla="*/ 19 h 37"/>
                <a:gd name="T36" fmla="*/ 8 w 36"/>
                <a:gd name="T37" fmla="*/ 24 h 37"/>
                <a:gd name="T38" fmla="*/ 18 w 36"/>
                <a:gd name="T39" fmla="*/ 30 h 37"/>
                <a:gd name="T40" fmla="*/ 20 w 36"/>
                <a:gd name="T41" fmla="*/ 30 h 37"/>
                <a:gd name="T42" fmla="*/ 28 w 36"/>
                <a:gd name="T43" fmla="*/ 23 h 37"/>
                <a:gd name="T44" fmla="*/ 29 w 36"/>
                <a:gd name="T45" fmla="*/ 19 h 37"/>
                <a:gd name="T46" fmla="*/ 26 w 36"/>
                <a:gd name="T47" fmla="*/ 11 h 37"/>
                <a:gd name="T48" fmla="*/ 19 w 36"/>
                <a:gd name="T49" fmla="*/ 8 h 37"/>
                <a:gd name="T50" fmla="*/ 14 w 36"/>
                <a:gd name="T51" fmla="*/ 8 h 37"/>
                <a:gd name="T52" fmla="*/ 9 w 36"/>
                <a:gd name="T53" fmla="*/ 13 h 37"/>
                <a:gd name="T54" fmla="*/ 8 w 36"/>
                <a:gd name="T55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37">
                  <a:moveTo>
                    <a:pt x="18" y="37"/>
                  </a:moveTo>
                  <a:cubicBezTo>
                    <a:pt x="12" y="37"/>
                    <a:pt x="6" y="33"/>
                    <a:pt x="2" y="28"/>
                  </a:cubicBezTo>
                  <a:cubicBezTo>
                    <a:pt x="1" y="25"/>
                    <a:pt x="0" y="22"/>
                    <a:pt x="0" y="19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0" y="14"/>
                    <a:pt x="1" y="11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5" y="6"/>
                    <a:pt x="8" y="3"/>
                    <a:pt x="12" y="2"/>
                  </a:cubicBezTo>
                  <a:cubicBezTo>
                    <a:pt x="14" y="1"/>
                    <a:pt x="17" y="0"/>
                    <a:pt x="20" y="1"/>
                  </a:cubicBezTo>
                  <a:cubicBezTo>
                    <a:pt x="24" y="1"/>
                    <a:pt x="28" y="3"/>
                    <a:pt x="31" y="6"/>
                  </a:cubicBezTo>
                  <a:cubicBezTo>
                    <a:pt x="34" y="9"/>
                    <a:pt x="36" y="14"/>
                    <a:pt x="36" y="19"/>
                  </a:cubicBezTo>
                  <a:cubicBezTo>
                    <a:pt x="36" y="21"/>
                    <a:pt x="36" y="23"/>
                    <a:pt x="35" y="25"/>
                  </a:cubicBezTo>
                  <a:cubicBezTo>
                    <a:pt x="33" y="31"/>
                    <a:pt x="27" y="35"/>
                    <a:pt x="21" y="37"/>
                  </a:cubicBezTo>
                  <a:cubicBezTo>
                    <a:pt x="20" y="37"/>
                    <a:pt x="19" y="37"/>
                    <a:pt x="18" y="37"/>
                  </a:cubicBezTo>
                  <a:close/>
                  <a:moveTo>
                    <a:pt x="8" y="13"/>
                  </a:move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7" y="16"/>
                    <a:pt x="7" y="17"/>
                  </a:cubicBezTo>
                  <a:cubicBezTo>
                    <a:pt x="7" y="18"/>
                    <a:pt x="7" y="18"/>
                    <a:pt x="7" y="19"/>
                  </a:cubicBezTo>
                  <a:cubicBezTo>
                    <a:pt x="7" y="21"/>
                    <a:pt x="7" y="23"/>
                    <a:pt x="8" y="24"/>
                  </a:cubicBezTo>
                  <a:cubicBezTo>
                    <a:pt x="10" y="28"/>
                    <a:pt x="14" y="30"/>
                    <a:pt x="18" y="30"/>
                  </a:cubicBezTo>
                  <a:cubicBezTo>
                    <a:pt x="19" y="30"/>
                    <a:pt x="19" y="30"/>
                    <a:pt x="20" y="30"/>
                  </a:cubicBezTo>
                  <a:cubicBezTo>
                    <a:pt x="24" y="29"/>
                    <a:pt x="27" y="26"/>
                    <a:pt x="28" y="23"/>
                  </a:cubicBezTo>
                  <a:cubicBezTo>
                    <a:pt x="29" y="21"/>
                    <a:pt x="29" y="20"/>
                    <a:pt x="29" y="19"/>
                  </a:cubicBezTo>
                  <a:cubicBezTo>
                    <a:pt x="29" y="16"/>
                    <a:pt x="28" y="13"/>
                    <a:pt x="26" y="11"/>
                  </a:cubicBezTo>
                  <a:cubicBezTo>
                    <a:pt x="24" y="9"/>
                    <a:pt x="22" y="8"/>
                    <a:pt x="19" y="8"/>
                  </a:cubicBezTo>
                  <a:cubicBezTo>
                    <a:pt x="18" y="7"/>
                    <a:pt x="16" y="8"/>
                    <a:pt x="14" y="8"/>
                  </a:cubicBezTo>
                  <a:cubicBezTo>
                    <a:pt x="12" y="9"/>
                    <a:pt x="10" y="11"/>
                    <a:pt x="9" y="13"/>
                  </a:cubicBezTo>
                  <a:cubicBezTo>
                    <a:pt x="8" y="13"/>
                    <a:pt x="8" y="13"/>
                    <a:pt x="8" y="1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6" name="Freeform 1141">
              <a:extLst>
                <a:ext uri="{FF2B5EF4-FFF2-40B4-BE49-F238E27FC236}">
                  <a16:creationId xmlns:a16="http://schemas.microsoft.com/office/drawing/2014/main" id="{2DC519E0-8164-4A2A-BC31-FA05C11CE6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14836" y="1513785"/>
              <a:ext cx="65758" cy="56906"/>
            </a:xfrm>
            <a:custGeom>
              <a:avLst/>
              <a:gdLst>
                <a:gd name="T0" fmla="*/ 18 w 36"/>
                <a:gd name="T1" fmla="*/ 31 h 31"/>
                <a:gd name="T2" fmla="*/ 15 w 36"/>
                <a:gd name="T3" fmla="*/ 29 h 31"/>
                <a:gd name="T4" fmla="*/ 12 w 36"/>
                <a:gd name="T5" fmla="*/ 25 h 31"/>
                <a:gd name="T6" fmla="*/ 4 w 36"/>
                <a:gd name="T7" fmla="*/ 24 h 31"/>
                <a:gd name="T8" fmla="*/ 1 w 36"/>
                <a:gd name="T9" fmla="*/ 21 h 31"/>
                <a:gd name="T10" fmla="*/ 0 w 36"/>
                <a:gd name="T11" fmla="*/ 18 h 31"/>
                <a:gd name="T12" fmla="*/ 13 w 36"/>
                <a:gd name="T13" fmla="*/ 1 h 31"/>
                <a:gd name="T14" fmla="*/ 21 w 36"/>
                <a:gd name="T15" fmla="*/ 0 h 31"/>
                <a:gd name="T16" fmla="*/ 24 w 36"/>
                <a:gd name="T17" fmla="*/ 1 h 31"/>
                <a:gd name="T18" fmla="*/ 36 w 36"/>
                <a:gd name="T19" fmla="*/ 18 h 31"/>
                <a:gd name="T20" fmla="*/ 36 w 36"/>
                <a:gd name="T21" fmla="*/ 21 h 31"/>
                <a:gd name="T22" fmla="*/ 32 w 36"/>
                <a:gd name="T23" fmla="*/ 24 h 31"/>
                <a:gd name="T24" fmla="*/ 27 w 36"/>
                <a:gd name="T25" fmla="*/ 24 h 31"/>
                <a:gd name="T26" fmla="*/ 22 w 36"/>
                <a:gd name="T27" fmla="*/ 29 h 31"/>
                <a:gd name="T28" fmla="*/ 21 w 36"/>
                <a:gd name="T29" fmla="*/ 29 h 31"/>
                <a:gd name="T30" fmla="*/ 19 w 36"/>
                <a:gd name="T31" fmla="*/ 31 h 31"/>
                <a:gd name="T32" fmla="*/ 18 w 36"/>
                <a:gd name="T33" fmla="*/ 31 h 31"/>
                <a:gd name="T34" fmla="*/ 7 w 36"/>
                <a:gd name="T35" fmla="*/ 17 h 31"/>
                <a:gd name="T36" fmla="*/ 15 w 36"/>
                <a:gd name="T37" fmla="*/ 19 h 31"/>
                <a:gd name="T38" fmla="*/ 18 w 36"/>
                <a:gd name="T39" fmla="*/ 22 h 31"/>
                <a:gd name="T40" fmla="*/ 25 w 36"/>
                <a:gd name="T41" fmla="*/ 18 h 31"/>
                <a:gd name="T42" fmla="*/ 30 w 36"/>
                <a:gd name="T43" fmla="*/ 17 h 31"/>
                <a:gd name="T44" fmla="*/ 22 w 36"/>
                <a:gd name="T45" fmla="*/ 7 h 31"/>
                <a:gd name="T46" fmla="*/ 20 w 36"/>
                <a:gd name="T47" fmla="*/ 7 h 31"/>
                <a:gd name="T48" fmla="*/ 18 w 36"/>
                <a:gd name="T49" fmla="*/ 7 h 31"/>
                <a:gd name="T50" fmla="*/ 15 w 36"/>
                <a:gd name="T51" fmla="*/ 7 h 31"/>
                <a:gd name="T52" fmla="*/ 7 w 36"/>
                <a:gd name="T53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31">
                  <a:moveTo>
                    <a:pt x="18" y="31"/>
                  </a:moveTo>
                  <a:cubicBezTo>
                    <a:pt x="17" y="31"/>
                    <a:pt x="16" y="30"/>
                    <a:pt x="15" y="29"/>
                  </a:cubicBezTo>
                  <a:cubicBezTo>
                    <a:pt x="15" y="27"/>
                    <a:pt x="13" y="26"/>
                    <a:pt x="12" y="25"/>
                  </a:cubicBezTo>
                  <a:cubicBezTo>
                    <a:pt x="9" y="24"/>
                    <a:pt x="7" y="23"/>
                    <a:pt x="4" y="24"/>
                  </a:cubicBezTo>
                  <a:cubicBezTo>
                    <a:pt x="3" y="24"/>
                    <a:pt x="1" y="23"/>
                    <a:pt x="1" y="21"/>
                  </a:cubicBezTo>
                  <a:cubicBezTo>
                    <a:pt x="0" y="20"/>
                    <a:pt x="0" y="19"/>
                    <a:pt x="0" y="18"/>
                  </a:cubicBezTo>
                  <a:cubicBezTo>
                    <a:pt x="0" y="10"/>
                    <a:pt x="5" y="3"/>
                    <a:pt x="13" y="1"/>
                  </a:cubicBezTo>
                  <a:cubicBezTo>
                    <a:pt x="15" y="0"/>
                    <a:pt x="18" y="0"/>
                    <a:pt x="21" y="0"/>
                  </a:cubicBezTo>
                  <a:cubicBezTo>
                    <a:pt x="22" y="0"/>
                    <a:pt x="23" y="0"/>
                    <a:pt x="24" y="1"/>
                  </a:cubicBezTo>
                  <a:cubicBezTo>
                    <a:pt x="31" y="3"/>
                    <a:pt x="36" y="10"/>
                    <a:pt x="36" y="18"/>
                  </a:cubicBezTo>
                  <a:cubicBezTo>
                    <a:pt x="36" y="19"/>
                    <a:pt x="36" y="20"/>
                    <a:pt x="36" y="21"/>
                  </a:cubicBezTo>
                  <a:cubicBezTo>
                    <a:pt x="36" y="23"/>
                    <a:pt x="34" y="24"/>
                    <a:pt x="32" y="24"/>
                  </a:cubicBezTo>
                  <a:cubicBezTo>
                    <a:pt x="31" y="23"/>
                    <a:pt x="29" y="24"/>
                    <a:pt x="27" y="24"/>
                  </a:cubicBezTo>
                  <a:cubicBezTo>
                    <a:pt x="25" y="25"/>
                    <a:pt x="23" y="27"/>
                    <a:pt x="22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30"/>
                    <a:pt x="20" y="31"/>
                    <a:pt x="19" y="31"/>
                  </a:cubicBezTo>
                  <a:cubicBezTo>
                    <a:pt x="19" y="31"/>
                    <a:pt x="18" y="31"/>
                    <a:pt x="18" y="31"/>
                  </a:cubicBezTo>
                  <a:close/>
                  <a:moveTo>
                    <a:pt x="7" y="17"/>
                  </a:moveTo>
                  <a:cubicBezTo>
                    <a:pt x="10" y="17"/>
                    <a:pt x="13" y="18"/>
                    <a:pt x="15" y="19"/>
                  </a:cubicBezTo>
                  <a:cubicBezTo>
                    <a:pt x="16" y="20"/>
                    <a:pt x="17" y="21"/>
                    <a:pt x="18" y="22"/>
                  </a:cubicBezTo>
                  <a:cubicBezTo>
                    <a:pt x="20" y="20"/>
                    <a:pt x="22" y="19"/>
                    <a:pt x="25" y="18"/>
                  </a:cubicBezTo>
                  <a:cubicBezTo>
                    <a:pt x="26" y="17"/>
                    <a:pt x="28" y="17"/>
                    <a:pt x="30" y="17"/>
                  </a:cubicBezTo>
                  <a:cubicBezTo>
                    <a:pt x="29" y="12"/>
                    <a:pt x="26" y="8"/>
                    <a:pt x="22" y="7"/>
                  </a:cubicBezTo>
                  <a:cubicBezTo>
                    <a:pt x="21" y="7"/>
                    <a:pt x="21" y="7"/>
                    <a:pt x="20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1" y="9"/>
                    <a:pt x="8" y="12"/>
                    <a:pt x="7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7" name="Freeform 1142">
              <a:extLst>
                <a:ext uri="{FF2B5EF4-FFF2-40B4-BE49-F238E27FC236}">
                  <a16:creationId xmlns:a16="http://schemas.microsoft.com/office/drawing/2014/main" id="{C7B3BB17-ACD9-4E8B-9D11-83D40BD21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6236" y="1732558"/>
              <a:ext cx="58171" cy="21498"/>
            </a:xfrm>
            <a:custGeom>
              <a:avLst/>
              <a:gdLst>
                <a:gd name="T0" fmla="*/ 28 w 32"/>
                <a:gd name="T1" fmla="*/ 12 h 12"/>
                <a:gd name="T2" fmla="*/ 27 w 32"/>
                <a:gd name="T3" fmla="*/ 12 h 12"/>
                <a:gd name="T4" fmla="*/ 3 w 32"/>
                <a:gd name="T5" fmla="*/ 7 h 12"/>
                <a:gd name="T6" fmla="*/ 0 w 32"/>
                <a:gd name="T7" fmla="*/ 3 h 12"/>
                <a:gd name="T8" fmla="*/ 4 w 32"/>
                <a:gd name="T9" fmla="*/ 0 h 12"/>
                <a:gd name="T10" fmla="*/ 29 w 32"/>
                <a:gd name="T11" fmla="*/ 5 h 12"/>
                <a:gd name="T12" fmla="*/ 32 w 32"/>
                <a:gd name="T13" fmla="*/ 9 h 12"/>
                <a:gd name="T14" fmla="*/ 28 w 32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12">
                  <a:moveTo>
                    <a:pt x="28" y="12"/>
                  </a:moveTo>
                  <a:cubicBezTo>
                    <a:pt x="28" y="12"/>
                    <a:pt x="28" y="12"/>
                    <a:pt x="27" y="12"/>
                  </a:cubicBezTo>
                  <a:cubicBezTo>
                    <a:pt x="19" y="9"/>
                    <a:pt x="11" y="7"/>
                    <a:pt x="3" y="7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2" y="1"/>
                    <a:pt x="21" y="2"/>
                    <a:pt x="29" y="5"/>
                  </a:cubicBezTo>
                  <a:cubicBezTo>
                    <a:pt x="31" y="6"/>
                    <a:pt x="32" y="8"/>
                    <a:pt x="32" y="9"/>
                  </a:cubicBezTo>
                  <a:cubicBezTo>
                    <a:pt x="31" y="11"/>
                    <a:pt x="30" y="12"/>
                    <a:pt x="28" y="1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8" name="Freeform 1143">
              <a:extLst>
                <a:ext uri="{FF2B5EF4-FFF2-40B4-BE49-F238E27FC236}">
                  <a16:creationId xmlns:a16="http://schemas.microsoft.com/office/drawing/2014/main" id="{A71A4756-7D91-42A8-85B9-741FF1F87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0049" y="1775554"/>
              <a:ext cx="44260" cy="37938"/>
            </a:xfrm>
            <a:custGeom>
              <a:avLst/>
              <a:gdLst>
                <a:gd name="T0" fmla="*/ 20 w 24"/>
                <a:gd name="T1" fmla="*/ 21 h 21"/>
                <a:gd name="T2" fmla="*/ 18 w 24"/>
                <a:gd name="T3" fmla="*/ 20 h 21"/>
                <a:gd name="T4" fmla="*/ 2 w 24"/>
                <a:gd name="T5" fmla="*/ 7 h 21"/>
                <a:gd name="T6" fmla="*/ 1 w 24"/>
                <a:gd name="T7" fmla="*/ 2 h 21"/>
                <a:gd name="T8" fmla="*/ 6 w 24"/>
                <a:gd name="T9" fmla="*/ 1 h 21"/>
                <a:gd name="T10" fmla="*/ 23 w 24"/>
                <a:gd name="T11" fmla="*/ 16 h 21"/>
                <a:gd name="T12" fmla="*/ 23 w 24"/>
                <a:gd name="T13" fmla="*/ 21 h 21"/>
                <a:gd name="T14" fmla="*/ 20 w 2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1">
                  <a:moveTo>
                    <a:pt x="20" y="21"/>
                  </a:moveTo>
                  <a:cubicBezTo>
                    <a:pt x="19" y="21"/>
                    <a:pt x="19" y="21"/>
                    <a:pt x="18" y="20"/>
                  </a:cubicBezTo>
                  <a:cubicBezTo>
                    <a:pt x="13" y="15"/>
                    <a:pt x="8" y="11"/>
                    <a:pt x="2" y="7"/>
                  </a:cubicBezTo>
                  <a:cubicBezTo>
                    <a:pt x="1" y="5"/>
                    <a:pt x="0" y="3"/>
                    <a:pt x="1" y="2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2" y="6"/>
                    <a:pt x="18" y="10"/>
                    <a:pt x="23" y="16"/>
                  </a:cubicBezTo>
                  <a:cubicBezTo>
                    <a:pt x="24" y="17"/>
                    <a:pt x="24" y="19"/>
                    <a:pt x="23" y="21"/>
                  </a:cubicBezTo>
                  <a:cubicBezTo>
                    <a:pt x="22" y="21"/>
                    <a:pt x="21" y="21"/>
                    <a:pt x="20" y="2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9" name="Freeform 1144">
              <a:extLst>
                <a:ext uri="{FF2B5EF4-FFF2-40B4-BE49-F238E27FC236}">
                  <a16:creationId xmlns:a16="http://schemas.microsoft.com/office/drawing/2014/main" id="{4555100E-D3AF-44E7-ACCF-E30BFCF2A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4252" y="1732558"/>
              <a:ext cx="139104" cy="85992"/>
            </a:xfrm>
            <a:custGeom>
              <a:avLst/>
              <a:gdLst>
                <a:gd name="T0" fmla="*/ 3 w 77"/>
                <a:gd name="T1" fmla="*/ 48 h 48"/>
                <a:gd name="T2" fmla="*/ 2 w 77"/>
                <a:gd name="T3" fmla="*/ 48 h 48"/>
                <a:gd name="T4" fmla="*/ 0 w 77"/>
                <a:gd name="T5" fmla="*/ 43 h 48"/>
                <a:gd name="T6" fmla="*/ 73 w 77"/>
                <a:gd name="T7" fmla="*/ 0 h 48"/>
                <a:gd name="T8" fmla="*/ 77 w 77"/>
                <a:gd name="T9" fmla="*/ 3 h 48"/>
                <a:gd name="T10" fmla="*/ 74 w 77"/>
                <a:gd name="T11" fmla="*/ 7 h 48"/>
                <a:gd name="T12" fmla="*/ 6 w 77"/>
                <a:gd name="T13" fmla="*/ 46 h 48"/>
                <a:gd name="T14" fmla="*/ 3 w 77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48">
                  <a:moveTo>
                    <a:pt x="3" y="48"/>
                  </a:moveTo>
                  <a:cubicBezTo>
                    <a:pt x="3" y="48"/>
                    <a:pt x="2" y="48"/>
                    <a:pt x="2" y="48"/>
                  </a:cubicBezTo>
                  <a:cubicBezTo>
                    <a:pt x="0" y="47"/>
                    <a:pt x="0" y="45"/>
                    <a:pt x="0" y="43"/>
                  </a:cubicBezTo>
                  <a:cubicBezTo>
                    <a:pt x="15" y="16"/>
                    <a:pt x="48" y="3"/>
                    <a:pt x="73" y="0"/>
                  </a:cubicBezTo>
                  <a:cubicBezTo>
                    <a:pt x="75" y="0"/>
                    <a:pt x="77" y="1"/>
                    <a:pt x="77" y="3"/>
                  </a:cubicBezTo>
                  <a:cubicBezTo>
                    <a:pt x="77" y="5"/>
                    <a:pt x="76" y="6"/>
                    <a:pt x="74" y="7"/>
                  </a:cubicBezTo>
                  <a:cubicBezTo>
                    <a:pt x="50" y="10"/>
                    <a:pt x="20" y="22"/>
                    <a:pt x="6" y="46"/>
                  </a:cubicBezTo>
                  <a:cubicBezTo>
                    <a:pt x="6" y="47"/>
                    <a:pt x="5" y="48"/>
                    <a:pt x="3" y="4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8" name="Agrupar 1707">
            <a:extLst>
              <a:ext uri="{FF2B5EF4-FFF2-40B4-BE49-F238E27FC236}">
                <a16:creationId xmlns:a16="http://schemas.microsoft.com/office/drawing/2014/main" id="{D41A1097-9D01-4CAC-B058-61C0A3C0143C}"/>
              </a:ext>
            </a:extLst>
          </p:cNvPr>
          <p:cNvGrpSpPr/>
          <p:nvPr/>
        </p:nvGrpSpPr>
        <p:grpSpPr>
          <a:xfrm>
            <a:off x="8639357" y="1444233"/>
            <a:ext cx="467897" cy="347761"/>
            <a:chOff x="9320969" y="1444233"/>
            <a:chExt cx="467897" cy="347761"/>
          </a:xfrm>
        </p:grpSpPr>
        <p:sp>
          <p:nvSpPr>
            <p:cNvPr id="1350" name="Freeform 1145">
              <a:extLst>
                <a:ext uri="{FF2B5EF4-FFF2-40B4-BE49-F238E27FC236}">
                  <a16:creationId xmlns:a16="http://schemas.microsoft.com/office/drawing/2014/main" id="{4FB62F28-7336-45AC-BC52-D36F25D8A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144" y="1444233"/>
              <a:ext cx="438811" cy="290855"/>
            </a:xfrm>
            <a:custGeom>
              <a:avLst/>
              <a:gdLst>
                <a:gd name="T0" fmla="*/ 238 w 242"/>
                <a:gd name="T1" fmla="*/ 161 h 161"/>
                <a:gd name="T2" fmla="*/ 236 w 242"/>
                <a:gd name="T3" fmla="*/ 160 h 161"/>
                <a:gd name="T4" fmla="*/ 211 w 242"/>
                <a:gd name="T5" fmla="*/ 139 h 161"/>
                <a:gd name="T6" fmla="*/ 128 w 242"/>
                <a:gd name="T7" fmla="*/ 27 h 161"/>
                <a:gd name="T8" fmla="*/ 121 w 242"/>
                <a:gd name="T9" fmla="*/ 12 h 161"/>
                <a:gd name="T10" fmla="*/ 114 w 242"/>
                <a:gd name="T11" fmla="*/ 27 h 161"/>
                <a:gd name="T12" fmla="*/ 64 w 242"/>
                <a:gd name="T13" fmla="*/ 104 h 161"/>
                <a:gd name="T14" fmla="*/ 31 w 242"/>
                <a:gd name="T15" fmla="*/ 139 h 161"/>
                <a:gd name="T16" fmla="*/ 6 w 242"/>
                <a:gd name="T17" fmla="*/ 160 h 161"/>
                <a:gd name="T18" fmla="*/ 1 w 242"/>
                <a:gd name="T19" fmla="*/ 159 h 161"/>
                <a:gd name="T20" fmla="*/ 2 w 242"/>
                <a:gd name="T21" fmla="*/ 155 h 161"/>
                <a:gd name="T22" fmla="*/ 26 w 242"/>
                <a:gd name="T23" fmla="*/ 134 h 161"/>
                <a:gd name="T24" fmla="*/ 59 w 242"/>
                <a:gd name="T25" fmla="*/ 99 h 161"/>
                <a:gd name="T26" fmla="*/ 108 w 242"/>
                <a:gd name="T27" fmla="*/ 24 h 161"/>
                <a:gd name="T28" fmla="*/ 118 w 242"/>
                <a:gd name="T29" fmla="*/ 3 h 161"/>
                <a:gd name="T30" fmla="*/ 124 w 242"/>
                <a:gd name="T31" fmla="*/ 3 h 161"/>
                <a:gd name="T32" fmla="*/ 134 w 242"/>
                <a:gd name="T33" fmla="*/ 24 h 161"/>
                <a:gd name="T34" fmla="*/ 215 w 242"/>
                <a:gd name="T35" fmla="*/ 134 h 161"/>
                <a:gd name="T36" fmla="*/ 240 w 242"/>
                <a:gd name="T37" fmla="*/ 155 h 161"/>
                <a:gd name="T38" fmla="*/ 241 w 242"/>
                <a:gd name="T39" fmla="*/ 159 h 161"/>
                <a:gd name="T40" fmla="*/ 238 w 242"/>
                <a:gd name="T41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2" h="161">
                  <a:moveTo>
                    <a:pt x="238" y="161"/>
                  </a:moveTo>
                  <a:cubicBezTo>
                    <a:pt x="238" y="161"/>
                    <a:pt x="237" y="160"/>
                    <a:pt x="236" y="160"/>
                  </a:cubicBezTo>
                  <a:cubicBezTo>
                    <a:pt x="228" y="153"/>
                    <a:pt x="219" y="146"/>
                    <a:pt x="211" y="139"/>
                  </a:cubicBezTo>
                  <a:cubicBezTo>
                    <a:pt x="176" y="107"/>
                    <a:pt x="148" y="69"/>
                    <a:pt x="128" y="2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14" y="27"/>
                    <a:pt x="114" y="27"/>
                    <a:pt x="114" y="27"/>
                  </a:cubicBezTo>
                  <a:cubicBezTo>
                    <a:pt x="101" y="54"/>
                    <a:pt x="84" y="80"/>
                    <a:pt x="64" y="104"/>
                  </a:cubicBezTo>
                  <a:cubicBezTo>
                    <a:pt x="54" y="116"/>
                    <a:pt x="43" y="128"/>
                    <a:pt x="31" y="139"/>
                  </a:cubicBezTo>
                  <a:cubicBezTo>
                    <a:pt x="23" y="146"/>
                    <a:pt x="14" y="153"/>
                    <a:pt x="6" y="160"/>
                  </a:cubicBezTo>
                  <a:cubicBezTo>
                    <a:pt x="4" y="161"/>
                    <a:pt x="2" y="161"/>
                    <a:pt x="1" y="159"/>
                  </a:cubicBezTo>
                  <a:cubicBezTo>
                    <a:pt x="0" y="158"/>
                    <a:pt x="0" y="156"/>
                    <a:pt x="2" y="155"/>
                  </a:cubicBezTo>
                  <a:cubicBezTo>
                    <a:pt x="10" y="148"/>
                    <a:pt x="18" y="141"/>
                    <a:pt x="26" y="134"/>
                  </a:cubicBezTo>
                  <a:cubicBezTo>
                    <a:pt x="38" y="123"/>
                    <a:pt x="49" y="112"/>
                    <a:pt x="59" y="99"/>
                  </a:cubicBezTo>
                  <a:cubicBezTo>
                    <a:pt x="78" y="76"/>
                    <a:pt x="95" y="51"/>
                    <a:pt x="108" y="24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9" y="0"/>
                    <a:pt x="123" y="0"/>
                    <a:pt x="124" y="3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54" y="65"/>
                    <a:pt x="181" y="102"/>
                    <a:pt x="215" y="134"/>
                  </a:cubicBezTo>
                  <a:cubicBezTo>
                    <a:pt x="224" y="141"/>
                    <a:pt x="232" y="148"/>
                    <a:pt x="240" y="155"/>
                  </a:cubicBezTo>
                  <a:cubicBezTo>
                    <a:pt x="242" y="156"/>
                    <a:pt x="242" y="158"/>
                    <a:pt x="241" y="159"/>
                  </a:cubicBezTo>
                  <a:cubicBezTo>
                    <a:pt x="240" y="160"/>
                    <a:pt x="239" y="161"/>
                    <a:pt x="238" y="16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1" name="Freeform 1146">
              <a:extLst>
                <a:ext uri="{FF2B5EF4-FFF2-40B4-BE49-F238E27FC236}">
                  <a16:creationId xmlns:a16="http://schemas.microsoft.com/office/drawing/2014/main" id="{9A172253-5C8F-43FE-9EBB-6E28BCD86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0969" y="1779348"/>
              <a:ext cx="467897" cy="12646"/>
            </a:xfrm>
            <a:custGeom>
              <a:avLst/>
              <a:gdLst>
                <a:gd name="T0" fmla="*/ 255 w 258"/>
                <a:gd name="T1" fmla="*/ 7 h 7"/>
                <a:gd name="T2" fmla="*/ 3 w 258"/>
                <a:gd name="T3" fmla="*/ 7 h 7"/>
                <a:gd name="T4" fmla="*/ 0 w 258"/>
                <a:gd name="T5" fmla="*/ 4 h 7"/>
                <a:gd name="T6" fmla="*/ 3 w 258"/>
                <a:gd name="T7" fmla="*/ 0 h 7"/>
                <a:gd name="T8" fmla="*/ 255 w 258"/>
                <a:gd name="T9" fmla="*/ 0 h 7"/>
                <a:gd name="T10" fmla="*/ 258 w 258"/>
                <a:gd name="T11" fmla="*/ 4 h 7"/>
                <a:gd name="T12" fmla="*/ 255 w 25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7">
                  <a:moveTo>
                    <a:pt x="255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57" y="0"/>
                    <a:pt x="258" y="2"/>
                    <a:pt x="258" y="4"/>
                  </a:cubicBezTo>
                  <a:cubicBezTo>
                    <a:pt x="258" y="6"/>
                    <a:pt x="257" y="7"/>
                    <a:pt x="255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2" name="Freeform 1147">
              <a:extLst>
                <a:ext uri="{FF2B5EF4-FFF2-40B4-BE49-F238E27FC236}">
                  <a16:creationId xmlns:a16="http://schemas.microsoft.com/office/drawing/2014/main" id="{367C3520-5553-49BF-AF8C-B64A59E3A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1670" y="1445497"/>
              <a:ext cx="347761" cy="346496"/>
            </a:xfrm>
            <a:custGeom>
              <a:avLst/>
              <a:gdLst>
                <a:gd name="T0" fmla="*/ 188 w 192"/>
                <a:gd name="T1" fmla="*/ 191 h 191"/>
                <a:gd name="T2" fmla="*/ 4 w 192"/>
                <a:gd name="T3" fmla="*/ 191 h 191"/>
                <a:gd name="T4" fmla="*/ 0 w 192"/>
                <a:gd name="T5" fmla="*/ 188 h 191"/>
                <a:gd name="T6" fmla="*/ 0 w 192"/>
                <a:gd name="T7" fmla="*/ 135 h 191"/>
                <a:gd name="T8" fmla="*/ 1 w 192"/>
                <a:gd name="T9" fmla="*/ 133 h 191"/>
                <a:gd name="T10" fmla="*/ 34 w 192"/>
                <a:gd name="T11" fmla="*/ 98 h 191"/>
                <a:gd name="T12" fmla="*/ 83 w 192"/>
                <a:gd name="T13" fmla="*/ 23 h 191"/>
                <a:gd name="T14" fmla="*/ 93 w 192"/>
                <a:gd name="T15" fmla="*/ 2 h 191"/>
                <a:gd name="T16" fmla="*/ 96 w 192"/>
                <a:gd name="T17" fmla="*/ 0 h 191"/>
                <a:gd name="T18" fmla="*/ 96 w 192"/>
                <a:gd name="T19" fmla="*/ 0 h 191"/>
                <a:gd name="T20" fmla="*/ 99 w 192"/>
                <a:gd name="T21" fmla="*/ 2 h 191"/>
                <a:gd name="T22" fmla="*/ 109 w 192"/>
                <a:gd name="T23" fmla="*/ 23 h 191"/>
                <a:gd name="T24" fmla="*/ 190 w 192"/>
                <a:gd name="T25" fmla="*/ 133 h 191"/>
                <a:gd name="T26" fmla="*/ 192 w 192"/>
                <a:gd name="T27" fmla="*/ 135 h 191"/>
                <a:gd name="T28" fmla="*/ 192 w 192"/>
                <a:gd name="T29" fmla="*/ 188 h 191"/>
                <a:gd name="T30" fmla="*/ 188 w 192"/>
                <a:gd name="T31" fmla="*/ 191 h 191"/>
                <a:gd name="T32" fmla="*/ 7 w 192"/>
                <a:gd name="T33" fmla="*/ 184 h 191"/>
                <a:gd name="T34" fmla="*/ 185 w 192"/>
                <a:gd name="T35" fmla="*/ 184 h 191"/>
                <a:gd name="T36" fmla="*/ 185 w 192"/>
                <a:gd name="T37" fmla="*/ 137 h 191"/>
                <a:gd name="T38" fmla="*/ 103 w 192"/>
                <a:gd name="T39" fmla="*/ 26 h 191"/>
                <a:gd name="T40" fmla="*/ 96 w 192"/>
                <a:gd name="T41" fmla="*/ 11 h 191"/>
                <a:gd name="T42" fmla="*/ 89 w 192"/>
                <a:gd name="T43" fmla="*/ 26 h 191"/>
                <a:gd name="T44" fmla="*/ 39 w 192"/>
                <a:gd name="T45" fmla="*/ 103 h 191"/>
                <a:gd name="T46" fmla="*/ 7 w 192"/>
                <a:gd name="T47" fmla="*/ 137 h 191"/>
                <a:gd name="T48" fmla="*/ 7 w 192"/>
                <a:gd name="T49" fmla="*/ 18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191">
                  <a:moveTo>
                    <a:pt x="188" y="191"/>
                  </a:moveTo>
                  <a:cubicBezTo>
                    <a:pt x="4" y="191"/>
                    <a:pt x="4" y="191"/>
                    <a:pt x="4" y="191"/>
                  </a:cubicBezTo>
                  <a:cubicBezTo>
                    <a:pt x="2" y="191"/>
                    <a:pt x="0" y="190"/>
                    <a:pt x="0" y="188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4"/>
                    <a:pt x="1" y="133"/>
                    <a:pt x="1" y="133"/>
                  </a:cubicBezTo>
                  <a:cubicBezTo>
                    <a:pt x="13" y="122"/>
                    <a:pt x="24" y="111"/>
                    <a:pt x="34" y="98"/>
                  </a:cubicBezTo>
                  <a:cubicBezTo>
                    <a:pt x="53" y="75"/>
                    <a:pt x="70" y="50"/>
                    <a:pt x="83" y="23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1"/>
                    <a:pt x="95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7" y="0"/>
                    <a:pt x="98" y="1"/>
                    <a:pt x="99" y="2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29" y="64"/>
                    <a:pt x="156" y="101"/>
                    <a:pt x="190" y="133"/>
                  </a:cubicBezTo>
                  <a:cubicBezTo>
                    <a:pt x="191" y="133"/>
                    <a:pt x="192" y="134"/>
                    <a:pt x="192" y="135"/>
                  </a:cubicBezTo>
                  <a:cubicBezTo>
                    <a:pt x="192" y="188"/>
                    <a:pt x="192" y="188"/>
                    <a:pt x="192" y="188"/>
                  </a:cubicBezTo>
                  <a:cubicBezTo>
                    <a:pt x="192" y="190"/>
                    <a:pt x="190" y="191"/>
                    <a:pt x="188" y="191"/>
                  </a:cubicBezTo>
                  <a:close/>
                  <a:moveTo>
                    <a:pt x="7" y="184"/>
                  </a:moveTo>
                  <a:cubicBezTo>
                    <a:pt x="185" y="184"/>
                    <a:pt x="185" y="184"/>
                    <a:pt x="185" y="184"/>
                  </a:cubicBezTo>
                  <a:cubicBezTo>
                    <a:pt x="185" y="137"/>
                    <a:pt x="185" y="137"/>
                    <a:pt x="185" y="137"/>
                  </a:cubicBezTo>
                  <a:cubicBezTo>
                    <a:pt x="151" y="105"/>
                    <a:pt x="123" y="68"/>
                    <a:pt x="103" y="2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76" y="53"/>
                    <a:pt x="59" y="79"/>
                    <a:pt x="39" y="103"/>
                  </a:cubicBezTo>
                  <a:cubicBezTo>
                    <a:pt x="29" y="115"/>
                    <a:pt x="18" y="126"/>
                    <a:pt x="7" y="137"/>
                  </a:cubicBezTo>
                  <a:lnTo>
                    <a:pt x="7" y="18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3" name="Freeform 1148">
              <a:extLst>
                <a:ext uri="{FF2B5EF4-FFF2-40B4-BE49-F238E27FC236}">
                  <a16:creationId xmlns:a16="http://schemas.microsoft.com/office/drawing/2014/main" id="{98616625-F17C-4B0A-BC81-A47ECC2EF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71455" y="1582073"/>
              <a:ext cx="165661" cy="209921"/>
            </a:xfrm>
            <a:custGeom>
              <a:avLst/>
              <a:gdLst>
                <a:gd name="T0" fmla="*/ 88 w 91"/>
                <a:gd name="T1" fmla="*/ 116 h 116"/>
                <a:gd name="T2" fmla="*/ 88 w 91"/>
                <a:gd name="T3" fmla="*/ 116 h 116"/>
                <a:gd name="T4" fmla="*/ 4 w 91"/>
                <a:gd name="T5" fmla="*/ 116 h 116"/>
                <a:gd name="T6" fmla="*/ 1 w 91"/>
                <a:gd name="T7" fmla="*/ 115 h 116"/>
                <a:gd name="T8" fmla="*/ 1 w 91"/>
                <a:gd name="T9" fmla="*/ 111 h 116"/>
                <a:gd name="T10" fmla="*/ 43 w 91"/>
                <a:gd name="T11" fmla="*/ 2 h 116"/>
                <a:gd name="T12" fmla="*/ 46 w 91"/>
                <a:gd name="T13" fmla="*/ 0 h 116"/>
                <a:gd name="T14" fmla="*/ 49 w 91"/>
                <a:gd name="T15" fmla="*/ 2 h 116"/>
                <a:gd name="T16" fmla="*/ 91 w 91"/>
                <a:gd name="T17" fmla="*/ 111 h 116"/>
                <a:gd name="T18" fmla="*/ 91 w 91"/>
                <a:gd name="T19" fmla="*/ 113 h 116"/>
                <a:gd name="T20" fmla="*/ 88 w 91"/>
                <a:gd name="T21" fmla="*/ 116 h 116"/>
                <a:gd name="T22" fmla="*/ 9 w 91"/>
                <a:gd name="T23" fmla="*/ 109 h 116"/>
                <a:gd name="T24" fmla="*/ 83 w 91"/>
                <a:gd name="T25" fmla="*/ 109 h 116"/>
                <a:gd name="T26" fmla="*/ 46 w 91"/>
                <a:gd name="T27" fmla="*/ 13 h 116"/>
                <a:gd name="T28" fmla="*/ 9 w 91"/>
                <a:gd name="T29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16">
                  <a:moveTo>
                    <a:pt x="88" y="116"/>
                  </a:moveTo>
                  <a:cubicBezTo>
                    <a:pt x="88" y="116"/>
                    <a:pt x="88" y="116"/>
                    <a:pt x="88" y="116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3" y="116"/>
                    <a:pt x="2" y="116"/>
                    <a:pt x="1" y="115"/>
                  </a:cubicBezTo>
                  <a:cubicBezTo>
                    <a:pt x="1" y="114"/>
                    <a:pt x="0" y="112"/>
                    <a:pt x="1" y="111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1"/>
                    <a:pt x="45" y="0"/>
                    <a:pt x="46" y="0"/>
                  </a:cubicBezTo>
                  <a:cubicBezTo>
                    <a:pt x="47" y="0"/>
                    <a:pt x="49" y="1"/>
                    <a:pt x="49" y="2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91" y="111"/>
                    <a:pt x="91" y="112"/>
                    <a:pt x="91" y="113"/>
                  </a:cubicBezTo>
                  <a:cubicBezTo>
                    <a:pt x="91" y="115"/>
                    <a:pt x="90" y="116"/>
                    <a:pt x="88" y="116"/>
                  </a:cubicBezTo>
                  <a:close/>
                  <a:moveTo>
                    <a:pt x="9" y="109"/>
                  </a:moveTo>
                  <a:cubicBezTo>
                    <a:pt x="83" y="109"/>
                    <a:pt x="83" y="109"/>
                    <a:pt x="83" y="109"/>
                  </a:cubicBezTo>
                  <a:cubicBezTo>
                    <a:pt x="46" y="13"/>
                    <a:pt x="46" y="13"/>
                    <a:pt x="46" y="13"/>
                  </a:cubicBezTo>
                  <a:lnTo>
                    <a:pt x="9" y="10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4" name="Freeform 1149">
              <a:extLst>
                <a:ext uri="{FF2B5EF4-FFF2-40B4-BE49-F238E27FC236}">
                  <a16:creationId xmlns:a16="http://schemas.microsoft.com/office/drawing/2014/main" id="{4FDA83F6-0CD3-4FDF-8EA6-0271F9695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370" y="1582073"/>
              <a:ext cx="120136" cy="209921"/>
            </a:xfrm>
            <a:custGeom>
              <a:avLst/>
              <a:gdLst>
                <a:gd name="T0" fmla="*/ 20 w 66"/>
                <a:gd name="T1" fmla="*/ 116 h 116"/>
                <a:gd name="T2" fmla="*/ 17 w 66"/>
                <a:gd name="T3" fmla="*/ 114 h 116"/>
                <a:gd name="T4" fmla="*/ 0 w 66"/>
                <a:gd name="T5" fmla="*/ 72 h 116"/>
                <a:gd name="T6" fmla="*/ 1 w 66"/>
                <a:gd name="T7" fmla="*/ 68 h 116"/>
                <a:gd name="T8" fmla="*/ 59 w 66"/>
                <a:gd name="T9" fmla="*/ 1 h 116"/>
                <a:gd name="T10" fmla="*/ 64 w 66"/>
                <a:gd name="T11" fmla="*/ 1 h 116"/>
                <a:gd name="T12" fmla="*/ 65 w 66"/>
                <a:gd name="T13" fmla="*/ 6 h 116"/>
                <a:gd name="T14" fmla="*/ 7 w 66"/>
                <a:gd name="T15" fmla="*/ 71 h 116"/>
                <a:gd name="T16" fmla="*/ 23 w 66"/>
                <a:gd name="T17" fmla="*/ 111 h 116"/>
                <a:gd name="T18" fmla="*/ 21 w 66"/>
                <a:gd name="T19" fmla="*/ 116 h 116"/>
                <a:gd name="T20" fmla="*/ 20 w 66"/>
                <a:gd name="T2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16">
                  <a:moveTo>
                    <a:pt x="20" y="116"/>
                  </a:moveTo>
                  <a:cubicBezTo>
                    <a:pt x="19" y="116"/>
                    <a:pt x="17" y="115"/>
                    <a:pt x="17" y="11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1"/>
                    <a:pt x="0" y="69"/>
                    <a:pt x="1" y="68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1" y="0"/>
                    <a:pt x="63" y="0"/>
                    <a:pt x="64" y="1"/>
                  </a:cubicBezTo>
                  <a:cubicBezTo>
                    <a:pt x="66" y="2"/>
                    <a:pt x="66" y="5"/>
                    <a:pt x="65" y="6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4" y="113"/>
                    <a:pt x="23" y="115"/>
                    <a:pt x="21" y="116"/>
                  </a:cubicBezTo>
                  <a:cubicBezTo>
                    <a:pt x="21" y="116"/>
                    <a:pt x="20" y="116"/>
                    <a:pt x="20" y="1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5" name="Freeform 1150">
              <a:extLst>
                <a:ext uri="{FF2B5EF4-FFF2-40B4-BE49-F238E27FC236}">
                  <a16:creationId xmlns:a16="http://schemas.microsoft.com/office/drawing/2014/main" id="{CA6FE9B0-C039-4AD1-87E7-134C6C8CA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7330" y="1582073"/>
              <a:ext cx="120136" cy="209921"/>
            </a:xfrm>
            <a:custGeom>
              <a:avLst/>
              <a:gdLst>
                <a:gd name="T0" fmla="*/ 46 w 66"/>
                <a:gd name="T1" fmla="*/ 116 h 116"/>
                <a:gd name="T2" fmla="*/ 45 w 66"/>
                <a:gd name="T3" fmla="*/ 116 h 116"/>
                <a:gd name="T4" fmla="*/ 43 w 66"/>
                <a:gd name="T5" fmla="*/ 111 h 116"/>
                <a:gd name="T6" fmla="*/ 59 w 66"/>
                <a:gd name="T7" fmla="*/ 71 h 116"/>
                <a:gd name="T8" fmla="*/ 1 w 66"/>
                <a:gd name="T9" fmla="*/ 6 h 116"/>
                <a:gd name="T10" fmla="*/ 2 w 66"/>
                <a:gd name="T11" fmla="*/ 1 h 116"/>
                <a:gd name="T12" fmla="*/ 7 w 66"/>
                <a:gd name="T13" fmla="*/ 1 h 116"/>
                <a:gd name="T14" fmla="*/ 65 w 66"/>
                <a:gd name="T15" fmla="*/ 68 h 116"/>
                <a:gd name="T16" fmla="*/ 66 w 66"/>
                <a:gd name="T17" fmla="*/ 72 h 116"/>
                <a:gd name="T18" fmla="*/ 49 w 66"/>
                <a:gd name="T19" fmla="*/ 114 h 116"/>
                <a:gd name="T20" fmla="*/ 46 w 66"/>
                <a:gd name="T2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16">
                  <a:moveTo>
                    <a:pt x="46" y="116"/>
                  </a:moveTo>
                  <a:cubicBezTo>
                    <a:pt x="45" y="116"/>
                    <a:pt x="45" y="116"/>
                    <a:pt x="45" y="116"/>
                  </a:cubicBezTo>
                  <a:cubicBezTo>
                    <a:pt x="43" y="115"/>
                    <a:pt x="42" y="113"/>
                    <a:pt x="43" y="11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6" y="69"/>
                    <a:pt x="66" y="71"/>
                    <a:pt x="66" y="72"/>
                  </a:cubicBezTo>
                  <a:cubicBezTo>
                    <a:pt x="49" y="114"/>
                    <a:pt x="49" y="114"/>
                    <a:pt x="49" y="114"/>
                  </a:cubicBezTo>
                  <a:cubicBezTo>
                    <a:pt x="48" y="115"/>
                    <a:pt x="47" y="116"/>
                    <a:pt x="46" y="1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6" name="Freeform 1151">
              <a:extLst>
                <a:ext uri="{FF2B5EF4-FFF2-40B4-BE49-F238E27FC236}">
                  <a16:creationId xmlns:a16="http://schemas.microsoft.com/office/drawing/2014/main" id="{AE6E4620-43AC-4DA7-8378-2A5B399EA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9859" y="1445497"/>
              <a:ext cx="11381" cy="155544"/>
            </a:xfrm>
            <a:custGeom>
              <a:avLst/>
              <a:gdLst>
                <a:gd name="T0" fmla="*/ 3 w 6"/>
                <a:gd name="T1" fmla="*/ 86 h 86"/>
                <a:gd name="T2" fmla="*/ 0 w 6"/>
                <a:gd name="T3" fmla="*/ 83 h 86"/>
                <a:gd name="T4" fmla="*/ 0 w 6"/>
                <a:gd name="T5" fmla="*/ 3 h 86"/>
                <a:gd name="T6" fmla="*/ 3 w 6"/>
                <a:gd name="T7" fmla="*/ 0 h 86"/>
                <a:gd name="T8" fmla="*/ 6 w 6"/>
                <a:gd name="T9" fmla="*/ 3 h 86"/>
                <a:gd name="T10" fmla="*/ 6 w 6"/>
                <a:gd name="T11" fmla="*/ 83 h 86"/>
                <a:gd name="T12" fmla="*/ 3 w 6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6">
                  <a:moveTo>
                    <a:pt x="3" y="86"/>
                  </a:moveTo>
                  <a:cubicBezTo>
                    <a:pt x="1" y="86"/>
                    <a:pt x="0" y="85"/>
                    <a:pt x="0" y="8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5"/>
                    <a:pt x="5" y="86"/>
                    <a:pt x="3" y="8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7" name="Freeform 1152">
              <a:extLst>
                <a:ext uri="{FF2B5EF4-FFF2-40B4-BE49-F238E27FC236}">
                  <a16:creationId xmlns:a16="http://schemas.microsoft.com/office/drawing/2014/main" id="{02F4B028-BC87-4037-BE4D-5FF5D0D8F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144" y="1703473"/>
              <a:ext cx="12646" cy="88521"/>
            </a:xfrm>
            <a:custGeom>
              <a:avLst/>
              <a:gdLst>
                <a:gd name="T0" fmla="*/ 4 w 7"/>
                <a:gd name="T1" fmla="*/ 49 h 49"/>
                <a:gd name="T2" fmla="*/ 0 w 7"/>
                <a:gd name="T3" fmla="*/ 46 h 49"/>
                <a:gd name="T4" fmla="*/ 0 w 7"/>
                <a:gd name="T5" fmla="*/ 4 h 49"/>
                <a:gd name="T6" fmla="*/ 4 w 7"/>
                <a:gd name="T7" fmla="*/ 0 h 49"/>
                <a:gd name="T8" fmla="*/ 7 w 7"/>
                <a:gd name="T9" fmla="*/ 4 h 49"/>
                <a:gd name="T10" fmla="*/ 7 w 7"/>
                <a:gd name="T11" fmla="*/ 46 h 49"/>
                <a:gd name="T12" fmla="*/ 4 w 7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9">
                  <a:moveTo>
                    <a:pt x="4" y="49"/>
                  </a:moveTo>
                  <a:cubicBezTo>
                    <a:pt x="2" y="49"/>
                    <a:pt x="0" y="48"/>
                    <a:pt x="0" y="4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8"/>
                    <a:pt x="5" y="49"/>
                    <a:pt x="4" y="4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8" name="Freeform 1153">
              <a:extLst>
                <a:ext uri="{FF2B5EF4-FFF2-40B4-BE49-F238E27FC236}">
                  <a16:creationId xmlns:a16="http://schemas.microsoft.com/office/drawing/2014/main" id="{B5AAFA40-3E4A-4FFD-BEAC-C3AC0F6FD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2310" y="1703473"/>
              <a:ext cx="12646" cy="88521"/>
            </a:xfrm>
            <a:custGeom>
              <a:avLst/>
              <a:gdLst>
                <a:gd name="T0" fmla="*/ 3 w 7"/>
                <a:gd name="T1" fmla="*/ 49 h 49"/>
                <a:gd name="T2" fmla="*/ 0 w 7"/>
                <a:gd name="T3" fmla="*/ 46 h 49"/>
                <a:gd name="T4" fmla="*/ 0 w 7"/>
                <a:gd name="T5" fmla="*/ 4 h 49"/>
                <a:gd name="T6" fmla="*/ 3 w 7"/>
                <a:gd name="T7" fmla="*/ 0 h 49"/>
                <a:gd name="T8" fmla="*/ 7 w 7"/>
                <a:gd name="T9" fmla="*/ 4 h 49"/>
                <a:gd name="T10" fmla="*/ 7 w 7"/>
                <a:gd name="T11" fmla="*/ 46 h 49"/>
                <a:gd name="T12" fmla="*/ 3 w 7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9">
                  <a:moveTo>
                    <a:pt x="3" y="49"/>
                  </a:moveTo>
                  <a:cubicBezTo>
                    <a:pt x="1" y="49"/>
                    <a:pt x="0" y="48"/>
                    <a:pt x="0" y="4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8"/>
                    <a:pt x="5" y="49"/>
                    <a:pt x="3" y="4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9" name="Agrupar 1708">
            <a:extLst>
              <a:ext uri="{FF2B5EF4-FFF2-40B4-BE49-F238E27FC236}">
                <a16:creationId xmlns:a16="http://schemas.microsoft.com/office/drawing/2014/main" id="{5F728EE6-2323-470C-BE36-265D189A5D06}"/>
              </a:ext>
            </a:extLst>
          </p:cNvPr>
          <p:cNvGrpSpPr/>
          <p:nvPr/>
        </p:nvGrpSpPr>
        <p:grpSpPr>
          <a:xfrm>
            <a:off x="7695977" y="1445497"/>
            <a:ext cx="467897" cy="346497"/>
            <a:chOff x="8377589" y="1445497"/>
            <a:chExt cx="467897" cy="346497"/>
          </a:xfrm>
        </p:grpSpPr>
        <p:sp>
          <p:nvSpPr>
            <p:cNvPr id="1359" name="Freeform 1154">
              <a:extLst>
                <a:ext uri="{FF2B5EF4-FFF2-40B4-BE49-F238E27FC236}">
                  <a16:creationId xmlns:a16="http://schemas.microsoft.com/office/drawing/2014/main" id="{1E1AE49A-4DA3-4DEB-BD7C-8AB88080A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7589" y="1513785"/>
              <a:ext cx="89786" cy="278209"/>
            </a:xfrm>
            <a:custGeom>
              <a:avLst/>
              <a:gdLst>
                <a:gd name="T0" fmla="*/ 24 w 49"/>
                <a:gd name="T1" fmla="*/ 153 h 153"/>
                <a:gd name="T2" fmla="*/ 13 w 49"/>
                <a:gd name="T3" fmla="*/ 141 h 153"/>
                <a:gd name="T4" fmla="*/ 13 w 49"/>
                <a:gd name="T5" fmla="*/ 35 h 153"/>
                <a:gd name="T6" fmla="*/ 0 w 49"/>
                <a:gd name="T7" fmla="*/ 20 h 153"/>
                <a:gd name="T8" fmla="*/ 0 w 49"/>
                <a:gd name="T9" fmla="*/ 3 h 153"/>
                <a:gd name="T10" fmla="*/ 4 w 49"/>
                <a:gd name="T11" fmla="*/ 0 h 153"/>
                <a:gd name="T12" fmla="*/ 7 w 49"/>
                <a:gd name="T13" fmla="*/ 3 h 153"/>
                <a:gd name="T14" fmla="*/ 16 w 49"/>
                <a:gd name="T15" fmla="*/ 12 h 153"/>
                <a:gd name="T16" fmla="*/ 33 w 49"/>
                <a:gd name="T17" fmla="*/ 12 h 153"/>
                <a:gd name="T18" fmla="*/ 42 w 49"/>
                <a:gd name="T19" fmla="*/ 3 h 153"/>
                <a:gd name="T20" fmla="*/ 45 w 49"/>
                <a:gd name="T21" fmla="*/ 0 h 153"/>
                <a:gd name="T22" fmla="*/ 49 w 49"/>
                <a:gd name="T23" fmla="*/ 3 h 153"/>
                <a:gd name="T24" fmla="*/ 49 w 49"/>
                <a:gd name="T25" fmla="*/ 20 h 153"/>
                <a:gd name="T26" fmla="*/ 36 w 49"/>
                <a:gd name="T27" fmla="*/ 35 h 153"/>
                <a:gd name="T28" fmla="*/ 36 w 49"/>
                <a:gd name="T29" fmla="*/ 141 h 153"/>
                <a:gd name="T30" fmla="*/ 24 w 49"/>
                <a:gd name="T31" fmla="*/ 153 h 153"/>
                <a:gd name="T32" fmla="*/ 7 w 49"/>
                <a:gd name="T33" fmla="*/ 16 h 153"/>
                <a:gd name="T34" fmla="*/ 7 w 49"/>
                <a:gd name="T35" fmla="*/ 20 h 153"/>
                <a:gd name="T36" fmla="*/ 16 w 49"/>
                <a:gd name="T37" fmla="*/ 29 h 153"/>
                <a:gd name="T38" fmla="*/ 20 w 49"/>
                <a:gd name="T39" fmla="*/ 32 h 153"/>
                <a:gd name="T40" fmla="*/ 20 w 49"/>
                <a:gd name="T41" fmla="*/ 141 h 153"/>
                <a:gd name="T42" fmla="*/ 24 w 49"/>
                <a:gd name="T43" fmla="*/ 146 h 153"/>
                <a:gd name="T44" fmla="*/ 29 w 49"/>
                <a:gd name="T45" fmla="*/ 141 h 153"/>
                <a:gd name="T46" fmla="*/ 29 w 49"/>
                <a:gd name="T47" fmla="*/ 32 h 153"/>
                <a:gd name="T48" fmla="*/ 33 w 49"/>
                <a:gd name="T49" fmla="*/ 29 h 153"/>
                <a:gd name="T50" fmla="*/ 42 w 49"/>
                <a:gd name="T51" fmla="*/ 20 h 153"/>
                <a:gd name="T52" fmla="*/ 42 w 49"/>
                <a:gd name="T53" fmla="*/ 16 h 153"/>
                <a:gd name="T54" fmla="*/ 33 w 49"/>
                <a:gd name="T55" fmla="*/ 19 h 153"/>
                <a:gd name="T56" fmla="*/ 16 w 49"/>
                <a:gd name="T57" fmla="*/ 19 h 153"/>
                <a:gd name="T58" fmla="*/ 7 w 49"/>
                <a:gd name="T59" fmla="*/ 1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9" h="153">
                  <a:moveTo>
                    <a:pt x="24" y="153"/>
                  </a:moveTo>
                  <a:cubicBezTo>
                    <a:pt x="18" y="153"/>
                    <a:pt x="13" y="148"/>
                    <a:pt x="13" y="141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5" y="34"/>
                    <a:pt x="0" y="27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8"/>
                    <a:pt x="11" y="12"/>
                    <a:pt x="16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8" y="12"/>
                    <a:pt x="42" y="8"/>
                    <a:pt x="42" y="3"/>
                  </a:cubicBezTo>
                  <a:cubicBezTo>
                    <a:pt x="42" y="1"/>
                    <a:pt x="44" y="0"/>
                    <a:pt x="45" y="0"/>
                  </a:cubicBezTo>
                  <a:cubicBezTo>
                    <a:pt x="47" y="0"/>
                    <a:pt x="49" y="1"/>
                    <a:pt x="49" y="3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9" y="27"/>
                    <a:pt x="43" y="34"/>
                    <a:pt x="36" y="35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8"/>
                    <a:pt x="31" y="153"/>
                    <a:pt x="24" y="153"/>
                  </a:cubicBezTo>
                  <a:close/>
                  <a:moveTo>
                    <a:pt x="7" y="16"/>
                  </a:moveTo>
                  <a:cubicBezTo>
                    <a:pt x="7" y="20"/>
                    <a:pt x="7" y="20"/>
                    <a:pt x="7" y="20"/>
                  </a:cubicBezTo>
                  <a:cubicBezTo>
                    <a:pt x="7" y="25"/>
                    <a:pt x="11" y="29"/>
                    <a:pt x="16" y="29"/>
                  </a:cubicBezTo>
                  <a:cubicBezTo>
                    <a:pt x="18" y="29"/>
                    <a:pt x="20" y="30"/>
                    <a:pt x="20" y="32"/>
                  </a:cubicBezTo>
                  <a:cubicBezTo>
                    <a:pt x="20" y="141"/>
                    <a:pt x="20" y="141"/>
                    <a:pt x="20" y="141"/>
                  </a:cubicBezTo>
                  <a:cubicBezTo>
                    <a:pt x="20" y="144"/>
                    <a:pt x="22" y="146"/>
                    <a:pt x="24" y="146"/>
                  </a:cubicBezTo>
                  <a:cubicBezTo>
                    <a:pt x="27" y="146"/>
                    <a:pt x="29" y="144"/>
                    <a:pt x="29" y="141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0"/>
                    <a:pt x="31" y="29"/>
                    <a:pt x="33" y="29"/>
                  </a:cubicBezTo>
                  <a:cubicBezTo>
                    <a:pt x="38" y="29"/>
                    <a:pt x="42" y="25"/>
                    <a:pt x="42" y="20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39" y="18"/>
                    <a:pt x="36" y="19"/>
                    <a:pt x="33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3" y="19"/>
                    <a:pt x="10" y="18"/>
                    <a:pt x="7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0" name="Freeform 1155">
              <a:extLst>
                <a:ext uri="{FF2B5EF4-FFF2-40B4-BE49-F238E27FC236}">
                  <a16:creationId xmlns:a16="http://schemas.microsoft.com/office/drawing/2014/main" id="{5B53693E-E6A5-4660-B485-9597D0465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7589" y="1459408"/>
              <a:ext cx="12646" cy="82198"/>
            </a:xfrm>
            <a:custGeom>
              <a:avLst/>
              <a:gdLst>
                <a:gd name="T0" fmla="*/ 4 w 7"/>
                <a:gd name="T1" fmla="*/ 45 h 45"/>
                <a:gd name="T2" fmla="*/ 0 w 7"/>
                <a:gd name="T3" fmla="*/ 41 h 45"/>
                <a:gd name="T4" fmla="*/ 0 w 7"/>
                <a:gd name="T5" fmla="*/ 4 h 45"/>
                <a:gd name="T6" fmla="*/ 4 w 7"/>
                <a:gd name="T7" fmla="*/ 0 h 45"/>
                <a:gd name="T8" fmla="*/ 7 w 7"/>
                <a:gd name="T9" fmla="*/ 4 h 45"/>
                <a:gd name="T10" fmla="*/ 7 w 7"/>
                <a:gd name="T11" fmla="*/ 41 h 45"/>
                <a:gd name="T12" fmla="*/ 4 w 7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5">
                  <a:moveTo>
                    <a:pt x="4" y="45"/>
                  </a:moveTo>
                  <a:cubicBezTo>
                    <a:pt x="2" y="45"/>
                    <a:pt x="0" y="43"/>
                    <a:pt x="0" y="4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7" y="43"/>
                    <a:pt x="5" y="45"/>
                    <a:pt x="4" y="4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1" name="Freeform 1156">
              <a:extLst>
                <a:ext uri="{FF2B5EF4-FFF2-40B4-BE49-F238E27FC236}">
                  <a16:creationId xmlns:a16="http://schemas.microsoft.com/office/drawing/2014/main" id="{9D2F1CE2-E27E-46D1-8314-6F7C2892B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729" y="1459408"/>
              <a:ext cx="12646" cy="82198"/>
            </a:xfrm>
            <a:custGeom>
              <a:avLst/>
              <a:gdLst>
                <a:gd name="T0" fmla="*/ 3 w 7"/>
                <a:gd name="T1" fmla="*/ 45 h 45"/>
                <a:gd name="T2" fmla="*/ 0 w 7"/>
                <a:gd name="T3" fmla="*/ 41 h 45"/>
                <a:gd name="T4" fmla="*/ 0 w 7"/>
                <a:gd name="T5" fmla="*/ 4 h 45"/>
                <a:gd name="T6" fmla="*/ 3 w 7"/>
                <a:gd name="T7" fmla="*/ 0 h 45"/>
                <a:gd name="T8" fmla="*/ 7 w 7"/>
                <a:gd name="T9" fmla="*/ 4 h 45"/>
                <a:gd name="T10" fmla="*/ 7 w 7"/>
                <a:gd name="T11" fmla="*/ 41 h 45"/>
                <a:gd name="T12" fmla="*/ 3 w 7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5">
                  <a:moveTo>
                    <a:pt x="3" y="45"/>
                  </a:moveTo>
                  <a:cubicBezTo>
                    <a:pt x="2" y="45"/>
                    <a:pt x="0" y="43"/>
                    <a:pt x="0" y="4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7" y="43"/>
                    <a:pt x="5" y="45"/>
                    <a:pt x="3" y="4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2" name="Freeform 1157">
              <a:extLst>
                <a:ext uri="{FF2B5EF4-FFF2-40B4-BE49-F238E27FC236}">
                  <a16:creationId xmlns:a16="http://schemas.microsoft.com/office/drawing/2014/main" id="{E40745DA-7311-4E12-8120-587713CD6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6791" y="1459408"/>
              <a:ext cx="12646" cy="87256"/>
            </a:xfrm>
            <a:custGeom>
              <a:avLst/>
              <a:gdLst>
                <a:gd name="T0" fmla="*/ 3 w 7"/>
                <a:gd name="T1" fmla="*/ 48 h 48"/>
                <a:gd name="T2" fmla="*/ 0 w 7"/>
                <a:gd name="T3" fmla="*/ 44 h 48"/>
                <a:gd name="T4" fmla="*/ 0 w 7"/>
                <a:gd name="T5" fmla="*/ 4 h 48"/>
                <a:gd name="T6" fmla="*/ 3 w 7"/>
                <a:gd name="T7" fmla="*/ 0 h 48"/>
                <a:gd name="T8" fmla="*/ 7 w 7"/>
                <a:gd name="T9" fmla="*/ 4 h 48"/>
                <a:gd name="T10" fmla="*/ 7 w 7"/>
                <a:gd name="T11" fmla="*/ 44 h 48"/>
                <a:gd name="T12" fmla="*/ 3 w 7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8">
                  <a:moveTo>
                    <a:pt x="3" y="48"/>
                  </a:moveTo>
                  <a:cubicBezTo>
                    <a:pt x="2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6"/>
                    <a:pt x="5" y="48"/>
                    <a:pt x="3" y="4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3" name="Freeform 1158">
              <a:extLst>
                <a:ext uri="{FF2B5EF4-FFF2-40B4-BE49-F238E27FC236}">
                  <a16:creationId xmlns:a16="http://schemas.microsoft.com/office/drawing/2014/main" id="{997409BC-D30F-4362-8FC0-BC94934E8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0992" y="1445497"/>
              <a:ext cx="64494" cy="346496"/>
            </a:xfrm>
            <a:custGeom>
              <a:avLst/>
              <a:gdLst>
                <a:gd name="T0" fmla="*/ 25 w 36"/>
                <a:gd name="T1" fmla="*/ 191 h 191"/>
                <a:gd name="T2" fmla="*/ 13 w 36"/>
                <a:gd name="T3" fmla="*/ 179 h 191"/>
                <a:gd name="T4" fmla="*/ 13 w 36"/>
                <a:gd name="T5" fmla="*/ 104 h 191"/>
                <a:gd name="T6" fmla="*/ 12 w 36"/>
                <a:gd name="T7" fmla="*/ 103 h 191"/>
                <a:gd name="T8" fmla="*/ 0 w 36"/>
                <a:gd name="T9" fmla="*/ 91 h 191"/>
                <a:gd name="T10" fmla="*/ 0 w 36"/>
                <a:gd name="T11" fmla="*/ 48 h 191"/>
                <a:gd name="T12" fmla="*/ 32 w 36"/>
                <a:gd name="T13" fmla="*/ 0 h 191"/>
                <a:gd name="T14" fmla="*/ 35 w 36"/>
                <a:gd name="T15" fmla="*/ 0 h 191"/>
                <a:gd name="T16" fmla="*/ 36 w 36"/>
                <a:gd name="T17" fmla="*/ 3 h 191"/>
                <a:gd name="T18" fmla="*/ 36 w 36"/>
                <a:gd name="T19" fmla="*/ 179 h 191"/>
                <a:gd name="T20" fmla="*/ 25 w 36"/>
                <a:gd name="T21" fmla="*/ 191 h 191"/>
                <a:gd name="T22" fmla="*/ 30 w 36"/>
                <a:gd name="T23" fmla="*/ 9 h 191"/>
                <a:gd name="T24" fmla="*/ 7 w 36"/>
                <a:gd name="T25" fmla="*/ 48 h 191"/>
                <a:gd name="T26" fmla="*/ 7 w 36"/>
                <a:gd name="T27" fmla="*/ 91 h 191"/>
                <a:gd name="T28" fmla="*/ 12 w 36"/>
                <a:gd name="T29" fmla="*/ 96 h 191"/>
                <a:gd name="T30" fmla="*/ 20 w 36"/>
                <a:gd name="T31" fmla="*/ 104 h 191"/>
                <a:gd name="T32" fmla="*/ 20 w 36"/>
                <a:gd name="T33" fmla="*/ 179 h 191"/>
                <a:gd name="T34" fmla="*/ 25 w 36"/>
                <a:gd name="T35" fmla="*/ 184 h 191"/>
                <a:gd name="T36" fmla="*/ 30 w 36"/>
                <a:gd name="T37" fmla="*/ 179 h 191"/>
                <a:gd name="T38" fmla="*/ 30 w 36"/>
                <a:gd name="T39" fmla="*/ 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191">
                  <a:moveTo>
                    <a:pt x="25" y="191"/>
                  </a:moveTo>
                  <a:cubicBezTo>
                    <a:pt x="18" y="191"/>
                    <a:pt x="13" y="186"/>
                    <a:pt x="13" y="179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103"/>
                    <a:pt x="12" y="103"/>
                    <a:pt x="12" y="103"/>
                  </a:cubicBezTo>
                  <a:cubicBezTo>
                    <a:pt x="6" y="103"/>
                    <a:pt x="0" y="98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7"/>
                    <a:pt x="13" y="8"/>
                    <a:pt x="32" y="0"/>
                  </a:cubicBezTo>
                  <a:cubicBezTo>
                    <a:pt x="33" y="0"/>
                    <a:pt x="34" y="0"/>
                    <a:pt x="35" y="0"/>
                  </a:cubicBezTo>
                  <a:cubicBezTo>
                    <a:pt x="36" y="1"/>
                    <a:pt x="36" y="2"/>
                    <a:pt x="36" y="3"/>
                  </a:cubicBezTo>
                  <a:cubicBezTo>
                    <a:pt x="36" y="179"/>
                    <a:pt x="36" y="179"/>
                    <a:pt x="36" y="179"/>
                  </a:cubicBezTo>
                  <a:cubicBezTo>
                    <a:pt x="36" y="186"/>
                    <a:pt x="31" y="191"/>
                    <a:pt x="25" y="191"/>
                  </a:cubicBezTo>
                  <a:close/>
                  <a:moveTo>
                    <a:pt x="30" y="9"/>
                  </a:moveTo>
                  <a:cubicBezTo>
                    <a:pt x="16" y="17"/>
                    <a:pt x="7" y="32"/>
                    <a:pt x="7" y="48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4"/>
                    <a:pt x="9" y="96"/>
                    <a:pt x="12" y="96"/>
                  </a:cubicBezTo>
                  <a:cubicBezTo>
                    <a:pt x="16" y="96"/>
                    <a:pt x="20" y="100"/>
                    <a:pt x="20" y="104"/>
                  </a:cubicBezTo>
                  <a:cubicBezTo>
                    <a:pt x="20" y="179"/>
                    <a:pt x="20" y="179"/>
                    <a:pt x="20" y="179"/>
                  </a:cubicBezTo>
                  <a:cubicBezTo>
                    <a:pt x="20" y="182"/>
                    <a:pt x="22" y="184"/>
                    <a:pt x="25" y="184"/>
                  </a:cubicBezTo>
                  <a:cubicBezTo>
                    <a:pt x="27" y="184"/>
                    <a:pt x="30" y="182"/>
                    <a:pt x="30" y="179"/>
                  </a:cubicBezTo>
                  <a:lnTo>
                    <a:pt x="30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4" name="Freeform 1159">
              <a:extLst>
                <a:ext uri="{FF2B5EF4-FFF2-40B4-BE49-F238E27FC236}">
                  <a16:creationId xmlns:a16="http://schemas.microsoft.com/office/drawing/2014/main" id="{B4B01CBA-E0FB-42A2-A491-20064A71F0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8639" y="1466995"/>
              <a:ext cx="300971" cy="300971"/>
            </a:xfrm>
            <a:custGeom>
              <a:avLst/>
              <a:gdLst>
                <a:gd name="T0" fmla="*/ 83 w 166"/>
                <a:gd name="T1" fmla="*/ 166 h 166"/>
                <a:gd name="T2" fmla="*/ 0 w 166"/>
                <a:gd name="T3" fmla="*/ 83 h 166"/>
                <a:gd name="T4" fmla="*/ 83 w 166"/>
                <a:gd name="T5" fmla="*/ 0 h 166"/>
                <a:gd name="T6" fmla="*/ 166 w 166"/>
                <a:gd name="T7" fmla="*/ 83 h 166"/>
                <a:gd name="T8" fmla="*/ 83 w 166"/>
                <a:gd name="T9" fmla="*/ 166 h 166"/>
                <a:gd name="T10" fmla="*/ 83 w 166"/>
                <a:gd name="T11" fmla="*/ 7 h 166"/>
                <a:gd name="T12" fmla="*/ 7 w 166"/>
                <a:gd name="T13" fmla="*/ 83 h 166"/>
                <a:gd name="T14" fmla="*/ 83 w 166"/>
                <a:gd name="T15" fmla="*/ 160 h 166"/>
                <a:gd name="T16" fmla="*/ 160 w 166"/>
                <a:gd name="T17" fmla="*/ 83 h 166"/>
                <a:gd name="T18" fmla="*/ 83 w 166"/>
                <a:gd name="T19" fmla="*/ 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66"/>
                  </a:moveTo>
                  <a:cubicBezTo>
                    <a:pt x="38" y="166"/>
                    <a:pt x="0" y="129"/>
                    <a:pt x="0" y="83"/>
                  </a:cubicBezTo>
                  <a:cubicBezTo>
                    <a:pt x="0" y="38"/>
                    <a:pt x="38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  <a:moveTo>
                    <a:pt x="83" y="7"/>
                  </a:moveTo>
                  <a:cubicBezTo>
                    <a:pt x="41" y="7"/>
                    <a:pt x="7" y="41"/>
                    <a:pt x="7" y="83"/>
                  </a:cubicBezTo>
                  <a:cubicBezTo>
                    <a:pt x="7" y="125"/>
                    <a:pt x="41" y="160"/>
                    <a:pt x="83" y="160"/>
                  </a:cubicBezTo>
                  <a:cubicBezTo>
                    <a:pt x="125" y="160"/>
                    <a:pt x="160" y="125"/>
                    <a:pt x="160" y="83"/>
                  </a:cubicBezTo>
                  <a:cubicBezTo>
                    <a:pt x="160" y="41"/>
                    <a:pt x="125" y="7"/>
                    <a:pt x="8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5" name="Freeform 1160">
              <a:extLst>
                <a:ext uri="{FF2B5EF4-FFF2-40B4-BE49-F238E27FC236}">
                  <a16:creationId xmlns:a16="http://schemas.microsoft.com/office/drawing/2014/main" id="{1FC83128-E7D4-4DC9-912A-06FCE7F2B3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23016" y="1521372"/>
              <a:ext cx="194746" cy="194746"/>
            </a:xfrm>
            <a:custGeom>
              <a:avLst/>
              <a:gdLst>
                <a:gd name="T0" fmla="*/ 53 w 107"/>
                <a:gd name="T1" fmla="*/ 107 h 107"/>
                <a:gd name="T2" fmla="*/ 0 w 107"/>
                <a:gd name="T3" fmla="*/ 53 h 107"/>
                <a:gd name="T4" fmla="*/ 53 w 107"/>
                <a:gd name="T5" fmla="*/ 0 h 107"/>
                <a:gd name="T6" fmla="*/ 107 w 107"/>
                <a:gd name="T7" fmla="*/ 53 h 107"/>
                <a:gd name="T8" fmla="*/ 53 w 107"/>
                <a:gd name="T9" fmla="*/ 107 h 107"/>
                <a:gd name="T10" fmla="*/ 53 w 107"/>
                <a:gd name="T11" fmla="*/ 7 h 107"/>
                <a:gd name="T12" fmla="*/ 7 w 107"/>
                <a:gd name="T13" fmla="*/ 53 h 107"/>
                <a:gd name="T14" fmla="*/ 53 w 107"/>
                <a:gd name="T15" fmla="*/ 100 h 107"/>
                <a:gd name="T16" fmla="*/ 100 w 107"/>
                <a:gd name="T17" fmla="*/ 53 h 107"/>
                <a:gd name="T18" fmla="*/ 53 w 107"/>
                <a:gd name="T19" fmla="*/ 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7">
                  <a:moveTo>
                    <a:pt x="53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3" y="0"/>
                    <a:pt x="107" y="24"/>
                    <a:pt x="107" y="53"/>
                  </a:cubicBezTo>
                  <a:cubicBezTo>
                    <a:pt x="107" y="83"/>
                    <a:pt x="83" y="107"/>
                    <a:pt x="53" y="107"/>
                  </a:cubicBezTo>
                  <a:close/>
                  <a:moveTo>
                    <a:pt x="53" y="7"/>
                  </a:moveTo>
                  <a:cubicBezTo>
                    <a:pt x="28" y="7"/>
                    <a:pt x="7" y="28"/>
                    <a:pt x="7" y="53"/>
                  </a:cubicBezTo>
                  <a:cubicBezTo>
                    <a:pt x="7" y="79"/>
                    <a:pt x="28" y="100"/>
                    <a:pt x="53" y="100"/>
                  </a:cubicBezTo>
                  <a:cubicBezTo>
                    <a:pt x="79" y="100"/>
                    <a:pt x="100" y="79"/>
                    <a:pt x="100" y="53"/>
                  </a:cubicBezTo>
                  <a:cubicBezTo>
                    <a:pt x="100" y="28"/>
                    <a:pt x="79" y="7"/>
                    <a:pt x="5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5" name="Agrupar 1704">
            <a:extLst>
              <a:ext uri="{FF2B5EF4-FFF2-40B4-BE49-F238E27FC236}">
                <a16:creationId xmlns:a16="http://schemas.microsoft.com/office/drawing/2014/main" id="{97C73E13-0F44-4897-910E-7E105530F0AB}"/>
              </a:ext>
            </a:extLst>
          </p:cNvPr>
          <p:cNvGrpSpPr/>
          <p:nvPr/>
        </p:nvGrpSpPr>
        <p:grpSpPr>
          <a:xfrm>
            <a:off x="10380691" y="734800"/>
            <a:ext cx="405932" cy="407197"/>
            <a:chOff x="11062303" y="734800"/>
            <a:chExt cx="405932" cy="407197"/>
          </a:xfrm>
        </p:grpSpPr>
        <p:sp>
          <p:nvSpPr>
            <p:cNvPr id="1366" name="Freeform 1161">
              <a:extLst>
                <a:ext uri="{FF2B5EF4-FFF2-40B4-BE49-F238E27FC236}">
                  <a16:creationId xmlns:a16="http://schemas.microsoft.com/office/drawing/2014/main" id="{D815BA77-F18A-42DB-9761-4F68FFD796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416" y="765150"/>
              <a:ext cx="300971" cy="175777"/>
            </a:xfrm>
            <a:custGeom>
              <a:avLst/>
              <a:gdLst>
                <a:gd name="T0" fmla="*/ 100 w 166"/>
                <a:gd name="T1" fmla="*/ 97 h 97"/>
                <a:gd name="T2" fmla="*/ 98 w 166"/>
                <a:gd name="T3" fmla="*/ 96 h 97"/>
                <a:gd name="T4" fmla="*/ 96 w 166"/>
                <a:gd name="T5" fmla="*/ 94 h 97"/>
                <a:gd name="T6" fmla="*/ 96 w 166"/>
                <a:gd name="T7" fmla="*/ 86 h 97"/>
                <a:gd name="T8" fmla="*/ 70 w 166"/>
                <a:gd name="T9" fmla="*/ 86 h 97"/>
                <a:gd name="T10" fmla="*/ 70 w 166"/>
                <a:gd name="T11" fmla="*/ 94 h 97"/>
                <a:gd name="T12" fmla="*/ 68 w 166"/>
                <a:gd name="T13" fmla="*/ 96 h 97"/>
                <a:gd name="T14" fmla="*/ 65 w 166"/>
                <a:gd name="T15" fmla="*/ 97 h 97"/>
                <a:gd name="T16" fmla="*/ 5 w 166"/>
                <a:gd name="T17" fmla="*/ 45 h 97"/>
                <a:gd name="T18" fmla="*/ 0 w 166"/>
                <a:gd name="T19" fmla="*/ 16 h 97"/>
                <a:gd name="T20" fmla="*/ 5 w 166"/>
                <a:gd name="T21" fmla="*/ 5 h 97"/>
                <a:gd name="T22" fmla="*/ 16 w 166"/>
                <a:gd name="T23" fmla="*/ 0 h 97"/>
                <a:gd name="T24" fmla="*/ 150 w 166"/>
                <a:gd name="T25" fmla="*/ 0 h 97"/>
                <a:gd name="T26" fmla="*/ 166 w 166"/>
                <a:gd name="T27" fmla="*/ 16 h 97"/>
                <a:gd name="T28" fmla="*/ 160 w 166"/>
                <a:gd name="T29" fmla="*/ 45 h 97"/>
                <a:gd name="T30" fmla="*/ 142 w 166"/>
                <a:gd name="T31" fmla="*/ 75 h 97"/>
                <a:gd name="T32" fmla="*/ 100 w 166"/>
                <a:gd name="T33" fmla="*/ 97 h 97"/>
                <a:gd name="T34" fmla="*/ 100 w 166"/>
                <a:gd name="T35" fmla="*/ 97 h 97"/>
                <a:gd name="T36" fmla="*/ 66 w 166"/>
                <a:gd name="T37" fmla="*/ 79 h 97"/>
                <a:gd name="T38" fmla="*/ 100 w 166"/>
                <a:gd name="T39" fmla="*/ 79 h 97"/>
                <a:gd name="T40" fmla="*/ 103 w 166"/>
                <a:gd name="T41" fmla="*/ 83 h 97"/>
                <a:gd name="T42" fmla="*/ 103 w 166"/>
                <a:gd name="T43" fmla="*/ 89 h 97"/>
                <a:gd name="T44" fmla="*/ 137 w 166"/>
                <a:gd name="T45" fmla="*/ 70 h 97"/>
                <a:gd name="T46" fmla="*/ 154 w 166"/>
                <a:gd name="T47" fmla="*/ 43 h 97"/>
                <a:gd name="T48" fmla="*/ 159 w 166"/>
                <a:gd name="T49" fmla="*/ 16 h 97"/>
                <a:gd name="T50" fmla="*/ 150 w 166"/>
                <a:gd name="T51" fmla="*/ 7 h 97"/>
                <a:gd name="T52" fmla="*/ 16 w 166"/>
                <a:gd name="T53" fmla="*/ 7 h 97"/>
                <a:gd name="T54" fmla="*/ 9 w 166"/>
                <a:gd name="T55" fmla="*/ 9 h 97"/>
                <a:gd name="T56" fmla="*/ 7 w 166"/>
                <a:gd name="T57" fmla="*/ 16 h 97"/>
                <a:gd name="T58" fmla="*/ 12 w 166"/>
                <a:gd name="T59" fmla="*/ 43 h 97"/>
                <a:gd name="T60" fmla="*/ 63 w 166"/>
                <a:gd name="T61" fmla="*/ 89 h 97"/>
                <a:gd name="T62" fmla="*/ 63 w 166"/>
                <a:gd name="T63" fmla="*/ 83 h 97"/>
                <a:gd name="T64" fmla="*/ 66 w 166"/>
                <a:gd name="T65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6" h="97">
                  <a:moveTo>
                    <a:pt x="100" y="97"/>
                  </a:moveTo>
                  <a:cubicBezTo>
                    <a:pt x="99" y="97"/>
                    <a:pt x="98" y="97"/>
                    <a:pt x="98" y="96"/>
                  </a:cubicBezTo>
                  <a:cubicBezTo>
                    <a:pt x="97" y="96"/>
                    <a:pt x="96" y="95"/>
                    <a:pt x="96" y="94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70" y="94"/>
                    <a:pt x="70" y="94"/>
                    <a:pt x="70" y="94"/>
                  </a:cubicBezTo>
                  <a:cubicBezTo>
                    <a:pt x="70" y="95"/>
                    <a:pt x="69" y="96"/>
                    <a:pt x="68" y="96"/>
                  </a:cubicBezTo>
                  <a:cubicBezTo>
                    <a:pt x="68" y="97"/>
                    <a:pt x="66" y="97"/>
                    <a:pt x="65" y="97"/>
                  </a:cubicBezTo>
                  <a:cubicBezTo>
                    <a:pt x="38" y="91"/>
                    <a:pt x="15" y="72"/>
                    <a:pt x="5" y="45"/>
                  </a:cubicBezTo>
                  <a:cubicBezTo>
                    <a:pt x="2" y="36"/>
                    <a:pt x="0" y="26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9" y="0"/>
                    <a:pt x="166" y="7"/>
                    <a:pt x="166" y="16"/>
                  </a:cubicBezTo>
                  <a:cubicBezTo>
                    <a:pt x="166" y="26"/>
                    <a:pt x="164" y="36"/>
                    <a:pt x="160" y="45"/>
                  </a:cubicBezTo>
                  <a:cubicBezTo>
                    <a:pt x="156" y="56"/>
                    <a:pt x="150" y="66"/>
                    <a:pt x="142" y="75"/>
                  </a:cubicBezTo>
                  <a:cubicBezTo>
                    <a:pt x="130" y="86"/>
                    <a:pt x="116" y="94"/>
                    <a:pt x="100" y="97"/>
                  </a:cubicBezTo>
                  <a:cubicBezTo>
                    <a:pt x="100" y="97"/>
                    <a:pt x="100" y="97"/>
                    <a:pt x="100" y="97"/>
                  </a:cubicBezTo>
                  <a:close/>
                  <a:moveTo>
                    <a:pt x="66" y="79"/>
                  </a:moveTo>
                  <a:cubicBezTo>
                    <a:pt x="100" y="79"/>
                    <a:pt x="100" y="79"/>
                    <a:pt x="100" y="79"/>
                  </a:cubicBezTo>
                  <a:cubicBezTo>
                    <a:pt x="102" y="79"/>
                    <a:pt x="103" y="81"/>
                    <a:pt x="103" y="83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116" y="86"/>
                    <a:pt x="127" y="79"/>
                    <a:pt x="137" y="70"/>
                  </a:cubicBezTo>
                  <a:cubicBezTo>
                    <a:pt x="144" y="62"/>
                    <a:pt x="150" y="53"/>
                    <a:pt x="154" y="43"/>
                  </a:cubicBezTo>
                  <a:cubicBezTo>
                    <a:pt x="157" y="34"/>
                    <a:pt x="159" y="25"/>
                    <a:pt x="159" y="16"/>
                  </a:cubicBezTo>
                  <a:cubicBezTo>
                    <a:pt x="159" y="11"/>
                    <a:pt x="155" y="7"/>
                    <a:pt x="150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3" y="7"/>
                    <a:pt x="11" y="8"/>
                    <a:pt x="9" y="9"/>
                  </a:cubicBezTo>
                  <a:cubicBezTo>
                    <a:pt x="8" y="11"/>
                    <a:pt x="7" y="13"/>
                    <a:pt x="7" y="16"/>
                  </a:cubicBezTo>
                  <a:cubicBezTo>
                    <a:pt x="7" y="25"/>
                    <a:pt x="8" y="34"/>
                    <a:pt x="12" y="43"/>
                  </a:cubicBezTo>
                  <a:cubicBezTo>
                    <a:pt x="20" y="66"/>
                    <a:pt x="39" y="83"/>
                    <a:pt x="63" y="89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3" y="81"/>
                    <a:pt x="64" y="79"/>
                    <a:pt x="66" y="7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7" name="Freeform 1162">
              <a:extLst>
                <a:ext uri="{FF2B5EF4-FFF2-40B4-BE49-F238E27FC236}">
                  <a16:creationId xmlns:a16="http://schemas.microsoft.com/office/drawing/2014/main" id="{D3CAB90A-0D16-48E1-BCA6-4DFD938A4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21641" y="734800"/>
              <a:ext cx="87256" cy="42996"/>
            </a:xfrm>
            <a:custGeom>
              <a:avLst/>
              <a:gdLst>
                <a:gd name="T0" fmla="*/ 45 w 48"/>
                <a:gd name="T1" fmla="*/ 24 h 24"/>
                <a:gd name="T2" fmla="*/ 3 w 48"/>
                <a:gd name="T3" fmla="*/ 24 h 24"/>
                <a:gd name="T4" fmla="*/ 0 w 48"/>
                <a:gd name="T5" fmla="*/ 20 h 24"/>
                <a:gd name="T6" fmla="*/ 0 w 48"/>
                <a:gd name="T7" fmla="*/ 14 h 24"/>
                <a:gd name="T8" fmla="*/ 13 w 48"/>
                <a:gd name="T9" fmla="*/ 0 h 24"/>
                <a:gd name="T10" fmla="*/ 35 w 48"/>
                <a:gd name="T11" fmla="*/ 0 h 24"/>
                <a:gd name="T12" fmla="*/ 48 w 48"/>
                <a:gd name="T13" fmla="*/ 14 h 24"/>
                <a:gd name="T14" fmla="*/ 48 w 48"/>
                <a:gd name="T15" fmla="*/ 20 h 24"/>
                <a:gd name="T16" fmla="*/ 45 w 48"/>
                <a:gd name="T17" fmla="*/ 24 h 24"/>
                <a:gd name="T18" fmla="*/ 6 w 48"/>
                <a:gd name="T19" fmla="*/ 17 h 24"/>
                <a:gd name="T20" fmla="*/ 41 w 48"/>
                <a:gd name="T21" fmla="*/ 17 h 24"/>
                <a:gd name="T22" fmla="*/ 41 w 48"/>
                <a:gd name="T23" fmla="*/ 14 h 24"/>
                <a:gd name="T24" fmla="*/ 35 w 48"/>
                <a:gd name="T25" fmla="*/ 7 h 24"/>
                <a:gd name="T26" fmla="*/ 13 w 48"/>
                <a:gd name="T27" fmla="*/ 7 h 24"/>
                <a:gd name="T28" fmla="*/ 6 w 48"/>
                <a:gd name="T29" fmla="*/ 14 h 24"/>
                <a:gd name="T30" fmla="*/ 6 w 48"/>
                <a:gd name="T31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24">
                  <a:moveTo>
                    <a:pt x="45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2" y="0"/>
                    <a:pt x="48" y="6"/>
                    <a:pt x="48" y="14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8" y="22"/>
                    <a:pt x="47" y="24"/>
                    <a:pt x="45" y="24"/>
                  </a:cubicBezTo>
                  <a:close/>
                  <a:moveTo>
                    <a:pt x="6" y="17"/>
                  </a:moveTo>
                  <a:cubicBezTo>
                    <a:pt x="41" y="17"/>
                    <a:pt x="41" y="17"/>
                    <a:pt x="41" y="17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0"/>
                    <a:pt x="38" y="7"/>
                    <a:pt x="35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9" y="7"/>
                    <a:pt x="6" y="10"/>
                    <a:pt x="6" y="14"/>
                  </a:cubicBezTo>
                  <a:lnTo>
                    <a:pt x="6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8" name="Freeform 1163">
              <a:extLst>
                <a:ext uri="{FF2B5EF4-FFF2-40B4-BE49-F238E27FC236}">
                  <a16:creationId xmlns:a16="http://schemas.microsoft.com/office/drawing/2014/main" id="{997CE8BA-ECC0-49C4-8850-1A8E775F4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6816" y="939663"/>
              <a:ext cx="58171" cy="42996"/>
            </a:xfrm>
            <a:custGeom>
              <a:avLst/>
              <a:gdLst>
                <a:gd name="T0" fmla="*/ 16 w 32"/>
                <a:gd name="T1" fmla="*/ 24 h 24"/>
                <a:gd name="T2" fmla="*/ 0 w 32"/>
                <a:gd name="T3" fmla="*/ 8 h 24"/>
                <a:gd name="T4" fmla="*/ 0 w 32"/>
                <a:gd name="T5" fmla="*/ 4 h 24"/>
                <a:gd name="T6" fmla="*/ 3 w 32"/>
                <a:gd name="T7" fmla="*/ 0 h 24"/>
                <a:gd name="T8" fmla="*/ 28 w 32"/>
                <a:gd name="T9" fmla="*/ 0 h 24"/>
                <a:gd name="T10" fmla="*/ 32 w 32"/>
                <a:gd name="T11" fmla="*/ 4 h 24"/>
                <a:gd name="T12" fmla="*/ 32 w 32"/>
                <a:gd name="T13" fmla="*/ 8 h 24"/>
                <a:gd name="T14" fmla="*/ 16 w 32"/>
                <a:gd name="T15" fmla="*/ 24 h 24"/>
                <a:gd name="T16" fmla="*/ 7 w 32"/>
                <a:gd name="T17" fmla="*/ 7 h 24"/>
                <a:gd name="T18" fmla="*/ 7 w 32"/>
                <a:gd name="T19" fmla="*/ 8 h 24"/>
                <a:gd name="T20" fmla="*/ 16 w 32"/>
                <a:gd name="T21" fmla="*/ 17 h 24"/>
                <a:gd name="T22" fmla="*/ 25 w 32"/>
                <a:gd name="T23" fmla="*/ 8 h 24"/>
                <a:gd name="T24" fmla="*/ 25 w 32"/>
                <a:gd name="T25" fmla="*/ 7 h 24"/>
                <a:gd name="T26" fmla="*/ 7 w 32"/>
                <a:gd name="T27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4">
                  <a:moveTo>
                    <a:pt x="16" y="24"/>
                  </a:moveTo>
                  <a:cubicBezTo>
                    <a:pt x="7" y="24"/>
                    <a:pt x="0" y="17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17"/>
                    <a:pt x="25" y="24"/>
                    <a:pt x="16" y="24"/>
                  </a:cubicBezTo>
                  <a:close/>
                  <a:moveTo>
                    <a:pt x="7" y="7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13"/>
                    <a:pt x="11" y="17"/>
                    <a:pt x="16" y="17"/>
                  </a:cubicBezTo>
                  <a:cubicBezTo>
                    <a:pt x="21" y="17"/>
                    <a:pt x="25" y="13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9" name="Freeform 1164">
              <a:extLst>
                <a:ext uri="{FF2B5EF4-FFF2-40B4-BE49-F238E27FC236}">
                  <a16:creationId xmlns:a16="http://schemas.microsoft.com/office/drawing/2014/main" id="{0AA88E70-ED21-472D-A2A3-744F453C67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8976" y="839761"/>
              <a:ext cx="331321" cy="302236"/>
            </a:xfrm>
            <a:custGeom>
              <a:avLst/>
              <a:gdLst>
                <a:gd name="T0" fmla="*/ 159 w 183"/>
                <a:gd name="T1" fmla="*/ 167 h 167"/>
                <a:gd name="T2" fmla="*/ 25 w 183"/>
                <a:gd name="T3" fmla="*/ 167 h 167"/>
                <a:gd name="T4" fmla="*/ 0 w 183"/>
                <a:gd name="T5" fmla="*/ 142 h 167"/>
                <a:gd name="T6" fmla="*/ 0 w 183"/>
                <a:gd name="T7" fmla="*/ 50 h 167"/>
                <a:gd name="T8" fmla="*/ 15 w 183"/>
                <a:gd name="T9" fmla="*/ 1 h 167"/>
                <a:gd name="T10" fmla="*/ 18 w 183"/>
                <a:gd name="T11" fmla="*/ 0 h 167"/>
                <a:gd name="T12" fmla="*/ 21 w 183"/>
                <a:gd name="T13" fmla="*/ 2 h 167"/>
                <a:gd name="T14" fmla="*/ 72 w 183"/>
                <a:gd name="T15" fmla="*/ 48 h 167"/>
                <a:gd name="T16" fmla="*/ 72 w 183"/>
                <a:gd name="T17" fmla="*/ 42 h 167"/>
                <a:gd name="T18" fmla="*/ 75 w 183"/>
                <a:gd name="T19" fmla="*/ 38 h 167"/>
                <a:gd name="T20" fmla="*/ 109 w 183"/>
                <a:gd name="T21" fmla="*/ 38 h 167"/>
                <a:gd name="T22" fmla="*/ 112 w 183"/>
                <a:gd name="T23" fmla="*/ 42 h 167"/>
                <a:gd name="T24" fmla="*/ 112 w 183"/>
                <a:gd name="T25" fmla="*/ 48 h 167"/>
                <a:gd name="T26" fmla="*/ 146 w 183"/>
                <a:gd name="T27" fmla="*/ 29 h 167"/>
                <a:gd name="T28" fmla="*/ 163 w 183"/>
                <a:gd name="T29" fmla="*/ 2 h 167"/>
                <a:gd name="T30" fmla="*/ 166 w 183"/>
                <a:gd name="T31" fmla="*/ 0 h 167"/>
                <a:gd name="T32" fmla="*/ 169 w 183"/>
                <a:gd name="T33" fmla="*/ 1 h 167"/>
                <a:gd name="T34" fmla="*/ 183 w 183"/>
                <a:gd name="T35" fmla="*/ 50 h 167"/>
                <a:gd name="T36" fmla="*/ 183 w 183"/>
                <a:gd name="T37" fmla="*/ 142 h 167"/>
                <a:gd name="T38" fmla="*/ 159 w 183"/>
                <a:gd name="T39" fmla="*/ 167 h 167"/>
                <a:gd name="T40" fmla="*/ 17 w 183"/>
                <a:gd name="T41" fmla="*/ 11 h 167"/>
                <a:gd name="T42" fmla="*/ 7 w 183"/>
                <a:gd name="T43" fmla="*/ 50 h 167"/>
                <a:gd name="T44" fmla="*/ 7 w 183"/>
                <a:gd name="T45" fmla="*/ 142 h 167"/>
                <a:gd name="T46" fmla="*/ 25 w 183"/>
                <a:gd name="T47" fmla="*/ 160 h 167"/>
                <a:gd name="T48" fmla="*/ 159 w 183"/>
                <a:gd name="T49" fmla="*/ 160 h 167"/>
                <a:gd name="T50" fmla="*/ 177 w 183"/>
                <a:gd name="T51" fmla="*/ 142 h 167"/>
                <a:gd name="T52" fmla="*/ 177 w 183"/>
                <a:gd name="T53" fmla="*/ 50 h 167"/>
                <a:gd name="T54" fmla="*/ 167 w 183"/>
                <a:gd name="T55" fmla="*/ 11 h 167"/>
                <a:gd name="T56" fmla="*/ 151 w 183"/>
                <a:gd name="T57" fmla="*/ 34 h 167"/>
                <a:gd name="T58" fmla="*/ 109 w 183"/>
                <a:gd name="T59" fmla="*/ 56 h 167"/>
                <a:gd name="T60" fmla="*/ 107 w 183"/>
                <a:gd name="T61" fmla="*/ 55 h 167"/>
                <a:gd name="T62" fmla="*/ 105 w 183"/>
                <a:gd name="T63" fmla="*/ 53 h 167"/>
                <a:gd name="T64" fmla="*/ 105 w 183"/>
                <a:gd name="T65" fmla="*/ 45 h 167"/>
                <a:gd name="T66" fmla="*/ 79 w 183"/>
                <a:gd name="T67" fmla="*/ 45 h 167"/>
                <a:gd name="T68" fmla="*/ 79 w 183"/>
                <a:gd name="T69" fmla="*/ 53 h 167"/>
                <a:gd name="T70" fmla="*/ 77 w 183"/>
                <a:gd name="T71" fmla="*/ 55 h 167"/>
                <a:gd name="T72" fmla="*/ 74 w 183"/>
                <a:gd name="T73" fmla="*/ 56 h 167"/>
                <a:gd name="T74" fmla="*/ 17 w 183"/>
                <a:gd name="T75" fmla="*/ 11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3" h="167">
                  <a:moveTo>
                    <a:pt x="159" y="167"/>
                  </a:moveTo>
                  <a:cubicBezTo>
                    <a:pt x="25" y="167"/>
                    <a:pt x="25" y="167"/>
                    <a:pt x="25" y="167"/>
                  </a:cubicBezTo>
                  <a:cubicBezTo>
                    <a:pt x="11" y="167"/>
                    <a:pt x="0" y="156"/>
                    <a:pt x="0" y="14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33"/>
                    <a:pt x="5" y="16"/>
                    <a:pt x="15" y="1"/>
                  </a:cubicBezTo>
                  <a:cubicBezTo>
                    <a:pt x="15" y="0"/>
                    <a:pt x="17" y="0"/>
                    <a:pt x="18" y="0"/>
                  </a:cubicBezTo>
                  <a:cubicBezTo>
                    <a:pt x="19" y="0"/>
                    <a:pt x="20" y="1"/>
                    <a:pt x="21" y="2"/>
                  </a:cubicBezTo>
                  <a:cubicBezTo>
                    <a:pt x="29" y="25"/>
                    <a:pt x="48" y="42"/>
                    <a:pt x="72" y="48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0"/>
                    <a:pt x="73" y="38"/>
                    <a:pt x="75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11" y="38"/>
                    <a:pt x="112" y="40"/>
                    <a:pt x="112" y="42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25" y="45"/>
                    <a:pt x="136" y="38"/>
                    <a:pt x="146" y="29"/>
                  </a:cubicBezTo>
                  <a:cubicBezTo>
                    <a:pt x="153" y="21"/>
                    <a:pt x="159" y="12"/>
                    <a:pt x="163" y="2"/>
                  </a:cubicBezTo>
                  <a:cubicBezTo>
                    <a:pt x="164" y="1"/>
                    <a:pt x="165" y="0"/>
                    <a:pt x="166" y="0"/>
                  </a:cubicBezTo>
                  <a:cubicBezTo>
                    <a:pt x="167" y="0"/>
                    <a:pt x="168" y="0"/>
                    <a:pt x="169" y="1"/>
                  </a:cubicBezTo>
                  <a:cubicBezTo>
                    <a:pt x="178" y="16"/>
                    <a:pt x="183" y="33"/>
                    <a:pt x="183" y="50"/>
                  </a:cubicBezTo>
                  <a:cubicBezTo>
                    <a:pt x="183" y="142"/>
                    <a:pt x="183" y="142"/>
                    <a:pt x="183" y="142"/>
                  </a:cubicBezTo>
                  <a:cubicBezTo>
                    <a:pt x="183" y="156"/>
                    <a:pt x="172" y="167"/>
                    <a:pt x="159" y="167"/>
                  </a:cubicBezTo>
                  <a:close/>
                  <a:moveTo>
                    <a:pt x="17" y="11"/>
                  </a:moveTo>
                  <a:cubicBezTo>
                    <a:pt x="11" y="23"/>
                    <a:pt x="7" y="36"/>
                    <a:pt x="7" y="50"/>
                  </a:cubicBezTo>
                  <a:cubicBezTo>
                    <a:pt x="7" y="142"/>
                    <a:pt x="7" y="142"/>
                    <a:pt x="7" y="142"/>
                  </a:cubicBezTo>
                  <a:cubicBezTo>
                    <a:pt x="7" y="152"/>
                    <a:pt x="15" y="160"/>
                    <a:pt x="25" y="160"/>
                  </a:cubicBezTo>
                  <a:cubicBezTo>
                    <a:pt x="159" y="160"/>
                    <a:pt x="159" y="160"/>
                    <a:pt x="159" y="160"/>
                  </a:cubicBezTo>
                  <a:cubicBezTo>
                    <a:pt x="169" y="160"/>
                    <a:pt x="177" y="152"/>
                    <a:pt x="177" y="142"/>
                  </a:cubicBezTo>
                  <a:cubicBezTo>
                    <a:pt x="177" y="50"/>
                    <a:pt x="177" y="50"/>
                    <a:pt x="177" y="50"/>
                  </a:cubicBezTo>
                  <a:cubicBezTo>
                    <a:pt x="177" y="36"/>
                    <a:pt x="173" y="23"/>
                    <a:pt x="167" y="11"/>
                  </a:cubicBezTo>
                  <a:cubicBezTo>
                    <a:pt x="163" y="19"/>
                    <a:pt x="157" y="27"/>
                    <a:pt x="151" y="34"/>
                  </a:cubicBezTo>
                  <a:cubicBezTo>
                    <a:pt x="139" y="45"/>
                    <a:pt x="125" y="53"/>
                    <a:pt x="109" y="56"/>
                  </a:cubicBezTo>
                  <a:cubicBezTo>
                    <a:pt x="108" y="56"/>
                    <a:pt x="107" y="56"/>
                    <a:pt x="107" y="55"/>
                  </a:cubicBezTo>
                  <a:cubicBezTo>
                    <a:pt x="106" y="55"/>
                    <a:pt x="105" y="54"/>
                    <a:pt x="105" y="53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4"/>
                    <a:pt x="78" y="55"/>
                    <a:pt x="77" y="55"/>
                  </a:cubicBezTo>
                  <a:cubicBezTo>
                    <a:pt x="77" y="56"/>
                    <a:pt x="75" y="56"/>
                    <a:pt x="74" y="56"/>
                  </a:cubicBezTo>
                  <a:cubicBezTo>
                    <a:pt x="49" y="51"/>
                    <a:pt x="28" y="34"/>
                    <a:pt x="17" y="1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0" name="Freeform 1165">
              <a:extLst>
                <a:ext uri="{FF2B5EF4-FFF2-40B4-BE49-F238E27FC236}">
                  <a16:creationId xmlns:a16="http://schemas.microsoft.com/office/drawing/2014/main" id="{3CB2E347-0981-4BA8-B5E8-5417E314FC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29229" y="908048"/>
              <a:ext cx="72081" cy="44260"/>
            </a:xfrm>
            <a:custGeom>
              <a:avLst/>
              <a:gdLst>
                <a:gd name="T0" fmla="*/ 37 w 40"/>
                <a:gd name="T1" fmla="*/ 24 h 24"/>
                <a:gd name="T2" fmla="*/ 3 w 40"/>
                <a:gd name="T3" fmla="*/ 24 h 24"/>
                <a:gd name="T4" fmla="*/ 0 w 40"/>
                <a:gd name="T5" fmla="*/ 21 h 24"/>
                <a:gd name="T6" fmla="*/ 0 w 40"/>
                <a:gd name="T7" fmla="*/ 4 h 24"/>
                <a:gd name="T8" fmla="*/ 3 w 40"/>
                <a:gd name="T9" fmla="*/ 0 h 24"/>
                <a:gd name="T10" fmla="*/ 37 w 40"/>
                <a:gd name="T11" fmla="*/ 0 h 24"/>
                <a:gd name="T12" fmla="*/ 40 w 40"/>
                <a:gd name="T13" fmla="*/ 4 h 24"/>
                <a:gd name="T14" fmla="*/ 40 w 40"/>
                <a:gd name="T15" fmla="*/ 21 h 24"/>
                <a:gd name="T16" fmla="*/ 37 w 40"/>
                <a:gd name="T17" fmla="*/ 24 h 24"/>
                <a:gd name="T18" fmla="*/ 7 w 40"/>
                <a:gd name="T19" fmla="*/ 17 h 24"/>
                <a:gd name="T20" fmla="*/ 33 w 40"/>
                <a:gd name="T21" fmla="*/ 17 h 24"/>
                <a:gd name="T22" fmla="*/ 33 w 40"/>
                <a:gd name="T23" fmla="*/ 7 h 24"/>
                <a:gd name="T24" fmla="*/ 7 w 40"/>
                <a:gd name="T25" fmla="*/ 7 h 24"/>
                <a:gd name="T26" fmla="*/ 7 w 40"/>
                <a:gd name="T27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24">
                  <a:moveTo>
                    <a:pt x="37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4"/>
                    <a:pt x="0" y="23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0" y="2"/>
                    <a:pt x="40" y="4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3"/>
                    <a:pt x="39" y="24"/>
                    <a:pt x="37" y="24"/>
                  </a:cubicBezTo>
                  <a:close/>
                  <a:moveTo>
                    <a:pt x="7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1" name="Freeform 1166">
              <a:extLst>
                <a:ext uri="{FF2B5EF4-FFF2-40B4-BE49-F238E27FC236}">
                  <a16:creationId xmlns:a16="http://schemas.microsoft.com/office/drawing/2014/main" id="{540CF6BC-4476-4CE3-897F-0C137AEAA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0181" y="932076"/>
              <a:ext cx="48054" cy="171984"/>
            </a:xfrm>
            <a:custGeom>
              <a:avLst/>
              <a:gdLst>
                <a:gd name="T0" fmla="*/ 7 w 27"/>
                <a:gd name="T1" fmla="*/ 95 h 95"/>
                <a:gd name="T2" fmla="*/ 3 w 27"/>
                <a:gd name="T3" fmla="*/ 95 h 95"/>
                <a:gd name="T4" fmla="*/ 0 w 27"/>
                <a:gd name="T5" fmla="*/ 91 h 95"/>
                <a:gd name="T6" fmla="*/ 0 w 27"/>
                <a:gd name="T7" fmla="*/ 3 h 95"/>
                <a:gd name="T8" fmla="*/ 3 w 27"/>
                <a:gd name="T9" fmla="*/ 0 h 95"/>
                <a:gd name="T10" fmla="*/ 7 w 27"/>
                <a:gd name="T11" fmla="*/ 0 h 95"/>
                <a:gd name="T12" fmla="*/ 27 w 27"/>
                <a:gd name="T13" fmla="*/ 21 h 95"/>
                <a:gd name="T14" fmla="*/ 27 w 27"/>
                <a:gd name="T15" fmla="*/ 74 h 95"/>
                <a:gd name="T16" fmla="*/ 7 w 27"/>
                <a:gd name="T17" fmla="*/ 95 h 95"/>
                <a:gd name="T18" fmla="*/ 6 w 27"/>
                <a:gd name="T19" fmla="*/ 88 h 95"/>
                <a:gd name="T20" fmla="*/ 7 w 27"/>
                <a:gd name="T21" fmla="*/ 88 h 95"/>
                <a:gd name="T22" fmla="*/ 20 w 27"/>
                <a:gd name="T23" fmla="*/ 74 h 95"/>
                <a:gd name="T24" fmla="*/ 20 w 27"/>
                <a:gd name="T25" fmla="*/ 21 h 95"/>
                <a:gd name="T26" fmla="*/ 7 w 27"/>
                <a:gd name="T27" fmla="*/ 7 h 95"/>
                <a:gd name="T28" fmla="*/ 6 w 27"/>
                <a:gd name="T29" fmla="*/ 7 h 95"/>
                <a:gd name="T30" fmla="*/ 6 w 27"/>
                <a:gd name="T31" fmla="*/ 8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" h="95">
                  <a:moveTo>
                    <a:pt x="7" y="95"/>
                  </a:move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3"/>
                    <a:pt x="0" y="9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8" y="0"/>
                    <a:pt x="27" y="9"/>
                    <a:pt x="27" y="21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86"/>
                    <a:pt x="18" y="95"/>
                    <a:pt x="7" y="95"/>
                  </a:cubicBezTo>
                  <a:close/>
                  <a:moveTo>
                    <a:pt x="6" y="88"/>
                  </a:moveTo>
                  <a:cubicBezTo>
                    <a:pt x="7" y="88"/>
                    <a:pt x="7" y="88"/>
                    <a:pt x="7" y="88"/>
                  </a:cubicBezTo>
                  <a:cubicBezTo>
                    <a:pt x="14" y="88"/>
                    <a:pt x="20" y="82"/>
                    <a:pt x="20" y="74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13"/>
                    <a:pt x="14" y="7"/>
                    <a:pt x="7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8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2" name="Freeform 1167">
              <a:extLst>
                <a:ext uri="{FF2B5EF4-FFF2-40B4-BE49-F238E27FC236}">
                  <a16:creationId xmlns:a16="http://schemas.microsoft.com/office/drawing/2014/main" id="{8F512937-3C22-44D3-9A59-823F1EB14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2303" y="932076"/>
              <a:ext cx="49319" cy="171984"/>
            </a:xfrm>
            <a:custGeom>
              <a:avLst/>
              <a:gdLst>
                <a:gd name="T0" fmla="*/ 24 w 27"/>
                <a:gd name="T1" fmla="*/ 95 h 95"/>
                <a:gd name="T2" fmla="*/ 20 w 27"/>
                <a:gd name="T3" fmla="*/ 95 h 95"/>
                <a:gd name="T4" fmla="*/ 0 w 27"/>
                <a:gd name="T5" fmla="*/ 74 h 95"/>
                <a:gd name="T6" fmla="*/ 0 w 27"/>
                <a:gd name="T7" fmla="*/ 21 h 95"/>
                <a:gd name="T8" fmla="*/ 20 w 27"/>
                <a:gd name="T9" fmla="*/ 0 h 95"/>
                <a:gd name="T10" fmla="*/ 24 w 27"/>
                <a:gd name="T11" fmla="*/ 0 h 95"/>
                <a:gd name="T12" fmla="*/ 27 w 27"/>
                <a:gd name="T13" fmla="*/ 3 h 95"/>
                <a:gd name="T14" fmla="*/ 27 w 27"/>
                <a:gd name="T15" fmla="*/ 91 h 95"/>
                <a:gd name="T16" fmla="*/ 24 w 27"/>
                <a:gd name="T17" fmla="*/ 95 h 95"/>
                <a:gd name="T18" fmla="*/ 20 w 27"/>
                <a:gd name="T19" fmla="*/ 7 h 95"/>
                <a:gd name="T20" fmla="*/ 6 w 27"/>
                <a:gd name="T21" fmla="*/ 21 h 95"/>
                <a:gd name="T22" fmla="*/ 6 w 27"/>
                <a:gd name="T23" fmla="*/ 74 h 95"/>
                <a:gd name="T24" fmla="*/ 20 w 27"/>
                <a:gd name="T25" fmla="*/ 88 h 95"/>
                <a:gd name="T26" fmla="*/ 20 w 27"/>
                <a:gd name="T27" fmla="*/ 88 h 95"/>
                <a:gd name="T28" fmla="*/ 20 w 27"/>
                <a:gd name="T29" fmla="*/ 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95">
                  <a:moveTo>
                    <a:pt x="24" y="95"/>
                  </a:moveTo>
                  <a:cubicBezTo>
                    <a:pt x="20" y="95"/>
                    <a:pt x="20" y="95"/>
                    <a:pt x="20" y="95"/>
                  </a:cubicBezTo>
                  <a:cubicBezTo>
                    <a:pt x="9" y="95"/>
                    <a:pt x="0" y="86"/>
                    <a:pt x="0" y="7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7" y="2"/>
                    <a:pt x="27" y="3"/>
                  </a:cubicBezTo>
                  <a:cubicBezTo>
                    <a:pt x="27" y="91"/>
                    <a:pt x="27" y="91"/>
                    <a:pt x="27" y="91"/>
                  </a:cubicBezTo>
                  <a:cubicBezTo>
                    <a:pt x="27" y="93"/>
                    <a:pt x="26" y="95"/>
                    <a:pt x="24" y="95"/>
                  </a:cubicBezTo>
                  <a:close/>
                  <a:moveTo>
                    <a:pt x="20" y="7"/>
                  </a:moveTo>
                  <a:cubicBezTo>
                    <a:pt x="13" y="7"/>
                    <a:pt x="6" y="13"/>
                    <a:pt x="6" y="21"/>
                  </a:cubicBezTo>
                  <a:cubicBezTo>
                    <a:pt x="6" y="74"/>
                    <a:pt x="6" y="74"/>
                    <a:pt x="6" y="74"/>
                  </a:cubicBezTo>
                  <a:cubicBezTo>
                    <a:pt x="6" y="82"/>
                    <a:pt x="13" y="88"/>
                    <a:pt x="2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7"/>
                    <a:pt x="20" y="7"/>
                    <a:pt x="20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3" name="Freeform 1168">
              <a:extLst>
                <a:ext uri="{FF2B5EF4-FFF2-40B4-BE49-F238E27FC236}">
                  <a16:creationId xmlns:a16="http://schemas.microsoft.com/office/drawing/2014/main" id="{BEA8C99E-0A8F-40EF-9E28-218B370BA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5766" y="1001628"/>
              <a:ext cx="239007" cy="102431"/>
            </a:xfrm>
            <a:custGeom>
              <a:avLst/>
              <a:gdLst>
                <a:gd name="T0" fmla="*/ 119 w 132"/>
                <a:gd name="T1" fmla="*/ 57 h 57"/>
                <a:gd name="T2" fmla="*/ 13 w 132"/>
                <a:gd name="T3" fmla="*/ 57 h 57"/>
                <a:gd name="T4" fmla="*/ 0 w 132"/>
                <a:gd name="T5" fmla="*/ 43 h 57"/>
                <a:gd name="T6" fmla="*/ 0 w 132"/>
                <a:gd name="T7" fmla="*/ 13 h 57"/>
                <a:gd name="T8" fmla="*/ 13 w 132"/>
                <a:gd name="T9" fmla="*/ 0 h 57"/>
                <a:gd name="T10" fmla="*/ 119 w 132"/>
                <a:gd name="T11" fmla="*/ 0 h 57"/>
                <a:gd name="T12" fmla="*/ 132 w 132"/>
                <a:gd name="T13" fmla="*/ 13 h 57"/>
                <a:gd name="T14" fmla="*/ 132 w 132"/>
                <a:gd name="T15" fmla="*/ 43 h 57"/>
                <a:gd name="T16" fmla="*/ 119 w 132"/>
                <a:gd name="T17" fmla="*/ 57 h 57"/>
                <a:gd name="T18" fmla="*/ 13 w 132"/>
                <a:gd name="T19" fmla="*/ 7 h 57"/>
                <a:gd name="T20" fmla="*/ 6 w 132"/>
                <a:gd name="T21" fmla="*/ 13 h 57"/>
                <a:gd name="T22" fmla="*/ 6 w 132"/>
                <a:gd name="T23" fmla="*/ 43 h 57"/>
                <a:gd name="T24" fmla="*/ 13 w 132"/>
                <a:gd name="T25" fmla="*/ 50 h 57"/>
                <a:gd name="T26" fmla="*/ 119 w 132"/>
                <a:gd name="T27" fmla="*/ 50 h 57"/>
                <a:gd name="T28" fmla="*/ 125 w 132"/>
                <a:gd name="T29" fmla="*/ 43 h 57"/>
                <a:gd name="T30" fmla="*/ 125 w 132"/>
                <a:gd name="T31" fmla="*/ 13 h 57"/>
                <a:gd name="T32" fmla="*/ 119 w 132"/>
                <a:gd name="T33" fmla="*/ 7 h 57"/>
                <a:gd name="T34" fmla="*/ 13 w 132"/>
                <a:gd name="T35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" h="57">
                  <a:moveTo>
                    <a:pt x="119" y="57"/>
                  </a:moveTo>
                  <a:cubicBezTo>
                    <a:pt x="13" y="57"/>
                    <a:pt x="13" y="57"/>
                    <a:pt x="13" y="57"/>
                  </a:cubicBezTo>
                  <a:cubicBezTo>
                    <a:pt x="6" y="57"/>
                    <a:pt x="0" y="51"/>
                    <a:pt x="0" y="4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6" y="0"/>
                    <a:pt x="132" y="6"/>
                    <a:pt x="132" y="13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32" y="51"/>
                    <a:pt x="126" y="57"/>
                    <a:pt x="119" y="57"/>
                  </a:cubicBezTo>
                  <a:close/>
                  <a:moveTo>
                    <a:pt x="13" y="7"/>
                  </a:moveTo>
                  <a:cubicBezTo>
                    <a:pt x="10" y="7"/>
                    <a:pt x="6" y="10"/>
                    <a:pt x="6" y="1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7"/>
                    <a:pt x="10" y="50"/>
                    <a:pt x="13" y="50"/>
                  </a:cubicBezTo>
                  <a:cubicBezTo>
                    <a:pt x="119" y="50"/>
                    <a:pt x="119" y="50"/>
                    <a:pt x="119" y="50"/>
                  </a:cubicBezTo>
                  <a:cubicBezTo>
                    <a:pt x="122" y="50"/>
                    <a:pt x="125" y="47"/>
                    <a:pt x="125" y="4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0"/>
                    <a:pt x="122" y="7"/>
                    <a:pt x="119" y="7"/>
                  </a:cubicBezTo>
                  <a:lnTo>
                    <a:pt x="13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4" name="Freeform 1169">
              <a:extLst>
                <a:ext uri="{FF2B5EF4-FFF2-40B4-BE49-F238E27FC236}">
                  <a16:creationId xmlns:a16="http://schemas.microsoft.com/office/drawing/2014/main" id="{1A2D33DE-0AE8-4465-931F-F0C41F09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4852" y="1039565"/>
              <a:ext cx="188423" cy="12646"/>
            </a:xfrm>
            <a:custGeom>
              <a:avLst/>
              <a:gdLst>
                <a:gd name="T0" fmla="*/ 100 w 104"/>
                <a:gd name="T1" fmla="*/ 7 h 7"/>
                <a:gd name="T2" fmla="*/ 4 w 104"/>
                <a:gd name="T3" fmla="*/ 7 h 7"/>
                <a:gd name="T4" fmla="*/ 0 w 104"/>
                <a:gd name="T5" fmla="*/ 3 h 7"/>
                <a:gd name="T6" fmla="*/ 4 w 104"/>
                <a:gd name="T7" fmla="*/ 0 h 7"/>
                <a:gd name="T8" fmla="*/ 100 w 104"/>
                <a:gd name="T9" fmla="*/ 0 h 7"/>
                <a:gd name="T10" fmla="*/ 104 w 104"/>
                <a:gd name="T11" fmla="*/ 3 h 7"/>
                <a:gd name="T12" fmla="*/ 100 w 10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7">
                  <a:moveTo>
                    <a:pt x="100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4" y="1"/>
                    <a:pt x="104" y="3"/>
                  </a:cubicBezTo>
                  <a:cubicBezTo>
                    <a:pt x="104" y="5"/>
                    <a:pt x="102" y="7"/>
                    <a:pt x="100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5" name="Freeform 1170">
              <a:extLst>
                <a:ext uri="{FF2B5EF4-FFF2-40B4-BE49-F238E27FC236}">
                  <a16:creationId xmlns:a16="http://schemas.microsoft.com/office/drawing/2014/main" id="{D9B68AB0-D8F9-43EC-A39A-9A0AE6189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279" y="1039565"/>
              <a:ext cx="12646" cy="26556"/>
            </a:xfrm>
            <a:custGeom>
              <a:avLst/>
              <a:gdLst>
                <a:gd name="T0" fmla="*/ 3 w 7"/>
                <a:gd name="T1" fmla="*/ 15 h 15"/>
                <a:gd name="T2" fmla="*/ 0 w 7"/>
                <a:gd name="T3" fmla="*/ 12 h 15"/>
                <a:gd name="T4" fmla="*/ 0 w 7"/>
                <a:gd name="T5" fmla="*/ 3 h 15"/>
                <a:gd name="T6" fmla="*/ 3 w 7"/>
                <a:gd name="T7" fmla="*/ 0 h 15"/>
                <a:gd name="T8" fmla="*/ 7 w 7"/>
                <a:gd name="T9" fmla="*/ 3 h 15"/>
                <a:gd name="T10" fmla="*/ 7 w 7"/>
                <a:gd name="T11" fmla="*/ 12 h 15"/>
                <a:gd name="T12" fmla="*/ 3 w 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3" y="15"/>
                  </a:moveTo>
                  <a:cubicBezTo>
                    <a:pt x="2" y="15"/>
                    <a:pt x="0" y="13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3"/>
                    <a:pt x="5" y="15"/>
                    <a:pt x="3" y="1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6" name="Freeform 1171">
              <a:extLst>
                <a:ext uri="{FF2B5EF4-FFF2-40B4-BE49-F238E27FC236}">
                  <a16:creationId xmlns:a16="http://schemas.microsoft.com/office/drawing/2014/main" id="{910CF406-8C1F-4795-B019-A18B65E0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6816" y="765150"/>
              <a:ext cx="12646" cy="34144"/>
            </a:xfrm>
            <a:custGeom>
              <a:avLst/>
              <a:gdLst>
                <a:gd name="T0" fmla="*/ 3 w 7"/>
                <a:gd name="T1" fmla="*/ 19 h 19"/>
                <a:gd name="T2" fmla="*/ 0 w 7"/>
                <a:gd name="T3" fmla="*/ 16 h 19"/>
                <a:gd name="T4" fmla="*/ 0 w 7"/>
                <a:gd name="T5" fmla="*/ 3 h 19"/>
                <a:gd name="T6" fmla="*/ 3 w 7"/>
                <a:gd name="T7" fmla="*/ 0 h 19"/>
                <a:gd name="T8" fmla="*/ 7 w 7"/>
                <a:gd name="T9" fmla="*/ 3 h 19"/>
                <a:gd name="T10" fmla="*/ 7 w 7"/>
                <a:gd name="T11" fmla="*/ 16 h 19"/>
                <a:gd name="T12" fmla="*/ 3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3" y="19"/>
                  </a:moveTo>
                  <a:cubicBezTo>
                    <a:pt x="1" y="19"/>
                    <a:pt x="0" y="18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5" y="19"/>
                    <a:pt x="3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7" name="Freeform 1172">
              <a:extLst>
                <a:ext uri="{FF2B5EF4-FFF2-40B4-BE49-F238E27FC236}">
                  <a16:creationId xmlns:a16="http://schemas.microsoft.com/office/drawing/2014/main" id="{320F5741-08D7-4C95-873A-EB373DCB23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12789" y="786648"/>
              <a:ext cx="58171" cy="96109"/>
            </a:xfrm>
            <a:custGeom>
              <a:avLst/>
              <a:gdLst>
                <a:gd name="T0" fmla="*/ 29 w 32"/>
                <a:gd name="T1" fmla="*/ 53 h 53"/>
                <a:gd name="T2" fmla="*/ 4 w 32"/>
                <a:gd name="T3" fmla="*/ 53 h 53"/>
                <a:gd name="T4" fmla="*/ 0 w 32"/>
                <a:gd name="T5" fmla="*/ 50 h 53"/>
                <a:gd name="T6" fmla="*/ 0 w 32"/>
                <a:gd name="T7" fmla="*/ 12 h 53"/>
                <a:gd name="T8" fmla="*/ 2 w 32"/>
                <a:gd name="T9" fmla="*/ 9 h 53"/>
                <a:gd name="T10" fmla="*/ 14 w 32"/>
                <a:gd name="T11" fmla="*/ 1 h 53"/>
                <a:gd name="T12" fmla="*/ 18 w 32"/>
                <a:gd name="T13" fmla="*/ 1 h 53"/>
                <a:gd name="T14" fmla="*/ 31 w 32"/>
                <a:gd name="T15" fmla="*/ 9 h 53"/>
                <a:gd name="T16" fmla="*/ 32 w 32"/>
                <a:gd name="T17" fmla="*/ 12 h 53"/>
                <a:gd name="T18" fmla="*/ 32 w 32"/>
                <a:gd name="T19" fmla="*/ 50 h 53"/>
                <a:gd name="T20" fmla="*/ 29 w 32"/>
                <a:gd name="T21" fmla="*/ 53 h 53"/>
                <a:gd name="T22" fmla="*/ 7 w 32"/>
                <a:gd name="T23" fmla="*/ 47 h 53"/>
                <a:gd name="T24" fmla="*/ 26 w 32"/>
                <a:gd name="T25" fmla="*/ 47 h 53"/>
                <a:gd name="T26" fmla="*/ 26 w 32"/>
                <a:gd name="T27" fmla="*/ 14 h 53"/>
                <a:gd name="T28" fmla="*/ 16 w 32"/>
                <a:gd name="T29" fmla="*/ 8 h 53"/>
                <a:gd name="T30" fmla="*/ 7 w 32"/>
                <a:gd name="T31" fmla="*/ 14 h 53"/>
                <a:gd name="T32" fmla="*/ 7 w 32"/>
                <a:gd name="T33" fmla="*/ 4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53">
                  <a:moveTo>
                    <a:pt x="29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2" y="53"/>
                    <a:pt x="0" y="52"/>
                    <a:pt x="0" y="5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1" y="10"/>
                    <a:pt x="2" y="9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7" y="0"/>
                    <a:pt x="18" y="1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2"/>
                    <a:pt x="31" y="53"/>
                    <a:pt x="29" y="53"/>
                  </a:cubicBezTo>
                  <a:close/>
                  <a:moveTo>
                    <a:pt x="7" y="47"/>
                  </a:moveTo>
                  <a:cubicBezTo>
                    <a:pt x="26" y="47"/>
                    <a:pt x="26" y="47"/>
                    <a:pt x="26" y="47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7" y="14"/>
                    <a:pt x="7" y="14"/>
                    <a:pt x="7" y="14"/>
                  </a:cubicBezTo>
                  <a:lnTo>
                    <a:pt x="7" y="4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4" name="Agrupar 1703">
            <a:extLst>
              <a:ext uri="{FF2B5EF4-FFF2-40B4-BE49-F238E27FC236}">
                <a16:creationId xmlns:a16="http://schemas.microsoft.com/office/drawing/2014/main" id="{38572C1E-0F92-45D8-AC67-5CBC24905FD8}"/>
              </a:ext>
            </a:extLst>
          </p:cNvPr>
          <p:cNvGrpSpPr/>
          <p:nvPr/>
        </p:nvGrpSpPr>
        <p:grpSpPr>
          <a:xfrm>
            <a:off x="9695286" y="701921"/>
            <a:ext cx="241536" cy="471690"/>
            <a:chOff x="10376898" y="701921"/>
            <a:chExt cx="241536" cy="471690"/>
          </a:xfrm>
        </p:grpSpPr>
        <p:sp>
          <p:nvSpPr>
            <p:cNvPr id="1378" name="Freeform 1173">
              <a:extLst>
                <a:ext uri="{FF2B5EF4-FFF2-40B4-BE49-F238E27FC236}">
                  <a16:creationId xmlns:a16="http://schemas.microsoft.com/office/drawing/2014/main" id="{DA67DBEF-5379-46B8-888F-B53CC85D9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6898" y="701921"/>
              <a:ext cx="241536" cy="471690"/>
            </a:xfrm>
            <a:custGeom>
              <a:avLst/>
              <a:gdLst>
                <a:gd name="T0" fmla="*/ 113 w 133"/>
                <a:gd name="T1" fmla="*/ 260 h 260"/>
                <a:gd name="T2" fmla="*/ 21 w 133"/>
                <a:gd name="T3" fmla="*/ 260 h 260"/>
                <a:gd name="T4" fmla="*/ 0 w 133"/>
                <a:gd name="T5" fmla="*/ 239 h 260"/>
                <a:gd name="T6" fmla="*/ 0 w 133"/>
                <a:gd name="T7" fmla="*/ 162 h 260"/>
                <a:gd name="T8" fmla="*/ 10 w 133"/>
                <a:gd name="T9" fmla="*/ 142 h 260"/>
                <a:gd name="T10" fmla="*/ 84 w 133"/>
                <a:gd name="T11" fmla="*/ 85 h 260"/>
                <a:gd name="T12" fmla="*/ 93 w 133"/>
                <a:gd name="T13" fmla="*/ 68 h 260"/>
                <a:gd name="T14" fmla="*/ 67 w 133"/>
                <a:gd name="T15" fmla="*/ 42 h 260"/>
                <a:gd name="T16" fmla="*/ 66 w 133"/>
                <a:gd name="T17" fmla="*/ 42 h 260"/>
                <a:gd name="T18" fmla="*/ 41 w 133"/>
                <a:gd name="T19" fmla="*/ 69 h 260"/>
                <a:gd name="T20" fmla="*/ 41 w 133"/>
                <a:gd name="T21" fmla="*/ 72 h 260"/>
                <a:gd name="T22" fmla="*/ 21 w 133"/>
                <a:gd name="T23" fmla="*/ 92 h 260"/>
                <a:gd name="T24" fmla="*/ 0 w 133"/>
                <a:gd name="T25" fmla="*/ 72 h 260"/>
                <a:gd name="T26" fmla="*/ 0 w 133"/>
                <a:gd name="T27" fmla="*/ 69 h 260"/>
                <a:gd name="T28" fmla="*/ 62 w 133"/>
                <a:gd name="T29" fmla="*/ 1 h 260"/>
                <a:gd name="T30" fmla="*/ 113 w 133"/>
                <a:gd name="T31" fmla="*/ 21 h 260"/>
                <a:gd name="T32" fmla="*/ 133 w 133"/>
                <a:gd name="T33" fmla="*/ 68 h 260"/>
                <a:gd name="T34" fmla="*/ 133 w 133"/>
                <a:gd name="T35" fmla="*/ 239 h 260"/>
                <a:gd name="T36" fmla="*/ 113 w 133"/>
                <a:gd name="T37" fmla="*/ 260 h 260"/>
                <a:gd name="T38" fmla="*/ 67 w 133"/>
                <a:gd name="T39" fmla="*/ 35 h 260"/>
                <a:gd name="T40" fmla="*/ 99 w 133"/>
                <a:gd name="T41" fmla="*/ 68 h 260"/>
                <a:gd name="T42" fmla="*/ 88 w 133"/>
                <a:gd name="T43" fmla="*/ 91 h 260"/>
                <a:gd name="T44" fmla="*/ 14 w 133"/>
                <a:gd name="T45" fmla="*/ 148 h 260"/>
                <a:gd name="T46" fmla="*/ 7 w 133"/>
                <a:gd name="T47" fmla="*/ 162 h 260"/>
                <a:gd name="T48" fmla="*/ 7 w 133"/>
                <a:gd name="T49" fmla="*/ 239 h 260"/>
                <a:gd name="T50" fmla="*/ 21 w 133"/>
                <a:gd name="T51" fmla="*/ 253 h 260"/>
                <a:gd name="T52" fmla="*/ 113 w 133"/>
                <a:gd name="T53" fmla="*/ 253 h 260"/>
                <a:gd name="T54" fmla="*/ 126 w 133"/>
                <a:gd name="T55" fmla="*/ 239 h 260"/>
                <a:gd name="T56" fmla="*/ 126 w 133"/>
                <a:gd name="T57" fmla="*/ 68 h 260"/>
                <a:gd name="T58" fmla="*/ 109 w 133"/>
                <a:gd name="T59" fmla="*/ 26 h 260"/>
                <a:gd name="T60" fmla="*/ 62 w 133"/>
                <a:gd name="T61" fmla="*/ 8 h 260"/>
                <a:gd name="T62" fmla="*/ 7 w 133"/>
                <a:gd name="T63" fmla="*/ 69 h 260"/>
                <a:gd name="T64" fmla="*/ 7 w 133"/>
                <a:gd name="T65" fmla="*/ 72 h 260"/>
                <a:gd name="T66" fmla="*/ 21 w 133"/>
                <a:gd name="T67" fmla="*/ 85 h 260"/>
                <a:gd name="T68" fmla="*/ 34 w 133"/>
                <a:gd name="T69" fmla="*/ 72 h 260"/>
                <a:gd name="T70" fmla="*/ 34 w 133"/>
                <a:gd name="T71" fmla="*/ 69 h 260"/>
                <a:gd name="T72" fmla="*/ 66 w 133"/>
                <a:gd name="T73" fmla="*/ 35 h 260"/>
                <a:gd name="T74" fmla="*/ 67 w 133"/>
                <a:gd name="T75" fmla="*/ 35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3" h="260">
                  <a:moveTo>
                    <a:pt x="113" y="260"/>
                  </a:moveTo>
                  <a:cubicBezTo>
                    <a:pt x="21" y="260"/>
                    <a:pt x="21" y="260"/>
                    <a:pt x="21" y="260"/>
                  </a:cubicBezTo>
                  <a:cubicBezTo>
                    <a:pt x="9" y="260"/>
                    <a:pt x="0" y="251"/>
                    <a:pt x="0" y="239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54"/>
                    <a:pt x="4" y="147"/>
                    <a:pt x="10" y="142"/>
                  </a:cubicBezTo>
                  <a:cubicBezTo>
                    <a:pt x="84" y="85"/>
                    <a:pt x="84" y="85"/>
                    <a:pt x="84" y="85"/>
                  </a:cubicBezTo>
                  <a:cubicBezTo>
                    <a:pt x="89" y="81"/>
                    <a:pt x="93" y="74"/>
                    <a:pt x="93" y="68"/>
                  </a:cubicBezTo>
                  <a:cubicBezTo>
                    <a:pt x="93" y="53"/>
                    <a:pt x="81" y="42"/>
                    <a:pt x="67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52" y="42"/>
                    <a:pt x="41" y="54"/>
                    <a:pt x="41" y="69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83"/>
                    <a:pt x="32" y="92"/>
                    <a:pt x="21" y="92"/>
                  </a:cubicBezTo>
                  <a:cubicBezTo>
                    <a:pt x="9" y="92"/>
                    <a:pt x="0" y="83"/>
                    <a:pt x="0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4"/>
                    <a:pt x="27" y="4"/>
                    <a:pt x="62" y="1"/>
                  </a:cubicBezTo>
                  <a:cubicBezTo>
                    <a:pt x="81" y="0"/>
                    <a:pt x="100" y="7"/>
                    <a:pt x="113" y="21"/>
                  </a:cubicBezTo>
                  <a:cubicBezTo>
                    <a:pt x="126" y="33"/>
                    <a:pt x="133" y="50"/>
                    <a:pt x="133" y="68"/>
                  </a:cubicBezTo>
                  <a:cubicBezTo>
                    <a:pt x="133" y="239"/>
                    <a:pt x="133" y="239"/>
                    <a:pt x="133" y="239"/>
                  </a:cubicBezTo>
                  <a:cubicBezTo>
                    <a:pt x="133" y="251"/>
                    <a:pt x="124" y="260"/>
                    <a:pt x="113" y="260"/>
                  </a:cubicBezTo>
                  <a:close/>
                  <a:moveTo>
                    <a:pt x="67" y="35"/>
                  </a:moveTo>
                  <a:cubicBezTo>
                    <a:pt x="85" y="35"/>
                    <a:pt x="99" y="50"/>
                    <a:pt x="99" y="68"/>
                  </a:cubicBezTo>
                  <a:cubicBezTo>
                    <a:pt x="99" y="77"/>
                    <a:pt x="95" y="85"/>
                    <a:pt x="88" y="91"/>
                  </a:cubicBezTo>
                  <a:cubicBezTo>
                    <a:pt x="14" y="148"/>
                    <a:pt x="14" y="148"/>
                    <a:pt x="14" y="148"/>
                  </a:cubicBezTo>
                  <a:cubicBezTo>
                    <a:pt x="10" y="151"/>
                    <a:pt x="7" y="156"/>
                    <a:pt x="7" y="162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7" y="247"/>
                    <a:pt x="13" y="253"/>
                    <a:pt x="21" y="253"/>
                  </a:cubicBezTo>
                  <a:cubicBezTo>
                    <a:pt x="113" y="253"/>
                    <a:pt x="113" y="253"/>
                    <a:pt x="113" y="253"/>
                  </a:cubicBezTo>
                  <a:cubicBezTo>
                    <a:pt x="120" y="253"/>
                    <a:pt x="126" y="247"/>
                    <a:pt x="126" y="239"/>
                  </a:cubicBezTo>
                  <a:cubicBezTo>
                    <a:pt x="126" y="68"/>
                    <a:pt x="126" y="68"/>
                    <a:pt x="126" y="68"/>
                  </a:cubicBezTo>
                  <a:cubicBezTo>
                    <a:pt x="126" y="52"/>
                    <a:pt x="120" y="37"/>
                    <a:pt x="109" y="26"/>
                  </a:cubicBezTo>
                  <a:cubicBezTo>
                    <a:pt x="96" y="13"/>
                    <a:pt x="80" y="7"/>
                    <a:pt x="62" y="8"/>
                  </a:cubicBezTo>
                  <a:cubicBezTo>
                    <a:pt x="31" y="10"/>
                    <a:pt x="7" y="37"/>
                    <a:pt x="7" y="69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9"/>
                    <a:pt x="13" y="85"/>
                    <a:pt x="21" y="85"/>
                  </a:cubicBezTo>
                  <a:cubicBezTo>
                    <a:pt x="28" y="85"/>
                    <a:pt x="34" y="79"/>
                    <a:pt x="34" y="72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51"/>
                    <a:pt x="48" y="35"/>
                    <a:pt x="66" y="35"/>
                  </a:cubicBezTo>
                  <a:lnTo>
                    <a:pt x="67" y="3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9" name="Freeform 1174">
              <a:extLst>
                <a:ext uri="{FF2B5EF4-FFF2-40B4-BE49-F238E27FC236}">
                  <a16:creationId xmlns:a16="http://schemas.microsoft.com/office/drawing/2014/main" id="{1563A367-1A53-424A-871C-8292B03569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14836" y="994040"/>
              <a:ext cx="165661" cy="87256"/>
            </a:xfrm>
            <a:custGeom>
              <a:avLst/>
              <a:gdLst>
                <a:gd name="T0" fmla="*/ 88 w 91"/>
                <a:gd name="T1" fmla="*/ 48 h 48"/>
                <a:gd name="T2" fmla="*/ 4 w 91"/>
                <a:gd name="T3" fmla="*/ 48 h 48"/>
                <a:gd name="T4" fmla="*/ 0 w 91"/>
                <a:gd name="T5" fmla="*/ 45 h 48"/>
                <a:gd name="T6" fmla="*/ 0 w 91"/>
                <a:gd name="T7" fmla="*/ 3 h 48"/>
                <a:gd name="T8" fmla="*/ 4 w 91"/>
                <a:gd name="T9" fmla="*/ 0 h 48"/>
                <a:gd name="T10" fmla="*/ 88 w 91"/>
                <a:gd name="T11" fmla="*/ 0 h 48"/>
                <a:gd name="T12" fmla="*/ 91 w 91"/>
                <a:gd name="T13" fmla="*/ 3 h 48"/>
                <a:gd name="T14" fmla="*/ 91 w 91"/>
                <a:gd name="T15" fmla="*/ 45 h 48"/>
                <a:gd name="T16" fmla="*/ 88 w 91"/>
                <a:gd name="T17" fmla="*/ 48 h 48"/>
                <a:gd name="T18" fmla="*/ 7 w 91"/>
                <a:gd name="T19" fmla="*/ 41 h 48"/>
                <a:gd name="T20" fmla="*/ 84 w 91"/>
                <a:gd name="T21" fmla="*/ 41 h 48"/>
                <a:gd name="T22" fmla="*/ 84 w 91"/>
                <a:gd name="T23" fmla="*/ 6 h 48"/>
                <a:gd name="T24" fmla="*/ 7 w 91"/>
                <a:gd name="T25" fmla="*/ 6 h 48"/>
                <a:gd name="T26" fmla="*/ 7 w 91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48">
                  <a:moveTo>
                    <a:pt x="88" y="48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2" y="48"/>
                    <a:pt x="0" y="47"/>
                    <a:pt x="0" y="4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9" y="0"/>
                    <a:pt x="91" y="1"/>
                    <a:pt x="91" y="3"/>
                  </a:cubicBezTo>
                  <a:cubicBezTo>
                    <a:pt x="91" y="45"/>
                    <a:pt x="91" y="45"/>
                    <a:pt x="91" y="45"/>
                  </a:cubicBezTo>
                  <a:cubicBezTo>
                    <a:pt x="91" y="47"/>
                    <a:pt x="89" y="48"/>
                    <a:pt x="88" y="48"/>
                  </a:cubicBezTo>
                  <a:close/>
                  <a:moveTo>
                    <a:pt x="7" y="41"/>
                  </a:moveTo>
                  <a:cubicBezTo>
                    <a:pt x="84" y="41"/>
                    <a:pt x="84" y="41"/>
                    <a:pt x="84" y="4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4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80" name="Freeform 1175">
              <a:extLst>
                <a:ext uri="{FF2B5EF4-FFF2-40B4-BE49-F238E27FC236}">
                  <a16:creationId xmlns:a16="http://schemas.microsoft.com/office/drawing/2014/main" id="{4A4E93D7-7EBB-41A3-8A04-5B73E26FD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836" y="1106588"/>
              <a:ext cx="165661" cy="12646"/>
            </a:xfrm>
            <a:custGeom>
              <a:avLst/>
              <a:gdLst>
                <a:gd name="T0" fmla="*/ 88 w 91"/>
                <a:gd name="T1" fmla="*/ 7 h 7"/>
                <a:gd name="T2" fmla="*/ 4 w 91"/>
                <a:gd name="T3" fmla="*/ 7 h 7"/>
                <a:gd name="T4" fmla="*/ 0 w 91"/>
                <a:gd name="T5" fmla="*/ 4 h 7"/>
                <a:gd name="T6" fmla="*/ 4 w 91"/>
                <a:gd name="T7" fmla="*/ 0 h 7"/>
                <a:gd name="T8" fmla="*/ 88 w 91"/>
                <a:gd name="T9" fmla="*/ 0 h 7"/>
                <a:gd name="T10" fmla="*/ 91 w 91"/>
                <a:gd name="T11" fmla="*/ 4 h 7"/>
                <a:gd name="T12" fmla="*/ 88 w 9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7">
                  <a:moveTo>
                    <a:pt x="8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9" y="0"/>
                    <a:pt x="91" y="2"/>
                    <a:pt x="91" y="4"/>
                  </a:cubicBezTo>
                  <a:cubicBezTo>
                    <a:pt x="91" y="6"/>
                    <a:pt x="89" y="7"/>
                    <a:pt x="88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3" name="Agrupar 1702">
            <a:extLst>
              <a:ext uri="{FF2B5EF4-FFF2-40B4-BE49-F238E27FC236}">
                <a16:creationId xmlns:a16="http://schemas.microsoft.com/office/drawing/2014/main" id="{8B237E90-F9F4-4E18-8FB3-C5E34F25D6D2}"/>
              </a:ext>
            </a:extLst>
          </p:cNvPr>
          <p:cNvGrpSpPr/>
          <p:nvPr/>
        </p:nvGrpSpPr>
        <p:grpSpPr>
          <a:xfrm>
            <a:off x="8700058" y="703186"/>
            <a:ext cx="347761" cy="470426"/>
            <a:chOff x="9381670" y="703186"/>
            <a:chExt cx="347761" cy="470426"/>
          </a:xfrm>
        </p:grpSpPr>
        <p:sp>
          <p:nvSpPr>
            <p:cNvPr id="1381" name="Freeform 1176">
              <a:extLst>
                <a:ext uri="{FF2B5EF4-FFF2-40B4-BE49-F238E27FC236}">
                  <a16:creationId xmlns:a16="http://schemas.microsoft.com/office/drawing/2014/main" id="{677DF085-D556-47B1-8E84-52F070507A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1670" y="1085090"/>
              <a:ext cx="80933" cy="56906"/>
            </a:xfrm>
            <a:custGeom>
              <a:avLst/>
              <a:gdLst>
                <a:gd name="T0" fmla="*/ 41 w 45"/>
                <a:gd name="T1" fmla="*/ 32 h 32"/>
                <a:gd name="T2" fmla="*/ 16 w 45"/>
                <a:gd name="T3" fmla="*/ 32 h 32"/>
                <a:gd name="T4" fmla="*/ 0 w 45"/>
                <a:gd name="T5" fmla="*/ 16 h 32"/>
                <a:gd name="T6" fmla="*/ 5 w 45"/>
                <a:gd name="T7" fmla="*/ 5 h 32"/>
                <a:gd name="T8" fmla="*/ 16 w 45"/>
                <a:gd name="T9" fmla="*/ 0 h 32"/>
                <a:gd name="T10" fmla="*/ 41 w 45"/>
                <a:gd name="T11" fmla="*/ 0 h 32"/>
                <a:gd name="T12" fmla="*/ 45 w 45"/>
                <a:gd name="T13" fmla="*/ 3 h 32"/>
                <a:gd name="T14" fmla="*/ 45 w 45"/>
                <a:gd name="T15" fmla="*/ 28 h 32"/>
                <a:gd name="T16" fmla="*/ 41 w 45"/>
                <a:gd name="T17" fmla="*/ 32 h 32"/>
                <a:gd name="T18" fmla="*/ 16 w 45"/>
                <a:gd name="T19" fmla="*/ 7 h 32"/>
                <a:gd name="T20" fmla="*/ 10 w 45"/>
                <a:gd name="T21" fmla="*/ 9 h 32"/>
                <a:gd name="T22" fmla="*/ 7 w 45"/>
                <a:gd name="T23" fmla="*/ 16 h 32"/>
                <a:gd name="T24" fmla="*/ 16 w 45"/>
                <a:gd name="T25" fmla="*/ 25 h 32"/>
                <a:gd name="T26" fmla="*/ 38 w 45"/>
                <a:gd name="T27" fmla="*/ 25 h 32"/>
                <a:gd name="T28" fmla="*/ 38 w 45"/>
                <a:gd name="T29" fmla="*/ 7 h 32"/>
                <a:gd name="T30" fmla="*/ 16 w 45"/>
                <a:gd name="T3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" h="32">
                  <a:moveTo>
                    <a:pt x="41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3" y="0"/>
                    <a:pt x="45" y="1"/>
                    <a:pt x="45" y="3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30"/>
                    <a:pt x="43" y="32"/>
                    <a:pt x="41" y="32"/>
                  </a:cubicBezTo>
                  <a:close/>
                  <a:moveTo>
                    <a:pt x="16" y="7"/>
                  </a:moveTo>
                  <a:cubicBezTo>
                    <a:pt x="14" y="7"/>
                    <a:pt x="12" y="8"/>
                    <a:pt x="10" y="9"/>
                  </a:cubicBezTo>
                  <a:cubicBezTo>
                    <a:pt x="8" y="11"/>
                    <a:pt x="7" y="13"/>
                    <a:pt x="7" y="16"/>
                  </a:cubicBezTo>
                  <a:cubicBezTo>
                    <a:pt x="7" y="21"/>
                    <a:pt x="11" y="25"/>
                    <a:pt x="16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7"/>
                    <a:pt x="38" y="7"/>
                    <a:pt x="38" y="7"/>
                  </a:cubicBezTo>
                  <a:lnTo>
                    <a:pt x="16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82" name="Freeform 1177">
              <a:extLst>
                <a:ext uri="{FF2B5EF4-FFF2-40B4-BE49-F238E27FC236}">
                  <a16:creationId xmlns:a16="http://schemas.microsoft.com/office/drawing/2014/main" id="{3EA3C14B-351F-4D1D-92BC-ADC9B3339D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1670" y="795500"/>
              <a:ext cx="255446" cy="323734"/>
            </a:xfrm>
            <a:custGeom>
              <a:avLst/>
              <a:gdLst>
                <a:gd name="T0" fmla="*/ 4 w 141"/>
                <a:gd name="T1" fmla="*/ 178 h 178"/>
                <a:gd name="T2" fmla="*/ 0 w 141"/>
                <a:gd name="T3" fmla="*/ 175 h 178"/>
                <a:gd name="T4" fmla="*/ 0 w 141"/>
                <a:gd name="T5" fmla="*/ 11 h 178"/>
                <a:gd name="T6" fmla="*/ 12 w 141"/>
                <a:gd name="T7" fmla="*/ 0 h 178"/>
                <a:gd name="T8" fmla="*/ 125 w 141"/>
                <a:gd name="T9" fmla="*/ 0 h 178"/>
                <a:gd name="T10" fmla="*/ 141 w 141"/>
                <a:gd name="T11" fmla="*/ 16 h 178"/>
                <a:gd name="T12" fmla="*/ 141 w 141"/>
                <a:gd name="T13" fmla="*/ 150 h 178"/>
                <a:gd name="T14" fmla="*/ 125 w 141"/>
                <a:gd name="T15" fmla="*/ 166 h 178"/>
                <a:gd name="T16" fmla="*/ 16 w 141"/>
                <a:gd name="T17" fmla="*/ 166 h 178"/>
                <a:gd name="T18" fmla="*/ 10 w 141"/>
                <a:gd name="T19" fmla="*/ 168 h 178"/>
                <a:gd name="T20" fmla="*/ 7 w 141"/>
                <a:gd name="T21" fmla="*/ 175 h 178"/>
                <a:gd name="T22" fmla="*/ 4 w 141"/>
                <a:gd name="T23" fmla="*/ 178 h 178"/>
                <a:gd name="T24" fmla="*/ 12 w 141"/>
                <a:gd name="T25" fmla="*/ 6 h 178"/>
                <a:gd name="T26" fmla="*/ 7 w 141"/>
                <a:gd name="T27" fmla="*/ 11 h 178"/>
                <a:gd name="T28" fmla="*/ 7 w 141"/>
                <a:gd name="T29" fmla="*/ 162 h 178"/>
                <a:gd name="T30" fmla="*/ 16 w 141"/>
                <a:gd name="T31" fmla="*/ 159 h 178"/>
                <a:gd name="T32" fmla="*/ 125 w 141"/>
                <a:gd name="T33" fmla="*/ 159 h 178"/>
                <a:gd name="T34" fmla="*/ 134 w 141"/>
                <a:gd name="T35" fmla="*/ 150 h 178"/>
                <a:gd name="T36" fmla="*/ 134 w 141"/>
                <a:gd name="T37" fmla="*/ 16 h 178"/>
                <a:gd name="T38" fmla="*/ 125 w 141"/>
                <a:gd name="T39" fmla="*/ 6 h 178"/>
                <a:gd name="T40" fmla="*/ 12 w 141"/>
                <a:gd name="T41" fmla="*/ 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1" h="178">
                  <a:moveTo>
                    <a:pt x="4" y="178"/>
                  </a:moveTo>
                  <a:cubicBezTo>
                    <a:pt x="2" y="178"/>
                    <a:pt x="0" y="177"/>
                    <a:pt x="0" y="17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4" y="0"/>
                    <a:pt x="141" y="7"/>
                    <a:pt x="141" y="16"/>
                  </a:cubicBezTo>
                  <a:cubicBezTo>
                    <a:pt x="141" y="150"/>
                    <a:pt x="141" y="150"/>
                    <a:pt x="141" y="150"/>
                  </a:cubicBezTo>
                  <a:cubicBezTo>
                    <a:pt x="141" y="159"/>
                    <a:pt x="134" y="166"/>
                    <a:pt x="125" y="166"/>
                  </a:cubicBezTo>
                  <a:cubicBezTo>
                    <a:pt x="16" y="166"/>
                    <a:pt x="16" y="166"/>
                    <a:pt x="16" y="166"/>
                  </a:cubicBezTo>
                  <a:cubicBezTo>
                    <a:pt x="14" y="166"/>
                    <a:pt x="12" y="167"/>
                    <a:pt x="10" y="168"/>
                  </a:cubicBezTo>
                  <a:cubicBezTo>
                    <a:pt x="8" y="170"/>
                    <a:pt x="7" y="172"/>
                    <a:pt x="7" y="175"/>
                  </a:cubicBezTo>
                  <a:cubicBezTo>
                    <a:pt x="7" y="177"/>
                    <a:pt x="6" y="178"/>
                    <a:pt x="4" y="178"/>
                  </a:cubicBezTo>
                  <a:close/>
                  <a:moveTo>
                    <a:pt x="12" y="6"/>
                  </a:moveTo>
                  <a:cubicBezTo>
                    <a:pt x="9" y="6"/>
                    <a:pt x="7" y="9"/>
                    <a:pt x="7" y="11"/>
                  </a:cubicBezTo>
                  <a:cubicBezTo>
                    <a:pt x="7" y="162"/>
                    <a:pt x="7" y="162"/>
                    <a:pt x="7" y="162"/>
                  </a:cubicBezTo>
                  <a:cubicBezTo>
                    <a:pt x="10" y="160"/>
                    <a:pt x="13" y="159"/>
                    <a:pt x="16" y="159"/>
                  </a:cubicBezTo>
                  <a:cubicBezTo>
                    <a:pt x="125" y="159"/>
                    <a:pt x="125" y="159"/>
                    <a:pt x="125" y="159"/>
                  </a:cubicBezTo>
                  <a:cubicBezTo>
                    <a:pt x="130" y="159"/>
                    <a:pt x="134" y="155"/>
                    <a:pt x="134" y="150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4" y="11"/>
                    <a:pt x="130" y="6"/>
                    <a:pt x="125" y="6"/>
                  </a:cubicBezTo>
                  <a:lnTo>
                    <a:pt x="12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83" name="Freeform 1178">
              <a:extLst>
                <a:ext uri="{FF2B5EF4-FFF2-40B4-BE49-F238E27FC236}">
                  <a16:creationId xmlns:a16="http://schemas.microsoft.com/office/drawing/2014/main" id="{9BDEE5AD-D76E-40E1-95F0-BFF43A5B1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87895" y="703186"/>
              <a:ext cx="241536" cy="423636"/>
            </a:xfrm>
            <a:custGeom>
              <a:avLst/>
              <a:gdLst>
                <a:gd name="T0" fmla="*/ 129 w 133"/>
                <a:gd name="T1" fmla="*/ 233 h 233"/>
                <a:gd name="T2" fmla="*/ 108 w 133"/>
                <a:gd name="T3" fmla="*/ 233 h 233"/>
                <a:gd name="T4" fmla="*/ 105 w 133"/>
                <a:gd name="T5" fmla="*/ 230 h 233"/>
                <a:gd name="T6" fmla="*/ 105 w 133"/>
                <a:gd name="T7" fmla="*/ 32 h 233"/>
                <a:gd name="T8" fmla="*/ 3 w 133"/>
                <a:gd name="T9" fmla="*/ 32 h 233"/>
                <a:gd name="T10" fmla="*/ 0 w 133"/>
                <a:gd name="T11" fmla="*/ 29 h 233"/>
                <a:gd name="T12" fmla="*/ 0 w 133"/>
                <a:gd name="T13" fmla="*/ 4 h 233"/>
                <a:gd name="T14" fmla="*/ 3 w 133"/>
                <a:gd name="T15" fmla="*/ 0 h 233"/>
                <a:gd name="T16" fmla="*/ 129 w 133"/>
                <a:gd name="T17" fmla="*/ 0 h 233"/>
                <a:gd name="T18" fmla="*/ 133 w 133"/>
                <a:gd name="T19" fmla="*/ 4 h 233"/>
                <a:gd name="T20" fmla="*/ 133 w 133"/>
                <a:gd name="T21" fmla="*/ 230 h 233"/>
                <a:gd name="T22" fmla="*/ 129 w 133"/>
                <a:gd name="T23" fmla="*/ 233 h 233"/>
                <a:gd name="T24" fmla="*/ 112 w 133"/>
                <a:gd name="T25" fmla="*/ 227 h 233"/>
                <a:gd name="T26" fmla="*/ 126 w 133"/>
                <a:gd name="T27" fmla="*/ 227 h 233"/>
                <a:gd name="T28" fmla="*/ 126 w 133"/>
                <a:gd name="T29" fmla="*/ 7 h 233"/>
                <a:gd name="T30" fmla="*/ 7 w 133"/>
                <a:gd name="T31" fmla="*/ 7 h 233"/>
                <a:gd name="T32" fmla="*/ 7 w 133"/>
                <a:gd name="T33" fmla="*/ 25 h 233"/>
                <a:gd name="T34" fmla="*/ 108 w 133"/>
                <a:gd name="T35" fmla="*/ 25 h 233"/>
                <a:gd name="T36" fmla="*/ 112 w 133"/>
                <a:gd name="T37" fmla="*/ 29 h 233"/>
                <a:gd name="T38" fmla="*/ 112 w 133"/>
                <a:gd name="T39" fmla="*/ 22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3" h="233">
                  <a:moveTo>
                    <a:pt x="129" y="233"/>
                  </a:moveTo>
                  <a:cubicBezTo>
                    <a:pt x="108" y="233"/>
                    <a:pt x="108" y="233"/>
                    <a:pt x="108" y="233"/>
                  </a:cubicBezTo>
                  <a:cubicBezTo>
                    <a:pt x="106" y="233"/>
                    <a:pt x="105" y="232"/>
                    <a:pt x="105" y="230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2" y="32"/>
                    <a:pt x="0" y="31"/>
                    <a:pt x="0" y="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1" y="0"/>
                    <a:pt x="133" y="2"/>
                    <a:pt x="133" y="4"/>
                  </a:cubicBezTo>
                  <a:cubicBezTo>
                    <a:pt x="133" y="230"/>
                    <a:pt x="133" y="230"/>
                    <a:pt x="133" y="230"/>
                  </a:cubicBezTo>
                  <a:cubicBezTo>
                    <a:pt x="133" y="232"/>
                    <a:pt x="131" y="233"/>
                    <a:pt x="129" y="233"/>
                  </a:cubicBezTo>
                  <a:close/>
                  <a:moveTo>
                    <a:pt x="112" y="227"/>
                  </a:moveTo>
                  <a:cubicBezTo>
                    <a:pt x="126" y="227"/>
                    <a:pt x="126" y="227"/>
                    <a:pt x="126" y="22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10" y="25"/>
                    <a:pt x="112" y="27"/>
                    <a:pt x="112" y="29"/>
                  </a:cubicBezTo>
                  <a:lnTo>
                    <a:pt x="112" y="22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84" name="Freeform 1179">
              <a:extLst>
                <a:ext uri="{FF2B5EF4-FFF2-40B4-BE49-F238E27FC236}">
                  <a16:creationId xmlns:a16="http://schemas.microsoft.com/office/drawing/2014/main" id="{FDD24609-0B35-476D-99BE-809E4EFD4D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9957" y="748711"/>
              <a:ext cx="241536" cy="424901"/>
            </a:xfrm>
            <a:custGeom>
              <a:avLst/>
              <a:gdLst>
                <a:gd name="T0" fmla="*/ 129 w 133"/>
                <a:gd name="T1" fmla="*/ 234 h 234"/>
                <a:gd name="T2" fmla="*/ 87 w 133"/>
                <a:gd name="T3" fmla="*/ 234 h 234"/>
                <a:gd name="T4" fmla="*/ 84 w 133"/>
                <a:gd name="T5" fmla="*/ 230 h 234"/>
                <a:gd name="T6" fmla="*/ 66 w 133"/>
                <a:gd name="T7" fmla="*/ 213 h 234"/>
                <a:gd name="T8" fmla="*/ 49 w 133"/>
                <a:gd name="T9" fmla="*/ 230 h 234"/>
                <a:gd name="T10" fmla="*/ 45 w 133"/>
                <a:gd name="T11" fmla="*/ 234 h 234"/>
                <a:gd name="T12" fmla="*/ 3 w 133"/>
                <a:gd name="T13" fmla="*/ 234 h 234"/>
                <a:gd name="T14" fmla="*/ 0 w 133"/>
                <a:gd name="T15" fmla="*/ 230 h 234"/>
                <a:gd name="T16" fmla="*/ 0 w 133"/>
                <a:gd name="T17" fmla="*/ 188 h 234"/>
                <a:gd name="T18" fmla="*/ 3 w 133"/>
                <a:gd name="T19" fmla="*/ 185 h 234"/>
                <a:gd name="T20" fmla="*/ 87 w 133"/>
                <a:gd name="T21" fmla="*/ 185 h 234"/>
                <a:gd name="T22" fmla="*/ 96 w 133"/>
                <a:gd name="T23" fmla="*/ 176 h 234"/>
                <a:gd name="T24" fmla="*/ 96 w 133"/>
                <a:gd name="T25" fmla="*/ 42 h 234"/>
                <a:gd name="T26" fmla="*/ 87 w 133"/>
                <a:gd name="T27" fmla="*/ 32 h 234"/>
                <a:gd name="T28" fmla="*/ 3 w 133"/>
                <a:gd name="T29" fmla="*/ 32 h 234"/>
                <a:gd name="T30" fmla="*/ 0 w 133"/>
                <a:gd name="T31" fmla="*/ 29 h 234"/>
                <a:gd name="T32" fmla="*/ 0 w 133"/>
                <a:gd name="T33" fmla="*/ 4 h 234"/>
                <a:gd name="T34" fmla="*/ 3 w 133"/>
                <a:gd name="T35" fmla="*/ 0 h 234"/>
                <a:gd name="T36" fmla="*/ 129 w 133"/>
                <a:gd name="T37" fmla="*/ 0 h 234"/>
                <a:gd name="T38" fmla="*/ 133 w 133"/>
                <a:gd name="T39" fmla="*/ 4 h 234"/>
                <a:gd name="T40" fmla="*/ 133 w 133"/>
                <a:gd name="T41" fmla="*/ 230 h 234"/>
                <a:gd name="T42" fmla="*/ 129 w 133"/>
                <a:gd name="T43" fmla="*/ 234 h 234"/>
                <a:gd name="T44" fmla="*/ 90 w 133"/>
                <a:gd name="T45" fmla="*/ 227 h 234"/>
                <a:gd name="T46" fmla="*/ 126 w 133"/>
                <a:gd name="T47" fmla="*/ 227 h 234"/>
                <a:gd name="T48" fmla="*/ 126 w 133"/>
                <a:gd name="T49" fmla="*/ 7 h 234"/>
                <a:gd name="T50" fmla="*/ 7 w 133"/>
                <a:gd name="T51" fmla="*/ 7 h 234"/>
                <a:gd name="T52" fmla="*/ 7 w 133"/>
                <a:gd name="T53" fmla="*/ 26 h 234"/>
                <a:gd name="T54" fmla="*/ 87 w 133"/>
                <a:gd name="T55" fmla="*/ 26 h 234"/>
                <a:gd name="T56" fmla="*/ 103 w 133"/>
                <a:gd name="T57" fmla="*/ 42 h 234"/>
                <a:gd name="T58" fmla="*/ 103 w 133"/>
                <a:gd name="T59" fmla="*/ 176 h 234"/>
                <a:gd name="T60" fmla="*/ 87 w 133"/>
                <a:gd name="T61" fmla="*/ 192 h 234"/>
                <a:gd name="T62" fmla="*/ 7 w 133"/>
                <a:gd name="T63" fmla="*/ 192 h 234"/>
                <a:gd name="T64" fmla="*/ 7 w 133"/>
                <a:gd name="T65" fmla="*/ 227 h 234"/>
                <a:gd name="T66" fmla="*/ 42 w 133"/>
                <a:gd name="T67" fmla="*/ 227 h 234"/>
                <a:gd name="T68" fmla="*/ 66 w 133"/>
                <a:gd name="T69" fmla="*/ 206 h 234"/>
                <a:gd name="T70" fmla="*/ 90 w 133"/>
                <a:gd name="T71" fmla="*/ 22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3" h="234">
                  <a:moveTo>
                    <a:pt x="129" y="234"/>
                  </a:moveTo>
                  <a:cubicBezTo>
                    <a:pt x="87" y="234"/>
                    <a:pt x="87" y="234"/>
                    <a:pt x="87" y="234"/>
                  </a:cubicBezTo>
                  <a:cubicBezTo>
                    <a:pt x="85" y="234"/>
                    <a:pt x="84" y="232"/>
                    <a:pt x="84" y="230"/>
                  </a:cubicBezTo>
                  <a:cubicBezTo>
                    <a:pt x="84" y="221"/>
                    <a:pt x="76" y="213"/>
                    <a:pt x="66" y="213"/>
                  </a:cubicBezTo>
                  <a:cubicBezTo>
                    <a:pt x="57" y="213"/>
                    <a:pt x="49" y="221"/>
                    <a:pt x="49" y="230"/>
                  </a:cubicBezTo>
                  <a:cubicBezTo>
                    <a:pt x="49" y="232"/>
                    <a:pt x="47" y="234"/>
                    <a:pt x="45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2" y="234"/>
                    <a:pt x="0" y="232"/>
                    <a:pt x="0" y="230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6"/>
                    <a:pt x="2" y="185"/>
                    <a:pt x="3" y="185"/>
                  </a:cubicBezTo>
                  <a:cubicBezTo>
                    <a:pt x="87" y="185"/>
                    <a:pt x="87" y="185"/>
                    <a:pt x="87" y="185"/>
                  </a:cubicBezTo>
                  <a:cubicBezTo>
                    <a:pt x="92" y="185"/>
                    <a:pt x="96" y="181"/>
                    <a:pt x="96" y="176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37"/>
                    <a:pt x="92" y="32"/>
                    <a:pt x="87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2" y="32"/>
                    <a:pt x="0" y="31"/>
                    <a:pt x="0" y="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1" y="0"/>
                    <a:pt x="133" y="2"/>
                    <a:pt x="133" y="4"/>
                  </a:cubicBezTo>
                  <a:cubicBezTo>
                    <a:pt x="133" y="230"/>
                    <a:pt x="133" y="230"/>
                    <a:pt x="133" y="230"/>
                  </a:cubicBezTo>
                  <a:cubicBezTo>
                    <a:pt x="133" y="232"/>
                    <a:pt x="131" y="234"/>
                    <a:pt x="129" y="234"/>
                  </a:cubicBezTo>
                  <a:close/>
                  <a:moveTo>
                    <a:pt x="90" y="227"/>
                  </a:moveTo>
                  <a:cubicBezTo>
                    <a:pt x="126" y="227"/>
                    <a:pt x="126" y="227"/>
                    <a:pt x="126" y="22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96" y="26"/>
                    <a:pt x="103" y="33"/>
                    <a:pt x="103" y="42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85"/>
                    <a:pt x="96" y="192"/>
                    <a:pt x="87" y="192"/>
                  </a:cubicBezTo>
                  <a:cubicBezTo>
                    <a:pt x="7" y="192"/>
                    <a:pt x="7" y="192"/>
                    <a:pt x="7" y="192"/>
                  </a:cubicBezTo>
                  <a:cubicBezTo>
                    <a:pt x="7" y="227"/>
                    <a:pt x="7" y="227"/>
                    <a:pt x="7" y="227"/>
                  </a:cubicBezTo>
                  <a:cubicBezTo>
                    <a:pt x="42" y="227"/>
                    <a:pt x="42" y="227"/>
                    <a:pt x="42" y="227"/>
                  </a:cubicBezTo>
                  <a:cubicBezTo>
                    <a:pt x="44" y="215"/>
                    <a:pt x="54" y="206"/>
                    <a:pt x="66" y="206"/>
                  </a:cubicBezTo>
                  <a:cubicBezTo>
                    <a:pt x="79" y="206"/>
                    <a:pt x="89" y="215"/>
                    <a:pt x="90" y="22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85" name="Freeform 1180">
              <a:extLst>
                <a:ext uri="{FF2B5EF4-FFF2-40B4-BE49-F238E27FC236}">
                  <a16:creationId xmlns:a16="http://schemas.microsoft.com/office/drawing/2014/main" id="{F0CFFE77-6A15-4CD7-84F6-6E38D40214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9957" y="848613"/>
              <a:ext cx="120136" cy="117606"/>
            </a:xfrm>
            <a:custGeom>
              <a:avLst/>
              <a:gdLst>
                <a:gd name="T0" fmla="*/ 33 w 66"/>
                <a:gd name="T1" fmla="*/ 65 h 65"/>
                <a:gd name="T2" fmla="*/ 0 w 66"/>
                <a:gd name="T3" fmla="*/ 33 h 65"/>
                <a:gd name="T4" fmla="*/ 33 w 66"/>
                <a:gd name="T5" fmla="*/ 0 h 65"/>
                <a:gd name="T6" fmla="*/ 66 w 66"/>
                <a:gd name="T7" fmla="*/ 33 h 65"/>
                <a:gd name="T8" fmla="*/ 33 w 66"/>
                <a:gd name="T9" fmla="*/ 65 h 65"/>
                <a:gd name="T10" fmla="*/ 33 w 66"/>
                <a:gd name="T11" fmla="*/ 7 h 65"/>
                <a:gd name="T12" fmla="*/ 7 w 66"/>
                <a:gd name="T13" fmla="*/ 33 h 65"/>
                <a:gd name="T14" fmla="*/ 33 w 66"/>
                <a:gd name="T15" fmla="*/ 59 h 65"/>
                <a:gd name="T16" fmla="*/ 59 w 66"/>
                <a:gd name="T17" fmla="*/ 33 h 65"/>
                <a:gd name="T18" fmla="*/ 33 w 66"/>
                <a:gd name="T19" fmla="*/ 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cubicBezTo>
                    <a:pt x="15" y="65"/>
                    <a:pt x="0" y="51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1" y="0"/>
                    <a:pt x="66" y="15"/>
                    <a:pt x="66" y="33"/>
                  </a:cubicBezTo>
                  <a:cubicBezTo>
                    <a:pt x="66" y="51"/>
                    <a:pt x="51" y="65"/>
                    <a:pt x="33" y="65"/>
                  </a:cubicBezTo>
                  <a:close/>
                  <a:moveTo>
                    <a:pt x="33" y="7"/>
                  </a:moveTo>
                  <a:cubicBezTo>
                    <a:pt x="18" y="7"/>
                    <a:pt x="7" y="18"/>
                    <a:pt x="7" y="33"/>
                  </a:cubicBezTo>
                  <a:cubicBezTo>
                    <a:pt x="7" y="47"/>
                    <a:pt x="18" y="59"/>
                    <a:pt x="33" y="59"/>
                  </a:cubicBezTo>
                  <a:cubicBezTo>
                    <a:pt x="47" y="59"/>
                    <a:pt x="59" y="47"/>
                    <a:pt x="59" y="33"/>
                  </a:cubicBezTo>
                  <a:cubicBezTo>
                    <a:pt x="59" y="18"/>
                    <a:pt x="47" y="7"/>
                    <a:pt x="3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86" name="Freeform 1181">
              <a:extLst>
                <a:ext uri="{FF2B5EF4-FFF2-40B4-BE49-F238E27FC236}">
                  <a16:creationId xmlns:a16="http://schemas.microsoft.com/office/drawing/2014/main" id="{A6936608-4C51-4395-BE57-D2330F899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9957" y="994040"/>
              <a:ext cx="120136" cy="10117"/>
            </a:xfrm>
            <a:custGeom>
              <a:avLst/>
              <a:gdLst>
                <a:gd name="T0" fmla="*/ 62 w 66"/>
                <a:gd name="T1" fmla="*/ 6 h 6"/>
                <a:gd name="T2" fmla="*/ 3 w 66"/>
                <a:gd name="T3" fmla="*/ 6 h 6"/>
                <a:gd name="T4" fmla="*/ 0 w 66"/>
                <a:gd name="T5" fmla="*/ 3 h 6"/>
                <a:gd name="T6" fmla="*/ 3 w 66"/>
                <a:gd name="T7" fmla="*/ 0 h 6"/>
                <a:gd name="T8" fmla="*/ 62 w 66"/>
                <a:gd name="T9" fmla="*/ 0 h 6"/>
                <a:gd name="T10" fmla="*/ 66 w 66"/>
                <a:gd name="T11" fmla="*/ 3 h 6"/>
                <a:gd name="T12" fmla="*/ 62 w 6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">
                  <a:moveTo>
                    <a:pt x="6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6" y="1"/>
                    <a:pt x="66" y="3"/>
                  </a:cubicBezTo>
                  <a:cubicBezTo>
                    <a:pt x="66" y="5"/>
                    <a:pt x="64" y="6"/>
                    <a:pt x="62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87" name="Freeform 1182">
              <a:extLst>
                <a:ext uri="{FF2B5EF4-FFF2-40B4-BE49-F238E27FC236}">
                  <a16:creationId xmlns:a16="http://schemas.microsoft.com/office/drawing/2014/main" id="{62029545-69E4-4D3F-B3DD-80B9A24F8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9957" y="1031978"/>
              <a:ext cx="120136" cy="11381"/>
            </a:xfrm>
            <a:custGeom>
              <a:avLst/>
              <a:gdLst>
                <a:gd name="T0" fmla="*/ 62 w 66"/>
                <a:gd name="T1" fmla="*/ 6 h 6"/>
                <a:gd name="T2" fmla="*/ 3 w 66"/>
                <a:gd name="T3" fmla="*/ 6 h 6"/>
                <a:gd name="T4" fmla="*/ 0 w 66"/>
                <a:gd name="T5" fmla="*/ 3 h 6"/>
                <a:gd name="T6" fmla="*/ 3 w 66"/>
                <a:gd name="T7" fmla="*/ 0 h 6"/>
                <a:gd name="T8" fmla="*/ 62 w 66"/>
                <a:gd name="T9" fmla="*/ 0 h 6"/>
                <a:gd name="T10" fmla="*/ 66 w 66"/>
                <a:gd name="T11" fmla="*/ 3 h 6"/>
                <a:gd name="T12" fmla="*/ 62 w 6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">
                  <a:moveTo>
                    <a:pt x="6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6" y="1"/>
                    <a:pt x="66" y="3"/>
                  </a:cubicBezTo>
                  <a:cubicBezTo>
                    <a:pt x="66" y="5"/>
                    <a:pt x="64" y="6"/>
                    <a:pt x="62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2" name="Agrupar 1701">
            <a:extLst>
              <a:ext uri="{FF2B5EF4-FFF2-40B4-BE49-F238E27FC236}">
                <a16:creationId xmlns:a16="http://schemas.microsoft.com/office/drawing/2014/main" id="{422B48DD-8A11-4777-97E0-B66F09FDC18A}"/>
              </a:ext>
            </a:extLst>
          </p:cNvPr>
          <p:cNvGrpSpPr/>
          <p:nvPr/>
        </p:nvGrpSpPr>
        <p:grpSpPr>
          <a:xfrm>
            <a:off x="7787027" y="703186"/>
            <a:ext cx="287061" cy="470425"/>
            <a:chOff x="8468639" y="703186"/>
            <a:chExt cx="287061" cy="470425"/>
          </a:xfrm>
        </p:grpSpPr>
        <p:sp>
          <p:nvSpPr>
            <p:cNvPr id="1388" name="Freeform 1183">
              <a:extLst>
                <a:ext uri="{FF2B5EF4-FFF2-40B4-BE49-F238E27FC236}">
                  <a16:creationId xmlns:a16="http://schemas.microsoft.com/office/drawing/2014/main" id="{7FB57AB9-B6C1-40FF-8E04-3B460161CE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8639" y="795500"/>
              <a:ext cx="287061" cy="354084"/>
            </a:xfrm>
            <a:custGeom>
              <a:avLst/>
              <a:gdLst>
                <a:gd name="T0" fmla="*/ 130 w 158"/>
                <a:gd name="T1" fmla="*/ 195 h 195"/>
                <a:gd name="T2" fmla="*/ 29 w 158"/>
                <a:gd name="T3" fmla="*/ 195 h 195"/>
                <a:gd name="T4" fmla="*/ 0 w 158"/>
                <a:gd name="T5" fmla="*/ 166 h 195"/>
                <a:gd name="T6" fmla="*/ 0 w 158"/>
                <a:gd name="T7" fmla="*/ 28 h 195"/>
                <a:gd name="T8" fmla="*/ 29 w 158"/>
                <a:gd name="T9" fmla="*/ 0 h 195"/>
                <a:gd name="T10" fmla="*/ 58 w 158"/>
                <a:gd name="T11" fmla="*/ 0 h 195"/>
                <a:gd name="T12" fmla="*/ 61 w 158"/>
                <a:gd name="T13" fmla="*/ 1 h 195"/>
                <a:gd name="T14" fmla="*/ 65 w 158"/>
                <a:gd name="T15" fmla="*/ 8 h 195"/>
                <a:gd name="T16" fmla="*/ 94 w 158"/>
                <a:gd name="T17" fmla="*/ 8 h 195"/>
                <a:gd name="T18" fmla="*/ 97 w 158"/>
                <a:gd name="T19" fmla="*/ 1 h 195"/>
                <a:gd name="T20" fmla="*/ 100 w 158"/>
                <a:gd name="T21" fmla="*/ 0 h 195"/>
                <a:gd name="T22" fmla="*/ 130 w 158"/>
                <a:gd name="T23" fmla="*/ 0 h 195"/>
                <a:gd name="T24" fmla="*/ 158 w 158"/>
                <a:gd name="T25" fmla="*/ 28 h 195"/>
                <a:gd name="T26" fmla="*/ 158 w 158"/>
                <a:gd name="T27" fmla="*/ 166 h 195"/>
                <a:gd name="T28" fmla="*/ 130 w 158"/>
                <a:gd name="T29" fmla="*/ 195 h 195"/>
                <a:gd name="T30" fmla="*/ 29 w 158"/>
                <a:gd name="T31" fmla="*/ 6 h 195"/>
                <a:gd name="T32" fmla="*/ 7 w 158"/>
                <a:gd name="T33" fmla="*/ 28 h 195"/>
                <a:gd name="T34" fmla="*/ 7 w 158"/>
                <a:gd name="T35" fmla="*/ 166 h 195"/>
                <a:gd name="T36" fmla="*/ 29 w 158"/>
                <a:gd name="T37" fmla="*/ 188 h 195"/>
                <a:gd name="T38" fmla="*/ 130 w 158"/>
                <a:gd name="T39" fmla="*/ 188 h 195"/>
                <a:gd name="T40" fmla="*/ 151 w 158"/>
                <a:gd name="T41" fmla="*/ 166 h 195"/>
                <a:gd name="T42" fmla="*/ 151 w 158"/>
                <a:gd name="T43" fmla="*/ 28 h 195"/>
                <a:gd name="T44" fmla="*/ 130 w 158"/>
                <a:gd name="T45" fmla="*/ 6 h 195"/>
                <a:gd name="T46" fmla="*/ 102 w 158"/>
                <a:gd name="T47" fmla="*/ 6 h 195"/>
                <a:gd name="T48" fmla="*/ 99 w 158"/>
                <a:gd name="T49" fmla="*/ 13 h 195"/>
                <a:gd name="T50" fmla="*/ 96 w 158"/>
                <a:gd name="T51" fmla="*/ 15 h 195"/>
                <a:gd name="T52" fmla="*/ 62 w 158"/>
                <a:gd name="T53" fmla="*/ 15 h 195"/>
                <a:gd name="T54" fmla="*/ 59 w 158"/>
                <a:gd name="T55" fmla="*/ 13 h 195"/>
                <a:gd name="T56" fmla="*/ 56 w 158"/>
                <a:gd name="T57" fmla="*/ 6 h 195"/>
                <a:gd name="T58" fmla="*/ 29 w 158"/>
                <a:gd name="T59" fmla="*/ 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8" h="195">
                  <a:moveTo>
                    <a:pt x="130" y="195"/>
                  </a:moveTo>
                  <a:cubicBezTo>
                    <a:pt x="29" y="195"/>
                    <a:pt x="29" y="195"/>
                    <a:pt x="29" y="195"/>
                  </a:cubicBezTo>
                  <a:cubicBezTo>
                    <a:pt x="13" y="195"/>
                    <a:pt x="0" y="182"/>
                    <a:pt x="0" y="16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0"/>
                    <a:pt x="61" y="1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8" y="0"/>
                    <a:pt x="99" y="0"/>
                    <a:pt x="100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82"/>
                    <a:pt x="145" y="195"/>
                    <a:pt x="130" y="195"/>
                  </a:cubicBezTo>
                  <a:close/>
                  <a:moveTo>
                    <a:pt x="29" y="6"/>
                  </a:moveTo>
                  <a:cubicBezTo>
                    <a:pt x="17" y="6"/>
                    <a:pt x="7" y="16"/>
                    <a:pt x="7" y="28"/>
                  </a:cubicBezTo>
                  <a:cubicBezTo>
                    <a:pt x="7" y="166"/>
                    <a:pt x="7" y="166"/>
                    <a:pt x="7" y="166"/>
                  </a:cubicBezTo>
                  <a:cubicBezTo>
                    <a:pt x="7" y="178"/>
                    <a:pt x="17" y="188"/>
                    <a:pt x="29" y="188"/>
                  </a:cubicBezTo>
                  <a:cubicBezTo>
                    <a:pt x="130" y="188"/>
                    <a:pt x="130" y="188"/>
                    <a:pt x="130" y="188"/>
                  </a:cubicBezTo>
                  <a:cubicBezTo>
                    <a:pt x="142" y="188"/>
                    <a:pt x="151" y="178"/>
                    <a:pt x="151" y="166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16"/>
                    <a:pt x="142" y="6"/>
                    <a:pt x="130" y="6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98" y="14"/>
                    <a:pt x="97" y="15"/>
                    <a:pt x="96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1" y="15"/>
                    <a:pt x="60" y="14"/>
                    <a:pt x="59" y="13"/>
                  </a:cubicBezTo>
                  <a:cubicBezTo>
                    <a:pt x="56" y="6"/>
                    <a:pt x="56" y="6"/>
                    <a:pt x="56" y="6"/>
                  </a:cubicBezTo>
                  <a:lnTo>
                    <a:pt x="29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89" name="Freeform 1184">
              <a:extLst>
                <a:ext uri="{FF2B5EF4-FFF2-40B4-BE49-F238E27FC236}">
                  <a16:creationId xmlns:a16="http://schemas.microsoft.com/office/drawing/2014/main" id="{0BADB35C-7E41-424B-9245-3EB451E584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44514" y="703186"/>
              <a:ext cx="135311" cy="44260"/>
            </a:xfrm>
            <a:custGeom>
              <a:avLst/>
              <a:gdLst>
                <a:gd name="T0" fmla="*/ 71 w 74"/>
                <a:gd name="T1" fmla="*/ 24 h 24"/>
                <a:gd name="T2" fmla="*/ 4 w 74"/>
                <a:gd name="T3" fmla="*/ 24 h 24"/>
                <a:gd name="T4" fmla="*/ 0 w 74"/>
                <a:gd name="T5" fmla="*/ 20 h 24"/>
                <a:gd name="T6" fmla="*/ 0 w 74"/>
                <a:gd name="T7" fmla="*/ 11 h 24"/>
                <a:gd name="T8" fmla="*/ 11 w 74"/>
                <a:gd name="T9" fmla="*/ 0 h 24"/>
                <a:gd name="T10" fmla="*/ 64 w 74"/>
                <a:gd name="T11" fmla="*/ 0 h 24"/>
                <a:gd name="T12" fmla="*/ 74 w 74"/>
                <a:gd name="T13" fmla="*/ 11 h 24"/>
                <a:gd name="T14" fmla="*/ 74 w 74"/>
                <a:gd name="T15" fmla="*/ 20 h 24"/>
                <a:gd name="T16" fmla="*/ 71 w 74"/>
                <a:gd name="T17" fmla="*/ 24 h 24"/>
                <a:gd name="T18" fmla="*/ 7 w 74"/>
                <a:gd name="T19" fmla="*/ 17 h 24"/>
                <a:gd name="T20" fmla="*/ 67 w 74"/>
                <a:gd name="T21" fmla="*/ 17 h 24"/>
                <a:gd name="T22" fmla="*/ 67 w 74"/>
                <a:gd name="T23" fmla="*/ 11 h 24"/>
                <a:gd name="T24" fmla="*/ 64 w 74"/>
                <a:gd name="T25" fmla="*/ 7 h 24"/>
                <a:gd name="T26" fmla="*/ 11 w 74"/>
                <a:gd name="T27" fmla="*/ 7 h 24"/>
                <a:gd name="T28" fmla="*/ 7 w 74"/>
                <a:gd name="T29" fmla="*/ 11 h 24"/>
                <a:gd name="T30" fmla="*/ 7 w 74"/>
                <a:gd name="T31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" h="24">
                  <a:moveTo>
                    <a:pt x="71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0"/>
                    <a:pt x="74" y="5"/>
                    <a:pt x="74" y="11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2"/>
                    <a:pt x="73" y="24"/>
                    <a:pt x="71" y="24"/>
                  </a:cubicBezTo>
                  <a:close/>
                  <a:moveTo>
                    <a:pt x="7" y="17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9"/>
                    <a:pt x="66" y="7"/>
                    <a:pt x="64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9" y="7"/>
                    <a:pt x="7" y="9"/>
                    <a:pt x="7" y="11"/>
                  </a:cubicBezTo>
                  <a:lnTo>
                    <a:pt x="7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0" name="Freeform 1185">
              <a:extLst>
                <a:ext uri="{FF2B5EF4-FFF2-40B4-BE49-F238E27FC236}">
                  <a16:creationId xmlns:a16="http://schemas.microsoft.com/office/drawing/2014/main" id="{3E471DFD-4BBE-487E-B8EB-6C2CAF7AC8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44514" y="734800"/>
              <a:ext cx="135311" cy="88521"/>
            </a:xfrm>
            <a:custGeom>
              <a:avLst/>
              <a:gdLst>
                <a:gd name="T0" fmla="*/ 54 w 74"/>
                <a:gd name="T1" fmla="*/ 49 h 49"/>
                <a:gd name="T2" fmla="*/ 20 w 74"/>
                <a:gd name="T3" fmla="*/ 49 h 49"/>
                <a:gd name="T4" fmla="*/ 17 w 74"/>
                <a:gd name="T5" fmla="*/ 47 h 49"/>
                <a:gd name="T6" fmla="*/ 14 w 74"/>
                <a:gd name="T7" fmla="*/ 40 h 49"/>
                <a:gd name="T8" fmla="*/ 4 w 74"/>
                <a:gd name="T9" fmla="*/ 40 h 49"/>
                <a:gd name="T10" fmla="*/ 0 w 74"/>
                <a:gd name="T11" fmla="*/ 37 h 49"/>
                <a:gd name="T12" fmla="*/ 0 w 74"/>
                <a:gd name="T13" fmla="*/ 3 h 49"/>
                <a:gd name="T14" fmla="*/ 4 w 74"/>
                <a:gd name="T15" fmla="*/ 0 h 49"/>
                <a:gd name="T16" fmla="*/ 71 w 74"/>
                <a:gd name="T17" fmla="*/ 0 h 49"/>
                <a:gd name="T18" fmla="*/ 74 w 74"/>
                <a:gd name="T19" fmla="*/ 3 h 49"/>
                <a:gd name="T20" fmla="*/ 74 w 74"/>
                <a:gd name="T21" fmla="*/ 37 h 49"/>
                <a:gd name="T22" fmla="*/ 71 w 74"/>
                <a:gd name="T23" fmla="*/ 40 h 49"/>
                <a:gd name="T24" fmla="*/ 60 w 74"/>
                <a:gd name="T25" fmla="*/ 40 h 49"/>
                <a:gd name="T26" fmla="*/ 57 w 74"/>
                <a:gd name="T27" fmla="*/ 47 h 49"/>
                <a:gd name="T28" fmla="*/ 54 w 74"/>
                <a:gd name="T29" fmla="*/ 49 h 49"/>
                <a:gd name="T30" fmla="*/ 23 w 74"/>
                <a:gd name="T31" fmla="*/ 42 h 49"/>
                <a:gd name="T32" fmla="*/ 52 w 74"/>
                <a:gd name="T33" fmla="*/ 42 h 49"/>
                <a:gd name="T34" fmla="*/ 55 w 74"/>
                <a:gd name="T35" fmla="*/ 35 h 49"/>
                <a:gd name="T36" fmla="*/ 58 w 74"/>
                <a:gd name="T37" fmla="*/ 34 h 49"/>
                <a:gd name="T38" fmla="*/ 67 w 74"/>
                <a:gd name="T39" fmla="*/ 34 h 49"/>
                <a:gd name="T40" fmla="*/ 67 w 74"/>
                <a:gd name="T41" fmla="*/ 7 h 49"/>
                <a:gd name="T42" fmla="*/ 7 w 74"/>
                <a:gd name="T43" fmla="*/ 7 h 49"/>
                <a:gd name="T44" fmla="*/ 7 w 74"/>
                <a:gd name="T45" fmla="*/ 34 h 49"/>
                <a:gd name="T46" fmla="*/ 16 w 74"/>
                <a:gd name="T47" fmla="*/ 34 h 49"/>
                <a:gd name="T48" fmla="*/ 19 w 74"/>
                <a:gd name="T49" fmla="*/ 35 h 49"/>
                <a:gd name="T50" fmla="*/ 23 w 74"/>
                <a:gd name="T51" fmla="*/ 4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" h="49">
                  <a:moveTo>
                    <a:pt x="54" y="49"/>
                  </a:moveTo>
                  <a:cubicBezTo>
                    <a:pt x="20" y="49"/>
                    <a:pt x="20" y="49"/>
                    <a:pt x="20" y="49"/>
                  </a:cubicBezTo>
                  <a:cubicBezTo>
                    <a:pt x="19" y="49"/>
                    <a:pt x="18" y="48"/>
                    <a:pt x="17" y="47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9"/>
                    <a:pt x="0" y="3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4" y="2"/>
                    <a:pt x="74" y="3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9"/>
                    <a:pt x="73" y="40"/>
                    <a:pt x="71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6" y="48"/>
                    <a:pt x="55" y="49"/>
                    <a:pt x="54" y="49"/>
                  </a:cubicBezTo>
                  <a:close/>
                  <a:moveTo>
                    <a:pt x="23" y="42"/>
                  </a:moveTo>
                  <a:cubicBezTo>
                    <a:pt x="52" y="42"/>
                    <a:pt x="52" y="42"/>
                    <a:pt x="52" y="42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4"/>
                    <a:pt x="57" y="34"/>
                    <a:pt x="58" y="34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8" y="34"/>
                    <a:pt x="19" y="34"/>
                    <a:pt x="19" y="35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1" name="Freeform 1186">
              <a:extLst>
                <a:ext uri="{FF2B5EF4-FFF2-40B4-BE49-F238E27FC236}">
                  <a16:creationId xmlns:a16="http://schemas.microsoft.com/office/drawing/2014/main" id="{C399400D-5CBD-4ECC-BAC9-004805D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15429" y="1136938"/>
              <a:ext cx="41731" cy="36673"/>
            </a:xfrm>
            <a:custGeom>
              <a:avLst/>
              <a:gdLst>
                <a:gd name="T0" fmla="*/ 13 w 23"/>
                <a:gd name="T1" fmla="*/ 20 h 20"/>
                <a:gd name="T2" fmla="*/ 10 w 23"/>
                <a:gd name="T3" fmla="*/ 20 h 20"/>
                <a:gd name="T4" fmla="*/ 0 w 23"/>
                <a:gd name="T5" fmla="*/ 9 h 20"/>
                <a:gd name="T6" fmla="*/ 0 w 23"/>
                <a:gd name="T7" fmla="*/ 4 h 20"/>
                <a:gd name="T8" fmla="*/ 3 w 23"/>
                <a:gd name="T9" fmla="*/ 0 h 20"/>
                <a:gd name="T10" fmla="*/ 20 w 23"/>
                <a:gd name="T11" fmla="*/ 0 h 20"/>
                <a:gd name="T12" fmla="*/ 23 w 23"/>
                <a:gd name="T13" fmla="*/ 4 h 20"/>
                <a:gd name="T14" fmla="*/ 23 w 23"/>
                <a:gd name="T15" fmla="*/ 9 h 20"/>
                <a:gd name="T16" fmla="*/ 13 w 23"/>
                <a:gd name="T17" fmla="*/ 20 h 20"/>
                <a:gd name="T18" fmla="*/ 6 w 23"/>
                <a:gd name="T19" fmla="*/ 7 h 20"/>
                <a:gd name="T20" fmla="*/ 6 w 23"/>
                <a:gd name="T21" fmla="*/ 9 h 20"/>
                <a:gd name="T22" fmla="*/ 10 w 23"/>
                <a:gd name="T23" fmla="*/ 13 h 20"/>
                <a:gd name="T24" fmla="*/ 13 w 23"/>
                <a:gd name="T25" fmla="*/ 13 h 20"/>
                <a:gd name="T26" fmla="*/ 16 w 23"/>
                <a:gd name="T27" fmla="*/ 9 h 20"/>
                <a:gd name="T28" fmla="*/ 16 w 23"/>
                <a:gd name="T29" fmla="*/ 7 h 20"/>
                <a:gd name="T30" fmla="*/ 6 w 23"/>
                <a:gd name="T31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20">
                  <a:moveTo>
                    <a:pt x="13" y="20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4" y="20"/>
                    <a:pt x="0" y="15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3" y="2"/>
                    <a:pt x="23" y="4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15"/>
                    <a:pt x="19" y="20"/>
                    <a:pt x="13" y="20"/>
                  </a:cubicBezTo>
                  <a:close/>
                  <a:moveTo>
                    <a:pt x="6" y="7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11"/>
                    <a:pt x="8" y="13"/>
                    <a:pt x="10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5" y="13"/>
                    <a:pt x="16" y="11"/>
                    <a:pt x="16" y="9"/>
                  </a:cubicBezTo>
                  <a:cubicBezTo>
                    <a:pt x="16" y="7"/>
                    <a:pt x="16" y="7"/>
                    <a:pt x="16" y="7"/>
                  </a:cubicBezTo>
                  <a:lnTo>
                    <a:pt x="6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2" name="Freeform 1187">
              <a:extLst>
                <a:ext uri="{FF2B5EF4-FFF2-40B4-BE49-F238E27FC236}">
                  <a16:creationId xmlns:a16="http://schemas.microsoft.com/office/drawing/2014/main" id="{17C3D9C0-2FF1-4E3D-8458-EB7BA1043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5914" y="1136938"/>
              <a:ext cx="44260" cy="36673"/>
            </a:xfrm>
            <a:custGeom>
              <a:avLst/>
              <a:gdLst>
                <a:gd name="T0" fmla="*/ 12 w 24"/>
                <a:gd name="T1" fmla="*/ 20 h 20"/>
                <a:gd name="T2" fmla="*/ 0 w 24"/>
                <a:gd name="T3" fmla="*/ 8 h 20"/>
                <a:gd name="T4" fmla="*/ 0 w 24"/>
                <a:gd name="T5" fmla="*/ 4 h 20"/>
                <a:gd name="T6" fmla="*/ 4 w 24"/>
                <a:gd name="T7" fmla="*/ 0 h 20"/>
                <a:gd name="T8" fmla="*/ 7 w 24"/>
                <a:gd name="T9" fmla="*/ 4 h 20"/>
                <a:gd name="T10" fmla="*/ 7 w 24"/>
                <a:gd name="T11" fmla="*/ 8 h 20"/>
                <a:gd name="T12" fmla="*/ 12 w 24"/>
                <a:gd name="T13" fmla="*/ 13 h 20"/>
                <a:gd name="T14" fmla="*/ 17 w 24"/>
                <a:gd name="T15" fmla="*/ 8 h 20"/>
                <a:gd name="T16" fmla="*/ 17 w 24"/>
                <a:gd name="T17" fmla="*/ 4 h 20"/>
                <a:gd name="T18" fmla="*/ 21 w 24"/>
                <a:gd name="T19" fmla="*/ 0 h 20"/>
                <a:gd name="T20" fmla="*/ 24 w 24"/>
                <a:gd name="T21" fmla="*/ 4 h 20"/>
                <a:gd name="T22" fmla="*/ 24 w 24"/>
                <a:gd name="T23" fmla="*/ 8 h 20"/>
                <a:gd name="T24" fmla="*/ 12 w 24"/>
                <a:gd name="T2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0">
                  <a:moveTo>
                    <a:pt x="12" y="20"/>
                  </a:moveTo>
                  <a:cubicBezTo>
                    <a:pt x="6" y="20"/>
                    <a:pt x="0" y="14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1"/>
                    <a:pt x="9" y="13"/>
                    <a:pt x="12" y="13"/>
                  </a:cubicBezTo>
                  <a:cubicBezTo>
                    <a:pt x="15" y="13"/>
                    <a:pt x="17" y="11"/>
                    <a:pt x="17" y="8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2"/>
                    <a:pt x="19" y="0"/>
                    <a:pt x="21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14"/>
                    <a:pt x="19" y="20"/>
                    <a:pt x="12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3" name="Freeform 1188">
              <a:extLst>
                <a:ext uri="{FF2B5EF4-FFF2-40B4-BE49-F238E27FC236}">
                  <a16:creationId xmlns:a16="http://schemas.microsoft.com/office/drawing/2014/main" id="{14D3BCB4-51F7-4A65-98E1-C9FDBF3EC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5914" y="1136938"/>
              <a:ext cx="44260" cy="36673"/>
            </a:xfrm>
            <a:custGeom>
              <a:avLst/>
              <a:gdLst>
                <a:gd name="T0" fmla="*/ 12 w 24"/>
                <a:gd name="T1" fmla="*/ 20 h 20"/>
                <a:gd name="T2" fmla="*/ 0 w 24"/>
                <a:gd name="T3" fmla="*/ 8 h 20"/>
                <a:gd name="T4" fmla="*/ 0 w 24"/>
                <a:gd name="T5" fmla="*/ 4 h 20"/>
                <a:gd name="T6" fmla="*/ 4 w 24"/>
                <a:gd name="T7" fmla="*/ 0 h 20"/>
                <a:gd name="T8" fmla="*/ 7 w 24"/>
                <a:gd name="T9" fmla="*/ 4 h 20"/>
                <a:gd name="T10" fmla="*/ 7 w 24"/>
                <a:gd name="T11" fmla="*/ 8 h 20"/>
                <a:gd name="T12" fmla="*/ 12 w 24"/>
                <a:gd name="T13" fmla="*/ 13 h 20"/>
                <a:gd name="T14" fmla="*/ 17 w 24"/>
                <a:gd name="T15" fmla="*/ 8 h 20"/>
                <a:gd name="T16" fmla="*/ 17 w 24"/>
                <a:gd name="T17" fmla="*/ 4 h 20"/>
                <a:gd name="T18" fmla="*/ 21 w 24"/>
                <a:gd name="T19" fmla="*/ 0 h 20"/>
                <a:gd name="T20" fmla="*/ 24 w 24"/>
                <a:gd name="T21" fmla="*/ 4 h 20"/>
                <a:gd name="T22" fmla="*/ 24 w 24"/>
                <a:gd name="T23" fmla="*/ 8 h 20"/>
                <a:gd name="T24" fmla="*/ 12 w 24"/>
                <a:gd name="T2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0">
                  <a:moveTo>
                    <a:pt x="12" y="20"/>
                  </a:moveTo>
                  <a:cubicBezTo>
                    <a:pt x="6" y="20"/>
                    <a:pt x="0" y="14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1"/>
                    <a:pt x="9" y="13"/>
                    <a:pt x="12" y="13"/>
                  </a:cubicBezTo>
                  <a:cubicBezTo>
                    <a:pt x="15" y="13"/>
                    <a:pt x="17" y="11"/>
                    <a:pt x="17" y="8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2"/>
                    <a:pt x="19" y="0"/>
                    <a:pt x="21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14"/>
                    <a:pt x="19" y="20"/>
                    <a:pt x="12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4" name="Freeform 1189">
              <a:extLst>
                <a:ext uri="{FF2B5EF4-FFF2-40B4-BE49-F238E27FC236}">
                  <a16:creationId xmlns:a16="http://schemas.microsoft.com/office/drawing/2014/main" id="{4A658A77-79D0-4F60-826E-2F6B726FEB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90039" y="863788"/>
              <a:ext cx="44260" cy="233948"/>
            </a:xfrm>
            <a:custGeom>
              <a:avLst/>
              <a:gdLst>
                <a:gd name="T0" fmla="*/ 14 w 24"/>
                <a:gd name="T1" fmla="*/ 129 h 129"/>
                <a:gd name="T2" fmla="*/ 11 w 24"/>
                <a:gd name="T3" fmla="*/ 129 h 129"/>
                <a:gd name="T4" fmla="*/ 0 w 24"/>
                <a:gd name="T5" fmla="*/ 118 h 129"/>
                <a:gd name="T6" fmla="*/ 0 w 24"/>
                <a:gd name="T7" fmla="*/ 11 h 129"/>
                <a:gd name="T8" fmla="*/ 11 w 24"/>
                <a:gd name="T9" fmla="*/ 0 h 129"/>
                <a:gd name="T10" fmla="*/ 14 w 24"/>
                <a:gd name="T11" fmla="*/ 0 h 129"/>
                <a:gd name="T12" fmla="*/ 24 w 24"/>
                <a:gd name="T13" fmla="*/ 11 h 129"/>
                <a:gd name="T14" fmla="*/ 24 w 24"/>
                <a:gd name="T15" fmla="*/ 118 h 129"/>
                <a:gd name="T16" fmla="*/ 14 w 24"/>
                <a:gd name="T17" fmla="*/ 129 h 129"/>
                <a:gd name="T18" fmla="*/ 11 w 24"/>
                <a:gd name="T19" fmla="*/ 7 h 129"/>
                <a:gd name="T20" fmla="*/ 7 w 24"/>
                <a:gd name="T21" fmla="*/ 11 h 129"/>
                <a:gd name="T22" fmla="*/ 7 w 24"/>
                <a:gd name="T23" fmla="*/ 118 h 129"/>
                <a:gd name="T24" fmla="*/ 11 w 24"/>
                <a:gd name="T25" fmla="*/ 122 h 129"/>
                <a:gd name="T26" fmla="*/ 14 w 24"/>
                <a:gd name="T27" fmla="*/ 122 h 129"/>
                <a:gd name="T28" fmla="*/ 17 w 24"/>
                <a:gd name="T29" fmla="*/ 118 h 129"/>
                <a:gd name="T30" fmla="*/ 17 w 24"/>
                <a:gd name="T31" fmla="*/ 11 h 129"/>
                <a:gd name="T32" fmla="*/ 14 w 24"/>
                <a:gd name="T33" fmla="*/ 7 h 129"/>
                <a:gd name="T34" fmla="*/ 11 w 24"/>
                <a:gd name="T35" fmla="*/ 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129">
                  <a:moveTo>
                    <a:pt x="14" y="129"/>
                  </a:moveTo>
                  <a:cubicBezTo>
                    <a:pt x="11" y="129"/>
                    <a:pt x="11" y="129"/>
                    <a:pt x="11" y="129"/>
                  </a:cubicBezTo>
                  <a:cubicBezTo>
                    <a:pt x="5" y="129"/>
                    <a:pt x="0" y="124"/>
                    <a:pt x="0" y="11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24" y="5"/>
                    <a:pt x="24" y="11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4" y="124"/>
                    <a:pt x="19" y="129"/>
                    <a:pt x="14" y="129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20"/>
                    <a:pt x="9" y="122"/>
                    <a:pt x="11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6" y="122"/>
                    <a:pt x="17" y="120"/>
                    <a:pt x="17" y="11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6" y="7"/>
                    <a:pt x="14" y="7"/>
                  </a:cubicBezTo>
                  <a:lnTo>
                    <a:pt x="11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5" name="Freeform 1190">
              <a:extLst>
                <a:ext uri="{FF2B5EF4-FFF2-40B4-BE49-F238E27FC236}">
                  <a16:creationId xmlns:a16="http://schemas.microsoft.com/office/drawing/2014/main" id="{11049912-AB0A-4AA8-8B18-A10263AC8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15429" y="863788"/>
              <a:ext cx="41731" cy="233948"/>
            </a:xfrm>
            <a:custGeom>
              <a:avLst/>
              <a:gdLst>
                <a:gd name="T0" fmla="*/ 13 w 23"/>
                <a:gd name="T1" fmla="*/ 129 h 129"/>
                <a:gd name="T2" fmla="*/ 10 w 23"/>
                <a:gd name="T3" fmla="*/ 129 h 129"/>
                <a:gd name="T4" fmla="*/ 0 w 23"/>
                <a:gd name="T5" fmla="*/ 118 h 129"/>
                <a:gd name="T6" fmla="*/ 0 w 23"/>
                <a:gd name="T7" fmla="*/ 11 h 129"/>
                <a:gd name="T8" fmla="*/ 10 w 23"/>
                <a:gd name="T9" fmla="*/ 0 h 129"/>
                <a:gd name="T10" fmla="*/ 13 w 23"/>
                <a:gd name="T11" fmla="*/ 0 h 129"/>
                <a:gd name="T12" fmla="*/ 23 w 23"/>
                <a:gd name="T13" fmla="*/ 11 h 129"/>
                <a:gd name="T14" fmla="*/ 23 w 23"/>
                <a:gd name="T15" fmla="*/ 118 h 129"/>
                <a:gd name="T16" fmla="*/ 13 w 23"/>
                <a:gd name="T17" fmla="*/ 129 h 129"/>
                <a:gd name="T18" fmla="*/ 10 w 23"/>
                <a:gd name="T19" fmla="*/ 7 h 129"/>
                <a:gd name="T20" fmla="*/ 6 w 23"/>
                <a:gd name="T21" fmla="*/ 11 h 129"/>
                <a:gd name="T22" fmla="*/ 6 w 23"/>
                <a:gd name="T23" fmla="*/ 118 h 129"/>
                <a:gd name="T24" fmla="*/ 10 w 23"/>
                <a:gd name="T25" fmla="*/ 122 h 129"/>
                <a:gd name="T26" fmla="*/ 13 w 23"/>
                <a:gd name="T27" fmla="*/ 122 h 129"/>
                <a:gd name="T28" fmla="*/ 16 w 23"/>
                <a:gd name="T29" fmla="*/ 118 h 129"/>
                <a:gd name="T30" fmla="*/ 16 w 23"/>
                <a:gd name="T31" fmla="*/ 11 h 129"/>
                <a:gd name="T32" fmla="*/ 13 w 23"/>
                <a:gd name="T33" fmla="*/ 7 h 129"/>
                <a:gd name="T34" fmla="*/ 10 w 23"/>
                <a:gd name="T35" fmla="*/ 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" h="129">
                  <a:moveTo>
                    <a:pt x="13" y="129"/>
                  </a:moveTo>
                  <a:cubicBezTo>
                    <a:pt x="10" y="129"/>
                    <a:pt x="10" y="129"/>
                    <a:pt x="10" y="129"/>
                  </a:cubicBezTo>
                  <a:cubicBezTo>
                    <a:pt x="4" y="129"/>
                    <a:pt x="0" y="124"/>
                    <a:pt x="0" y="11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9" y="0"/>
                    <a:pt x="23" y="5"/>
                    <a:pt x="23" y="11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23" y="124"/>
                    <a:pt x="19" y="129"/>
                    <a:pt x="13" y="129"/>
                  </a:cubicBezTo>
                  <a:close/>
                  <a:moveTo>
                    <a:pt x="10" y="7"/>
                  </a:moveTo>
                  <a:cubicBezTo>
                    <a:pt x="8" y="7"/>
                    <a:pt x="6" y="9"/>
                    <a:pt x="6" y="11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20"/>
                    <a:pt x="8" y="122"/>
                    <a:pt x="10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5" y="122"/>
                    <a:pt x="16" y="120"/>
                    <a:pt x="16" y="118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9"/>
                    <a:pt x="15" y="7"/>
                    <a:pt x="13" y="7"/>
                  </a:cubicBezTo>
                  <a:lnTo>
                    <a:pt x="1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6" name="Freeform 1191">
              <a:extLst>
                <a:ext uri="{FF2B5EF4-FFF2-40B4-BE49-F238E27FC236}">
                  <a16:creationId xmlns:a16="http://schemas.microsoft.com/office/drawing/2014/main" id="{4E36EA89-5A0E-4C59-B7D7-8160C577FB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5914" y="863788"/>
              <a:ext cx="44260" cy="233948"/>
            </a:xfrm>
            <a:custGeom>
              <a:avLst/>
              <a:gdLst>
                <a:gd name="T0" fmla="*/ 14 w 24"/>
                <a:gd name="T1" fmla="*/ 129 h 129"/>
                <a:gd name="T2" fmla="*/ 11 w 24"/>
                <a:gd name="T3" fmla="*/ 129 h 129"/>
                <a:gd name="T4" fmla="*/ 0 w 24"/>
                <a:gd name="T5" fmla="*/ 118 h 129"/>
                <a:gd name="T6" fmla="*/ 0 w 24"/>
                <a:gd name="T7" fmla="*/ 11 h 129"/>
                <a:gd name="T8" fmla="*/ 11 w 24"/>
                <a:gd name="T9" fmla="*/ 0 h 129"/>
                <a:gd name="T10" fmla="*/ 14 w 24"/>
                <a:gd name="T11" fmla="*/ 0 h 129"/>
                <a:gd name="T12" fmla="*/ 24 w 24"/>
                <a:gd name="T13" fmla="*/ 11 h 129"/>
                <a:gd name="T14" fmla="*/ 24 w 24"/>
                <a:gd name="T15" fmla="*/ 118 h 129"/>
                <a:gd name="T16" fmla="*/ 14 w 24"/>
                <a:gd name="T17" fmla="*/ 129 h 129"/>
                <a:gd name="T18" fmla="*/ 11 w 24"/>
                <a:gd name="T19" fmla="*/ 7 h 129"/>
                <a:gd name="T20" fmla="*/ 7 w 24"/>
                <a:gd name="T21" fmla="*/ 11 h 129"/>
                <a:gd name="T22" fmla="*/ 7 w 24"/>
                <a:gd name="T23" fmla="*/ 118 h 129"/>
                <a:gd name="T24" fmla="*/ 11 w 24"/>
                <a:gd name="T25" fmla="*/ 122 h 129"/>
                <a:gd name="T26" fmla="*/ 14 w 24"/>
                <a:gd name="T27" fmla="*/ 122 h 129"/>
                <a:gd name="T28" fmla="*/ 17 w 24"/>
                <a:gd name="T29" fmla="*/ 118 h 129"/>
                <a:gd name="T30" fmla="*/ 17 w 24"/>
                <a:gd name="T31" fmla="*/ 11 h 129"/>
                <a:gd name="T32" fmla="*/ 14 w 24"/>
                <a:gd name="T33" fmla="*/ 7 h 129"/>
                <a:gd name="T34" fmla="*/ 11 w 24"/>
                <a:gd name="T35" fmla="*/ 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129">
                  <a:moveTo>
                    <a:pt x="14" y="129"/>
                  </a:moveTo>
                  <a:cubicBezTo>
                    <a:pt x="11" y="129"/>
                    <a:pt x="11" y="129"/>
                    <a:pt x="11" y="129"/>
                  </a:cubicBezTo>
                  <a:cubicBezTo>
                    <a:pt x="5" y="129"/>
                    <a:pt x="0" y="124"/>
                    <a:pt x="0" y="11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24" y="5"/>
                    <a:pt x="24" y="11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4" y="124"/>
                    <a:pt x="19" y="129"/>
                    <a:pt x="14" y="129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20"/>
                    <a:pt x="9" y="122"/>
                    <a:pt x="11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6" y="122"/>
                    <a:pt x="17" y="120"/>
                    <a:pt x="17" y="11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6" y="7"/>
                    <a:pt x="14" y="7"/>
                  </a:cubicBezTo>
                  <a:lnTo>
                    <a:pt x="11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61" name="Agrupar 1660">
            <a:extLst>
              <a:ext uri="{FF2B5EF4-FFF2-40B4-BE49-F238E27FC236}">
                <a16:creationId xmlns:a16="http://schemas.microsoft.com/office/drawing/2014/main" id="{491553D7-F0C1-4243-8A5A-2FA0D6A58723}"/>
              </a:ext>
            </a:extLst>
          </p:cNvPr>
          <p:cNvGrpSpPr/>
          <p:nvPr/>
        </p:nvGrpSpPr>
        <p:grpSpPr>
          <a:xfrm>
            <a:off x="4415643" y="2841600"/>
            <a:ext cx="235213" cy="265562"/>
            <a:chOff x="4415643" y="2841600"/>
            <a:chExt cx="235213" cy="265562"/>
          </a:xfrm>
        </p:grpSpPr>
        <p:sp>
          <p:nvSpPr>
            <p:cNvPr id="1397" name="Freeform 1192">
              <a:extLst>
                <a:ext uri="{FF2B5EF4-FFF2-40B4-BE49-F238E27FC236}">
                  <a16:creationId xmlns:a16="http://schemas.microsoft.com/office/drawing/2014/main" id="{0EA47E12-B263-4323-BC89-525FF452D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5643" y="2870685"/>
              <a:ext cx="235213" cy="236477"/>
            </a:xfrm>
            <a:custGeom>
              <a:avLst/>
              <a:gdLst>
                <a:gd name="T0" fmla="*/ 65 w 130"/>
                <a:gd name="T1" fmla="*/ 130 h 130"/>
                <a:gd name="T2" fmla="*/ 0 w 130"/>
                <a:gd name="T3" fmla="*/ 65 h 130"/>
                <a:gd name="T4" fmla="*/ 65 w 130"/>
                <a:gd name="T5" fmla="*/ 0 h 130"/>
                <a:gd name="T6" fmla="*/ 130 w 130"/>
                <a:gd name="T7" fmla="*/ 65 h 130"/>
                <a:gd name="T8" fmla="*/ 65 w 130"/>
                <a:gd name="T9" fmla="*/ 130 h 130"/>
                <a:gd name="T10" fmla="*/ 65 w 130"/>
                <a:gd name="T11" fmla="*/ 8 h 130"/>
                <a:gd name="T12" fmla="*/ 8 w 130"/>
                <a:gd name="T13" fmla="*/ 65 h 130"/>
                <a:gd name="T14" fmla="*/ 65 w 130"/>
                <a:gd name="T15" fmla="*/ 122 h 130"/>
                <a:gd name="T16" fmla="*/ 122 w 130"/>
                <a:gd name="T17" fmla="*/ 65 h 130"/>
                <a:gd name="T18" fmla="*/ 65 w 130"/>
                <a:gd name="T19" fmla="*/ 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30">
                  <a:moveTo>
                    <a:pt x="65" y="130"/>
                  </a:moveTo>
                  <a:cubicBezTo>
                    <a:pt x="29" y="130"/>
                    <a:pt x="0" y="101"/>
                    <a:pt x="0" y="65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1" y="0"/>
                    <a:pt x="130" y="29"/>
                    <a:pt x="130" y="65"/>
                  </a:cubicBezTo>
                  <a:cubicBezTo>
                    <a:pt x="130" y="101"/>
                    <a:pt x="101" y="130"/>
                    <a:pt x="65" y="130"/>
                  </a:cubicBezTo>
                  <a:close/>
                  <a:moveTo>
                    <a:pt x="65" y="8"/>
                  </a:moveTo>
                  <a:cubicBezTo>
                    <a:pt x="34" y="8"/>
                    <a:pt x="8" y="34"/>
                    <a:pt x="8" y="65"/>
                  </a:cubicBezTo>
                  <a:cubicBezTo>
                    <a:pt x="8" y="96"/>
                    <a:pt x="34" y="122"/>
                    <a:pt x="65" y="122"/>
                  </a:cubicBezTo>
                  <a:cubicBezTo>
                    <a:pt x="96" y="122"/>
                    <a:pt x="122" y="96"/>
                    <a:pt x="122" y="65"/>
                  </a:cubicBezTo>
                  <a:cubicBezTo>
                    <a:pt x="122" y="34"/>
                    <a:pt x="96" y="8"/>
                    <a:pt x="6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8" name="Freeform 1193">
              <a:extLst>
                <a:ext uri="{FF2B5EF4-FFF2-40B4-BE49-F238E27FC236}">
                  <a16:creationId xmlns:a16="http://schemas.microsoft.com/office/drawing/2014/main" id="{7343756C-7032-4CE8-B4B0-6644312FC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5545" y="2841600"/>
              <a:ext cx="35408" cy="15175"/>
            </a:xfrm>
            <a:custGeom>
              <a:avLst/>
              <a:gdLst>
                <a:gd name="T0" fmla="*/ 15 w 20"/>
                <a:gd name="T1" fmla="*/ 8 h 8"/>
                <a:gd name="T2" fmla="*/ 5 w 20"/>
                <a:gd name="T3" fmla="*/ 8 h 8"/>
                <a:gd name="T4" fmla="*/ 0 w 20"/>
                <a:gd name="T5" fmla="*/ 4 h 8"/>
                <a:gd name="T6" fmla="*/ 5 w 20"/>
                <a:gd name="T7" fmla="*/ 0 h 8"/>
                <a:gd name="T8" fmla="*/ 15 w 20"/>
                <a:gd name="T9" fmla="*/ 0 h 8"/>
                <a:gd name="T10" fmla="*/ 20 w 20"/>
                <a:gd name="T11" fmla="*/ 4 h 8"/>
                <a:gd name="T12" fmla="*/ 15 w 2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8">
                  <a:moveTo>
                    <a:pt x="1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6"/>
                    <a:pt x="18" y="8"/>
                    <a:pt x="1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99" name="Freeform 1194">
              <a:extLst>
                <a:ext uri="{FF2B5EF4-FFF2-40B4-BE49-F238E27FC236}">
                  <a16:creationId xmlns:a16="http://schemas.microsoft.com/office/drawing/2014/main" id="{C6461341-B785-4E39-840F-0A1C8A4F7C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5428" y="2961735"/>
              <a:ext cx="54377" cy="54377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15 w 30"/>
                <a:gd name="T9" fmla="*/ 30 h 30"/>
                <a:gd name="T10" fmla="*/ 15 w 30"/>
                <a:gd name="T11" fmla="*/ 9 h 30"/>
                <a:gd name="T12" fmla="*/ 9 w 30"/>
                <a:gd name="T13" fmla="*/ 15 h 30"/>
                <a:gd name="T14" fmla="*/ 15 w 30"/>
                <a:gd name="T15" fmla="*/ 21 h 30"/>
                <a:gd name="T16" fmla="*/ 21 w 30"/>
                <a:gd name="T17" fmla="*/ 15 h 30"/>
                <a:gd name="T18" fmla="*/ 15 w 30"/>
                <a:gd name="T19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  <a:moveTo>
                    <a:pt x="15" y="9"/>
                  </a:moveTo>
                  <a:cubicBezTo>
                    <a:pt x="11" y="9"/>
                    <a:pt x="9" y="12"/>
                    <a:pt x="9" y="15"/>
                  </a:cubicBezTo>
                  <a:cubicBezTo>
                    <a:pt x="9" y="18"/>
                    <a:pt x="11" y="21"/>
                    <a:pt x="15" y="21"/>
                  </a:cubicBezTo>
                  <a:cubicBezTo>
                    <a:pt x="18" y="21"/>
                    <a:pt x="21" y="18"/>
                    <a:pt x="21" y="15"/>
                  </a:cubicBezTo>
                  <a:cubicBezTo>
                    <a:pt x="21" y="12"/>
                    <a:pt x="18" y="9"/>
                    <a:pt x="15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0" name="Freeform 1195">
              <a:extLst>
                <a:ext uri="{FF2B5EF4-FFF2-40B4-BE49-F238E27FC236}">
                  <a16:creationId xmlns:a16="http://schemas.microsoft.com/office/drawing/2014/main" id="{1060A656-E6B1-4012-8AD6-9F74081DA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308" y="2925062"/>
              <a:ext cx="58171" cy="58171"/>
            </a:xfrm>
            <a:custGeom>
              <a:avLst/>
              <a:gdLst>
                <a:gd name="T0" fmla="*/ 4 w 32"/>
                <a:gd name="T1" fmla="*/ 32 h 32"/>
                <a:gd name="T2" fmla="*/ 1 w 32"/>
                <a:gd name="T3" fmla="*/ 31 h 32"/>
                <a:gd name="T4" fmla="*/ 1 w 32"/>
                <a:gd name="T5" fmla="*/ 24 h 32"/>
                <a:gd name="T6" fmla="*/ 24 w 32"/>
                <a:gd name="T7" fmla="*/ 2 h 32"/>
                <a:gd name="T8" fmla="*/ 30 w 32"/>
                <a:gd name="T9" fmla="*/ 2 h 32"/>
                <a:gd name="T10" fmla="*/ 30 w 32"/>
                <a:gd name="T11" fmla="*/ 8 h 32"/>
                <a:gd name="T12" fmla="*/ 7 w 32"/>
                <a:gd name="T13" fmla="*/ 31 h 32"/>
                <a:gd name="T14" fmla="*/ 4 w 32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2">
                  <a:moveTo>
                    <a:pt x="4" y="32"/>
                  </a:moveTo>
                  <a:cubicBezTo>
                    <a:pt x="3" y="32"/>
                    <a:pt x="2" y="31"/>
                    <a:pt x="1" y="31"/>
                  </a:cubicBezTo>
                  <a:cubicBezTo>
                    <a:pt x="0" y="29"/>
                    <a:pt x="0" y="26"/>
                    <a:pt x="1" y="24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6" y="0"/>
                    <a:pt x="28" y="0"/>
                    <a:pt x="30" y="2"/>
                  </a:cubicBezTo>
                  <a:cubicBezTo>
                    <a:pt x="32" y="4"/>
                    <a:pt x="32" y="6"/>
                    <a:pt x="30" y="8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6" y="32"/>
                    <a:pt x="4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1" name="Freeform 1196">
              <a:extLst>
                <a:ext uri="{FF2B5EF4-FFF2-40B4-BE49-F238E27FC236}">
                  <a16:creationId xmlns:a16="http://schemas.microsoft.com/office/drawing/2014/main" id="{01805FB0-44A7-48AD-8159-C0D2ED4968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5545" y="2894712"/>
              <a:ext cx="35408" cy="34144"/>
            </a:xfrm>
            <a:custGeom>
              <a:avLst/>
              <a:gdLst>
                <a:gd name="T0" fmla="*/ 10 w 20"/>
                <a:gd name="T1" fmla="*/ 19 h 19"/>
                <a:gd name="T2" fmla="*/ 0 w 20"/>
                <a:gd name="T3" fmla="*/ 10 h 19"/>
                <a:gd name="T4" fmla="*/ 10 w 20"/>
                <a:gd name="T5" fmla="*/ 0 h 19"/>
                <a:gd name="T6" fmla="*/ 20 w 20"/>
                <a:gd name="T7" fmla="*/ 10 h 19"/>
                <a:gd name="T8" fmla="*/ 10 w 20"/>
                <a:gd name="T9" fmla="*/ 19 h 19"/>
                <a:gd name="T10" fmla="*/ 10 w 20"/>
                <a:gd name="T11" fmla="*/ 9 h 19"/>
                <a:gd name="T12" fmla="*/ 9 w 20"/>
                <a:gd name="T13" fmla="*/ 10 h 19"/>
                <a:gd name="T14" fmla="*/ 11 w 20"/>
                <a:gd name="T15" fmla="*/ 10 h 19"/>
                <a:gd name="T16" fmla="*/ 10 w 20"/>
                <a:gd name="T1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9">
                  <a:moveTo>
                    <a:pt x="10" y="19"/>
                  </a:moveTo>
                  <a:cubicBezTo>
                    <a:pt x="5" y="19"/>
                    <a:pt x="0" y="15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10"/>
                  </a:cubicBezTo>
                  <a:cubicBezTo>
                    <a:pt x="20" y="15"/>
                    <a:pt x="15" y="19"/>
                    <a:pt x="10" y="19"/>
                  </a:cubicBezTo>
                  <a:close/>
                  <a:moveTo>
                    <a:pt x="10" y="9"/>
                  </a:moveTo>
                  <a:cubicBezTo>
                    <a:pt x="9" y="9"/>
                    <a:pt x="9" y="9"/>
                    <a:pt x="9" y="10"/>
                  </a:cubicBezTo>
                  <a:cubicBezTo>
                    <a:pt x="9" y="11"/>
                    <a:pt x="11" y="11"/>
                    <a:pt x="11" y="10"/>
                  </a:cubicBezTo>
                  <a:cubicBezTo>
                    <a:pt x="11" y="9"/>
                    <a:pt x="11" y="9"/>
                    <a:pt x="10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67" name="Agrupar 1666">
            <a:extLst>
              <a:ext uri="{FF2B5EF4-FFF2-40B4-BE49-F238E27FC236}">
                <a16:creationId xmlns:a16="http://schemas.microsoft.com/office/drawing/2014/main" id="{7185D0F3-0352-4F33-849B-3D5DD41ED2E3}"/>
              </a:ext>
            </a:extLst>
          </p:cNvPr>
          <p:cNvGrpSpPr/>
          <p:nvPr/>
        </p:nvGrpSpPr>
        <p:grpSpPr>
          <a:xfrm>
            <a:off x="4409320" y="3709105"/>
            <a:ext cx="247859" cy="245330"/>
            <a:chOff x="4409320" y="3709105"/>
            <a:chExt cx="247859" cy="245330"/>
          </a:xfrm>
        </p:grpSpPr>
        <p:sp>
          <p:nvSpPr>
            <p:cNvPr id="1402" name="Freeform 1197">
              <a:extLst>
                <a:ext uri="{FF2B5EF4-FFF2-40B4-BE49-F238E27FC236}">
                  <a16:creationId xmlns:a16="http://schemas.microsoft.com/office/drawing/2014/main" id="{489AA47E-2C3E-4E87-84D3-FCCEA3D0B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5993" y="3709105"/>
              <a:ext cx="121400" cy="245330"/>
            </a:xfrm>
            <a:custGeom>
              <a:avLst/>
              <a:gdLst>
                <a:gd name="T0" fmla="*/ 63 w 67"/>
                <a:gd name="T1" fmla="*/ 135 h 135"/>
                <a:gd name="T2" fmla="*/ 4 w 67"/>
                <a:gd name="T3" fmla="*/ 135 h 135"/>
                <a:gd name="T4" fmla="*/ 0 w 67"/>
                <a:gd name="T5" fmla="*/ 131 h 135"/>
                <a:gd name="T6" fmla="*/ 0 w 67"/>
                <a:gd name="T7" fmla="*/ 11 h 135"/>
                <a:gd name="T8" fmla="*/ 11 w 67"/>
                <a:gd name="T9" fmla="*/ 0 h 135"/>
                <a:gd name="T10" fmla="*/ 56 w 67"/>
                <a:gd name="T11" fmla="*/ 0 h 135"/>
                <a:gd name="T12" fmla="*/ 67 w 67"/>
                <a:gd name="T13" fmla="*/ 11 h 135"/>
                <a:gd name="T14" fmla="*/ 67 w 67"/>
                <a:gd name="T15" fmla="*/ 131 h 135"/>
                <a:gd name="T16" fmla="*/ 63 w 67"/>
                <a:gd name="T17" fmla="*/ 135 h 135"/>
                <a:gd name="T18" fmla="*/ 8 w 67"/>
                <a:gd name="T19" fmla="*/ 126 h 135"/>
                <a:gd name="T20" fmla="*/ 58 w 67"/>
                <a:gd name="T21" fmla="*/ 126 h 135"/>
                <a:gd name="T22" fmla="*/ 58 w 67"/>
                <a:gd name="T23" fmla="*/ 11 h 135"/>
                <a:gd name="T24" fmla="*/ 56 w 67"/>
                <a:gd name="T25" fmla="*/ 8 h 135"/>
                <a:gd name="T26" fmla="*/ 11 w 67"/>
                <a:gd name="T27" fmla="*/ 8 h 135"/>
                <a:gd name="T28" fmla="*/ 8 w 67"/>
                <a:gd name="T29" fmla="*/ 11 h 135"/>
                <a:gd name="T30" fmla="*/ 8 w 67"/>
                <a:gd name="T31" fmla="*/ 12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" h="135">
                  <a:moveTo>
                    <a:pt x="63" y="135"/>
                  </a:moveTo>
                  <a:cubicBezTo>
                    <a:pt x="4" y="135"/>
                    <a:pt x="4" y="135"/>
                    <a:pt x="4" y="135"/>
                  </a:cubicBezTo>
                  <a:cubicBezTo>
                    <a:pt x="2" y="135"/>
                    <a:pt x="0" y="133"/>
                    <a:pt x="0" y="1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2" y="0"/>
                    <a:pt x="67" y="5"/>
                    <a:pt x="67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33"/>
                    <a:pt x="65" y="135"/>
                    <a:pt x="63" y="135"/>
                  </a:cubicBezTo>
                  <a:close/>
                  <a:moveTo>
                    <a:pt x="8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8" y="9"/>
                    <a:pt x="57" y="8"/>
                    <a:pt x="56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8" y="9"/>
                    <a:pt x="8" y="11"/>
                  </a:cubicBezTo>
                  <a:lnTo>
                    <a:pt x="8" y="12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3" name="Freeform 1198">
              <a:extLst>
                <a:ext uri="{FF2B5EF4-FFF2-40B4-BE49-F238E27FC236}">
                  <a16:creationId xmlns:a16="http://schemas.microsoft.com/office/drawing/2014/main" id="{DD1AB6F5-52C7-43BF-A13E-4CA8104A5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0954" y="3779922"/>
              <a:ext cx="106225" cy="137840"/>
            </a:xfrm>
            <a:custGeom>
              <a:avLst/>
              <a:gdLst>
                <a:gd name="T0" fmla="*/ 14 w 58"/>
                <a:gd name="T1" fmla="*/ 76 h 76"/>
                <a:gd name="T2" fmla="*/ 5 w 58"/>
                <a:gd name="T3" fmla="*/ 76 h 76"/>
                <a:gd name="T4" fmla="*/ 0 w 58"/>
                <a:gd name="T5" fmla="*/ 72 h 76"/>
                <a:gd name="T6" fmla="*/ 5 w 58"/>
                <a:gd name="T7" fmla="*/ 68 h 76"/>
                <a:gd name="T8" fmla="*/ 14 w 58"/>
                <a:gd name="T9" fmla="*/ 68 h 76"/>
                <a:gd name="T10" fmla="*/ 20 w 58"/>
                <a:gd name="T11" fmla="*/ 62 h 76"/>
                <a:gd name="T12" fmla="*/ 20 w 58"/>
                <a:gd name="T13" fmla="*/ 14 h 76"/>
                <a:gd name="T14" fmla="*/ 34 w 58"/>
                <a:gd name="T15" fmla="*/ 0 h 76"/>
                <a:gd name="T16" fmla="*/ 53 w 58"/>
                <a:gd name="T17" fmla="*/ 0 h 76"/>
                <a:gd name="T18" fmla="*/ 58 w 58"/>
                <a:gd name="T19" fmla="*/ 4 h 76"/>
                <a:gd name="T20" fmla="*/ 53 w 58"/>
                <a:gd name="T21" fmla="*/ 8 h 76"/>
                <a:gd name="T22" fmla="*/ 34 w 58"/>
                <a:gd name="T23" fmla="*/ 8 h 76"/>
                <a:gd name="T24" fmla="*/ 28 w 58"/>
                <a:gd name="T25" fmla="*/ 14 h 76"/>
                <a:gd name="T26" fmla="*/ 28 w 58"/>
                <a:gd name="T27" fmla="*/ 62 h 76"/>
                <a:gd name="T28" fmla="*/ 14 w 58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76">
                  <a:moveTo>
                    <a:pt x="14" y="76"/>
                  </a:moveTo>
                  <a:cubicBezTo>
                    <a:pt x="5" y="76"/>
                    <a:pt x="5" y="76"/>
                    <a:pt x="5" y="76"/>
                  </a:cubicBezTo>
                  <a:cubicBezTo>
                    <a:pt x="2" y="76"/>
                    <a:pt x="0" y="74"/>
                    <a:pt x="0" y="72"/>
                  </a:cubicBezTo>
                  <a:cubicBezTo>
                    <a:pt x="0" y="70"/>
                    <a:pt x="2" y="68"/>
                    <a:pt x="5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7" y="68"/>
                    <a:pt x="20" y="65"/>
                    <a:pt x="20" y="62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6"/>
                    <a:pt x="26" y="0"/>
                    <a:pt x="3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6" y="0"/>
                    <a:pt x="58" y="1"/>
                    <a:pt x="58" y="4"/>
                  </a:cubicBezTo>
                  <a:cubicBezTo>
                    <a:pt x="58" y="6"/>
                    <a:pt x="56" y="8"/>
                    <a:pt x="53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1" y="8"/>
                    <a:pt x="28" y="11"/>
                    <a:pt x="28" y="14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70"/>
                    <a:pt x="22" y="76"/>
                    <a:pt x="14" y="7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4" name="Freeform 1199">
              <a:extLst>
                <a:ext uri="{FF2B5EF4-FFF2-40B4-BE49-F238E27FC236}">
                  <a16:creationId xmlns:a16="http://schemas.microsoft.com/office/drawing/2014/main" id="{9A7953E6-90A8-4962-ADD1-CF828EFDF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7627" y="3779922"/>
              <a:ext cx="50583" cy="50583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8 h 28"/>
                <a:gd name="T4" fmla="*/ 0 w 28"/>
                <a:gd name="T5" fmla="*/ 23 h 28"/>
                <a:gd name="T6" fmla="*/ 4 w 28"/>
                <a:gd name="T7" fmla="*/ 19 h 28"/>
                <a:gd name="T8" fmla="*/ 14 w 28"/>
                <a:gd name="T9" fmla="*/ 19 h 28"/>
                <a:gd name="T10" fmla="*/ 19 w 28"/>
                <a:gd name="T11" fmla="*/ 14 h 28"/>
                <a:gd name="T12" fmla="*/ 19 w 28"/>
                <a:gd name="T13" fmla="*/ 4 h 28"/>
                <a:gd name="T14" fmla="*/ 24 w 28"/>
                <a:gd name="T15" fmla="*/ 0 h 28"/>
                <a:gd name="T16" fmla="*/ 28 w 28"/>
                <a:gd name="T17" fmla="*/ 4 h 28"/>
                <a:gd name="T18" fmla="*/ 28 w 28"/>
                <a:gd name="T19" fmla="*/ 14 h 28"/>
                <a:gd name="T20" fmla="*/ 14 w 28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2" y="28"/>
                    <a:pt x="0" y="26"/>
                    <a:pt x="0" y="23"/>
                  </a:cubicBezTo>
                  <a:cubicBezTo>
                    <a:pt x="0" y="21"/>
                    <a:pt x="2" y="19"/>
                    <a:pt x="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7" y="19"/>
                    <a:pt x="19" y="17"/>
                    <a:pt x="19" y="1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1"/>
                    <a:pt x="21" y="0"/>
                    <a:pt x="24" y="0"/>
                  </a:cubicBezTo>
                  <a:cubicBezTo>
                    <a:pt x="26" y="0"/>
                    <a:pt x="28" y="1"/>
                    <a:pt x="28" y="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21"/>
                    <a:pt x="22" y="28"/>
                    <a:pt x="14" y="2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5" name="Freeform 1200">
              <a:extLst>
                <a:ext uri="{FF2B5EF4-FFF2-40B4-BE49-F238E27FC236}">
                  <a16:creationId xmlns:a16="http://schemas.microsoft.com/office/drawing/2014/main" id="{9615CD7F-6FD2-42EE-857E-3F14D719D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993" y="3779922"/>
              <a:ext cx="121400" cy="13910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1"/>
                    <a:pt x="67" y="4"/>
                  </a:cubicBezTo>
                  <a:cubicBezTo>
                    <a:pt x="67" y="6"/>
                    <a:pt x="65" y="8"/>
                    <a:pt x="63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6" name="Freeform 1201">
              <a:extLst>
                <a:ext uri="{FF2B5EF4-FFF2-40B4-BE49-F238E27FC236}">
                  <a16:creationId xmlns:a16="http://schemas.microsoft.com/office/drawing/2014/main" id="{7698B4AA-803F-4BFC-B98F-B5D7587A4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9320" y="3937995"/>
              <a:ext cx="247859" cy="16440"/>
            </a:xfrm>
            <a:custGeom>
              <a:avLst/>
              <a:gdLst>
                <a:gd name="T0" fmla="*/ 131 w 136"/>
                <a:gd name="T1" fmla="*/ 9 h 9"/>
                <a:gd name="T2" fmla="*/ 5 w 136"/>
                <a:gd name="T3" fmla="*/ 9 h 9"/>
                <a:gd name="T4" fmla="*/ 0 w 136"/>
                <a:gd name="T5" fmla="*/ 5 h 9"/>
                <a:gd name="T6" fmla="*/ 5 w 136"/>
                <a:gd name="T7" fmla="*/ 0 h 9"/>
                <a:gd name="T8" fmla="*/ 131 w 136"/>
                <a:gd name="T9" fmla="*/ 0 h 9"/>
                <a:gd name="T10" fmla="*/ 136 w 136"/>
                <a:gd name="T11" fmla="*/ 5 h 9"/>
                <a:gd name="T12" fmla="*/ 131 w 136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9">
                  <a:moveTo>
                    <a:pt x="131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4" y="0"/>
                    <a:pt x="136" y="2"/>
                    <a:pt x="136" y="5"/>
                  </a:cubicBezTo>
                  <a:cubicBezTo>
                    <a:pt x="136" y="7"/>
                    <a:pt x="134" y="9"/>
                    <a:pt x="131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7" name="Freeform 1202">
              <a:extLst>
                <a:ext uri="{FF2B5EF4-FFF2-40B4-BE49-F238E27FC236}">
                  <a16:creationId xmlns:a16="http://schemas.microsoft.com/office/drawing/2014/main" id="{FD7BDC2D-EF45-409C-ADD1-97EBD93FD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285" y="3734397"/>
              <a:ext cx="16440" cy="32879"/>
            </a:xfrm>
            <a:custGeom>
              <a:avLst/>
              <a:gdLst>
                <a:gd name="T0" fmla="*/ 5 w 9"/>
                <a:gd name="T1" fmla="*/ 18 h 18"/>
                <a:gd name="T2" fmla="*/ 0 w 9"/>
                <a:gd name="T3" fmla="*/ 14 h 18"/>
                <a:gd name="T4" fmla="*/ 0 w 9"/>
                <a:gd name="T5" fmla="*/ 4 h 18"/>
                <a:gd name="T6" fmla="*/ 5 w 9"/>
                <a:gd name="T7" fmla="*/ 0 h 18"/>
                <a:gd name="T8" fmla="*/ 9 w 9"/>
                <a:gd name="T9" fmla="*/ 4 h 18"/>
                <a:gd name="T10" fmla="*/ 9 w 9"/>
                <a:gd name="T11" fmla="*/ 14 h 18"/>
                <a:gd name="T12" fmla="*/ 5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5" y="18"/>
                  </a:moveTo>
                  <a:cubicBezTo>
                    <a:pt x="2" y="18"/>
                    <a:pt x="0" y="17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7"/>
                    <a:pt x="7" y="18"/>
                    <a:pt x="5" y="1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8" name="Freeform 1203">
              <a:extLst>
                <a:ext uri="{FF2B5EF4-FFF2-40B4-BE49-F238E27FC236}">
                  <a16:creationId xmlns:a16="http://schemas.microsoft.com/office/drawing/2014/main" id="{23461B10-27F8-40BC-B570-8136A86B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106" y="3734397"/>
              <a:ext cx="16440" cy="32879"/>
            </a:xfrm>
            <a:custGeom>
              <a:avLst/>
              <a:gdLst>
                <a:gd name="T0" fmla="*/ 4 w 9"/>
                <a:gd name="T1" fmla="*/ 18 h 18"/>
                <a:gd name="T2" fmla="*/ 0 w 9"/>
                <a:gd name="T3" fmla="*/ 14 h 18"/>
                <a:gd name="T4" fmla="*/ 0 w 9"/>
                <a:gd name="T5" fmla="*/ 4 h 18"/>
                <a:gd name="T6" fmla="*/ 4 w 9"/>
                <a:gd name="T7" fmla="*/ 0 h 18"/>
                <a:gd name="T8" fmla="*/ 9 w 9"/>
                <a:gd name="T9" fmla="*/ 4 h 18"/>
                <a:gd name="T10" fmla="*/ 9 w 9"/>
                <a:gd name="T11" fmla="*/ 14 h 18"/>
                <a:gd name="T12" fmla="*/ 4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4" y="18"/>
                  </a:moveTo>
                  <a:cubicBezTo>
                    <a:pt x="2" y="18"/>
                    <a:pt x="0" y="17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7"/>
                    <a:pt x="7" y="18"/>
                    <a:pt x="4" y="1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09" name="Freeform 1204">
              <a:extLst>
                <a:ext uri="{FF2B5EF4-FFF2-40B4-BE49-F238E27FC236}">
                  <a16:creationId xmlns:a16="http://schemas.microsoft.com/office/drawing/2014/main" id="{3F16B4F3-B6C2-40F9-929C-B311063E9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662" y="3734397"/>
              <a:ext cx="15175" cy="32879"/>
            </a:xfrm>
            <a:custGeom>
              <a:avLst/>
              <a:gdLst>
                <a:gd name="T0" fmla="*/ 4 w 8"/>
                <a:gd name="T1" fmla="*/ 18 h 18"/>
                <a:gd name="T2" fmla="*/ 0 w 8"/>
                <a:gd name="T3" fmla="*/ 14 h 18"/>
                <a:gd name="T4" fmla="*/ 0 w 8"/>
                <a:gd name="T5" fmla="*/ 4 h 18"/>
                <a:gd name="T6" fmla="*/ 4 w 8"/>
                <a:gd name="T7" fmla="*/ 0 h 18"/>
                <a:gd name="T8" fmla="*/ 8 w 8"/>
                <a:gd name="T9" fmla="*/ 4 h 18"/>
                <a:gd name="T10" fmla="*/ 8 w 8"/>
                <a:gd name="T11" fmla="*/ 14 h 18"/>
                <a:gd name="T12" fmla="*/ 4 w 8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">
                  <a:moveTo>
                    <a:pt x="4" y="18"/>
                  </a:moveTo>
                  <a:cubicBezTo>
                    <a:pt x="2" y="18"/>
                    <a:pt x="0" y="17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7"/>
                    <a:pt x="6" y="18"/>
                    <a:pt x="4" y="1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1" name="Agrupar 1650">
            <a:extLst>
              <a:ext uri="{FF2B5EF4-FFF2-40B4-BE49-F238E27FC236}">
                <a16:creationId xmlns:a16="http://schemas.microsoft.com/office/drawing/2014/main" id="{CED192BB-4F52-43A5-9786-5F381995F764}"/>
              </a:ext>
            </a:extLst>
          </p:cNvPr>
          <p:cNvGrpSpPr/>
          <p:nvPr/>
        </p:nvGrpSpPr>
        <p:grpSpPr>
          <a:xfrm>
            <a:off x="5541124" y="2377497"/>
            <a:ext cx="270621" cy="171984"/>
            <a:chOff x="5541124" y="2377497"/>
            <a:chExt cx="270621" cy="171984"/>
          </a:xfrm>
        </p:grpSpPr>
        <p:sp>
          <p:nvSpPr>
            <p:cNvPr id="1410" name="Freeform 1205">
              <a:extLst>
                <a:ext uri="{FF2B5EF4-FFF2-40B4-BE49-F238E27FC236}">
                  <a16:creationId xmlns:a16="http://schemas.microsoft.com/office/drawing/2014/main" id="{D5A1FD5D-F337-45E7-A596-04A8634BA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824" y="2415434"/>
              <a:ext cx="93579" cy="74611"/>
            </a:xfrm>
            <a:custGeom>
              <a:avLst/>
              <a:gdLst>
                <a:gd name="T0" fmla="*/ 15 w 52"/>
                <a:gd name="T1" fmla="*/ 41 h 41"/>
                <a:gd name="T2" fmla="*/ 4 w 52"/>
                <a:gd name="T3" fmla="*/ 41 h 41"/>
                <a:gd name="T4" fmla="*/ 0 w 52"/>
                <a:gd name="T5" fmla="*/ 37 h 41"/>
                <a:gd name="T6" fmla="*/ 4 w 52"/>
                <a:gd name="T7" fmla="*/ 33 h 41"/>
                <a:gd name="T8" fmla="*/ 13 w 52"/>
                <a:gd name="T9" fmla="*/ 33 h 41"/>
                <a:gd name="T10" fmla="*/ 44 w 52"/>
                <a:gd name="T11" fmla="*/ 1 h 41"/>
                <a:gd name="T12" fmla="*/ 50 w 52"/>
                <a:gd name="T13" fmla="*/ 1 h 41"/>
                <a:gd name="T14" fmla="*/ 50 w 52"/>
                <a:gd name="T15" fmla="*/ 7 h 41"/>
                <a:gd name="T16" fmla="*/ 18 w 52"/>
                <a:gd name="T17" fmla="*/ 40 h 41"/>
                <a:gd name="T18" fmla="*/ 15 w 52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41">
                  <a:moveTo>
                    <a:pt x="15" y="41"/>
                  </a:move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39"/>
                    <a:pt x="0" y="37"/>
                  </a:cubicBezTo>
                  <a:cubicBezTo>
                    <a:pt x="0" y="35"/>
                    <a:pt x="2" y="33"/>
                    <a:pt x="4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6" y="0"/>
                    <a:pt x="49" y="0"/>
                    <a:pt x="50" y="1"/>
                  </a:cubicBezTo>
                  <a:cubicBezTo>
                    <a:pt x="52" y="3"/>
                    <a:pt x="52" y="6"/>
                    <a:pt x="50" y="7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7" y="41"/>
                    <a:pt x="16" y="41"/>
                    <a:pt x="15" y="4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1" name="Freeform 1206">
              <a:extLst>
                <a:ext uri="{FF2B5EF4-FFF2-40B4-BE49-F238E27FC236}">
                  <a16:creationId xmlns:a16="http://schemas.microsoft.com/office/drawing/2014/main" id="{AAFBAA87-F4D9-41A2-935D-2E06B42B0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824" y="2435668"/>
              <a:ext cx="74611" cy="74611"/>
            </a:xfrm>
            <a:custGeom>
              <a:avLst/>
              <a:gdLst>
                <a:gd name="T0" fmla="*/ 36 w 41"/>
                <a:gd name="T1" fmla="*/ 41 h 41"/>
                <a:gd name="T2" fmla="*/ 32 w 41"/>
                <a:gd name="T3" fmla="*/ 37 h 41"/>
                <a:gd name="T4" fmla="*/ 32 w 41"/>
                <a:gd name="T5" fmla="*/ 9 h 41"/>
                <a:gd name="T6" fmla="*/ 4 w 41"/>
                <a:gd name="T7" fmla="*/ 9 h 41"/>
                <a:gd name="T8" fmla="*/ 0 w 41"/>
                <a:gd name="T9" fmla="*/ 4 h 41"/>
                <a:gd name="T10" fmla="*/ 4 w 41"/>
                <a:gd name="T11" fmla="*/ 0 h 41"/>
                <a:gd name="T12" fmla="*/ 36 w 41"/>
                <a:gd name="T13" fmla="*/ 0 h 41"/>
                <a:gd name="T14" fmla="*/ 41 w 41"/>
                <a:gd name="T15" fmla="*/ 4 h 41"/>
                <a:gd name="T16" fmla="*/ 41 w 41"/>
                <a:gd name="T17" fmla="*/ 37 h 41"/>
                <a:gd name="T18" fmla="*/ 36 w 4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36" y="41"/>
                  </a:moveTo>
                  <a:cubicBezTo>
                    <a:pt x="34" y="41"/>
                    <a:pt x="32" y="39"/>
                    <a:pt x="32" y="37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9" y="0"/>
                    <a:pt x="41" y="2"/>
                    <a:pt x="41" y="4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9"/>
                    <a:pt x="39" y="41"/>
                    <a:pt x="36" y="4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2" name="Freeform 1207">
              <a:extLst>
                <a:ext uri="{FF2B5EF4-FFF2-40B4-BE49-F238E27FC236}">
                  <a16:creationId xmlns:a16="http://schemas.microsoft.com/office/drawing/2014/main" id="{EBDF3D2D-3556-41AA-800E-49D9D0E01A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124" y="2377497"/>
              <a:ext cx="270621" cy="171984"/>
            </a:xfrm>
            <a:custGeom>
              <a:avLst/>
              <a:gdLst>
                <a:gd name="T0" fmla="*/ 145 w 149"/>
                <a:gd name="T1" fmla="*/ 95 h 95"/>
                <a:gd name="T2" fmla="*/ 5 w 149"/>
                <a:gd name="T3" fmla="*/ 95 h 95"/>
                <a:gd name="T4" fmla="*/ 0 w 149"/>
                <a:gd name="T5" fmla="*/ 90 h 95"/>
                <a:gd name="T6" fmla="*/ 0 w 149"/>
                <a:gd name="T7" fmla="*/ 58 h 95"/>
                <a:gd name="T8" fmla="*/ 5 w 149"/>
                <a:gd name="T9" fmla="*/ 54 h 95"/>
                <a:gd name="T10" fmla="*/ 11 w 149"/>
                <a:gd name="T11" fmla="*/ 47 h 95"/>
                <a:gd name="T12" fmla="*/ 5 w 149"/>
                <a:gd name="T13" fmla="*/ 41 h 95"/>
                <a:gd name="T14" fmla="*/ 0 w 149"/>
                <a:gd name="T15" fmla="*/ 36 h 95"/>
                <a:gd name="T16" fmla="*/ 0 w 149"/>
                <a:gd name="T17" fmla="*/ 4 h 95"/>
                <a:gd name="T18" fmla="*/ 5 w 149"/>
                <a:gd name="T19" fmla="*/ 0 h 95"/>
                <a:gd name="T20" fmla="*/ 145 w 149"/>
                <a:gd name="T21" fmla="*/ 0 h 95"/>
                <a:gd name="T22" fmla="*/ 149 w 149"/>
                <a:gd name="T23" fmla="*/ 4 h 95"/>
                <a:gd name="T24" fmla="*/ 149 w 149"/>
                <a:gd name="T25" fmla="*/ 36 h 95"/>
                <a:gd name="T26" fmla="*/ 145 w 149"/>
                <a:gd name="T27" fmla="*/ 41 h 95"/>
                <a:gd name="T28" fmla="*/ 139 w 149"/>
                <a:gd name="T29" fmla="*/ 47 h 95"/>
                <a:gd name="T30" fmla="*/ 145 w 149"/>
                <a:gd name="T31" fmla="*/ 54 h 95"/>
                <a:gd name="T32" fmla="*/ 149 w 149"/>
                <a:gd name="T33" fmla="*/ 58 h 95"/>
                <a:gd name="T34" fmla="*/ 149 w 149"/>
                <a:gd name="T35" fmla="*/ 90 h 95"/>
                <a:gd name="T36" fmla="*/ 145 w 149"/>
                <a:gd name="T37" fmla="*/ 95 h 95"/>
                <a:gd name="T38" fmla="*/ 9 w 149"/>
                <a:gd name="T39" fmla="*/ 86 h 95"/>
                <a:gd name="T40" fmla="*/ 141 w 149"/>
                <a:gd name="T41" fmla="*/ 86 h 95"/>
                <a:gd name="T42" fmla="*/ 141 w 149"/>
                <a:gd name="T43" fmla="*/ 62 h 95"/>
                <a:gd name="T44" fmla="*/ 130 w 149"/>
                <a:gd name="T45" fmla="*/ 47 h 95"/>
                <a:gd name="T46" fmla="*/ 141 w 149"/>
                <a:gd name="T47" fmla="*/ 33 h 95"/>
                <a:gd name="T48" fmla="*/ 141 w 149"/>
                <a:gd name="T49" fmla="*/ 8 h 95"/>
                <a:gd name="T50" fmla="*/ 9 w 149"/>
                <a:gd name="T51" fmla="*/ 8 h 95"/>
                <a:gd name="T52" fmla="*/ 9 w 149"/>
                <a:gd name="T53" fmla="*/ 33 h 95"/>
                <a:gd name="T54" fmla="*/ 20 w 149"/>
                <a:gd name="T55" fmla="*/ 47 h 95"/>
                <a:gd name="T56" fmla="*/ 9 w 149"/>
                <a:gd name="T57" fmla="*/ 62 h 95"/>
                <a:gd name="T58" fmla="*/ 9 w 149"/>
                <a:gd name="T59" fmla="*/ 8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9" h="95">
                  <a:moveTo>
                    <a:pt x="145" y="95"/>
                  </a:moveTo>
                  <a:cubicBezTo>
                    <a:pt x="5" y="95"/>
                    <a:pt x="5" y="95"/>
                    <a:pt x="5" y="95"/>
                  </a:cubicBezTo>
                  <a:cubicBezTo>
                    <a:pt x="2" y="95"/>
                    <a:pt x="0" y="93"/>
                    <a:pt x="0" y="9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6"/>
                    <a:pt x="2" y="54"/>
                    <a:pt x="5" y="54"/>
                  </a:cubicBezTo>
                  <a:cubicBezTo>
                    <a:pt x="8" y="54"/>
                    <a:pt x="11" y="51"/>
                    <a:pt x="11" y="47"/>
                  </a:cubicBezTo>
                  <a:cubicBezTo>
                    <a:pt x="11" y="43"/>
                    <a:pt x="8" y="41"/>
                    <a:pt x="5" y="41"/>
                  </a:cubicBezTo>
                  <a:cubicBezTo>
                    <a:pt x="2" y="41"/>
                    <a:pt x="0" y="39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7" y="0"/>
                    <a:pt x="149" y="1"/>
                    <a:pt x="149" y="4"/>
                  </a:cubicBezTo>
                  <a:cubicBezTo>
                    <a:pt x="149" y="36"/>
                    <a:pt x="149" y="36"/>
                    <a:pt x="149" y="36"/>
                  </a:cubicBezTo>
                  <a:cubicBezTo>
                    <a:pt x="149" y="39"/>
                    <a:pt x="147" y="41"/>
                    <a:pt x="145" y="41"/>
                  </a:cubicBezTo>
                  <a:cubicBezTo>
                    <a:pt x="142" y="41"/>
                    <a:pt x="139" y="43"/>
                    <a:pt x="139" y="47"/>
                  </a:cubicBezTo>
                  <a:cubicBezTo>
                    <a:pt x="139" y="51"/>
                    <a:pt x="142" y="54"/>
                    <a:pt x="145" y="54"/>
                  </a:cubicBezTo>
                  <a:cubicBezTo>
                    <a:pt x="147" y="54"/>
                    <a:pt x="149" y="56"/>
                    <a:pt x="149" y="58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3"/>
                    <a:pt x="147" y="95"/>
                    <a:pt x="145" y="95"/>
                  </a:cubicBezTo>
                  <a:close/>
                  <a:moveTo>
                    <a:pt x="9" y="86"/>
                  </a:moveTo>
                  <a:cubicBezTo>
                    <a:pt x="141" y="86"/>
                    <a:pt x="141" y="86"/>
                    <a:pt x="141" y="86"/>
                  </a:cubicBezTo>
                  <a:cubicBezTo>
                    <a:pt x="141" y="62"/>
                    <a:pt x="141" y="62"/>
                    <a:pt x="141" y="62"/>
                  </a:cubicBezTo>
                  <a:cubicBezTo>
                    <a:pt x="135" y="60"/>
                    <a:pt x="130" y="54"/>
                    <a:pt x="130" y="47"/>
                  </a:cubicBezTo>
                  <a:cubicBezTo>
                    <a:pt x="130" y="40"/>
                    <a:pt x="135" y="34"/>
                    <a:pt x="141" y="33"/>
                  </a:cubicBezTo>
                  <a:cubicBezTo>
                    <a:pt x="141" y="8"/>
                    <a:pt x="141" y="8"/>
                    <a:pt x="141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5" y="34"/>
                    <a:pt x="20" y="40"/>
                    <a:pt x="20" y="47"/>
                  </a:cubicBezTo>
                  <a:cubicBezTo>
                    <a:pt x="20" y="54"/>
                    <a:pt x="15" y="60"/>
                    <a:pt x="9" y="62"/>
                  </a:cubicBezTo>
                  <a:lnTo>
                    <a:pt x="9" y="8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3" name="Oval 1208">
              <a:extLst>
                <a:ext uri="{FF2B5EF4-FFF2-40B4-BE49-F238E27FC236}">
                  <a16:creationId xmlns:a16="http://schemas.microsoft.com/office/drawing/2014/main" id="{CF28DA48-F49C-4E92-9E49-9DBC25D4AC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7018" y="2423022"/>
              <a:ext cx="18969" cy="20233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4" name="Oval 1209">
              <a:extLst>
                <a:ext uri="{FF2B5EF4-FFF2-40B4-BE49-F238E27FC236}">
                  <a16:creationId xmlns:a16="http://schemas.microsoft.com/office/drawing/2014/main" id="{01E3245E-3B2E-4B0A-BF10-109C92D56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7018" y="2453372"/>
              <a:ext cx="18969" cy="18969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5" name="Oval 1210">
              <a:extLst>
                <a:ext uri="{FF2B5EF4-FFF2-40B4-BE49-F238E27FC236}">
                  <a16:creationId xmlns:a16="http://schemas.microsoft.com/office/drawing/2014/main" id="{48D9D050-DCA0-4C5F-B065-59DF008773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7018" y="2482457"/>
              <a:ext cx="18969" cy="20233"/>
            </a:xfrm>
            <a:prstGeom prst="ellipse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6" name="Freeform 1211">
              <a:extLst>
                <a:ext uri="{FF2B5EF4-FFF2-40B4-BE49-F238E27FC236}">
                  <a16:creationId xmlns:a16="http://schemas.microsoft.com/office/drawing/2014/main" id="{4B89C25D-D6E4-4F8A-8AB4-710D4FDDE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793" y="2476135"/>
              <a:ext cx="15175" cy="34144"/>
            </a:xfrm>
            <a:custGeom>
              <a:avLst/>
              <a:gdLst>
                <a:gd name="T0" fmla="*/ 4 w 8"/>
                <a:gd name="T1" fmla="*/ 19 h 19"/>
                <a:gd name="T2" fmla="*/ 0 w 8"/>
                <a:gd name="T3" fmla="*/ 15 h 19"/>
                <a:gd name="T4" fmla="*/ 0 w 8"/>
                <a:gd name="T5" fmla="*/ 4 h 19"/>
                <a:gd name="T6" fmla="*/ 4 w 8"/>
                <a:gd name="T7" fmla="*/ 0 h 19"/>
                <a:gd name="T8" fmla="*/ 8 w 8"/>
                <a:gd name="T9" fmla="*/ 4 h 19"/>
                <a:gd name="T10" fmla="*/ 8 w 8"/>
                <a:gd name="T11" fmla="*/ 15 h 19"/>
                <a:gd name="T12" fmla="*/ 4 w 8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9">
                  <a:moveTo>
                    <a:pt x="4" y="19"/>
                  </a:moveTo>
                  <a:cubicBezTo>
                    <a:pt x="1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7"/>
                    <a:pt x="6" y="19"/>
                    <a:pt x="4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7" name="Freeform 1212">
              <a:extLst>
                <a:ext uri="{FF2B5EF4-FFF2-40B4-BE49-F238E27FC236}">
                  <a16:creationId xmlns:a16="http://schemas.microsoft.com/office/drawing/2014/main" id="{48A46AC5-FA07-4AE3-AEB1-2C6C591AA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8283" y="2377497"/>
              <a:ext cx="16440" cy="34144"/>
            </a:xfrm>
            <a:custGeom>
              <a:avLst/>
              <a:gdLst>
                <a:gd name="T0" fmla="*/ 4 w 9"/>
                <a:gd name="T1" fmla="*/ 19 h 19"/>
                <a:gd name="T2" fmla="*/ 0 w 9"/>
                <a:gd name="T3" fmla="*/ 15 h 19"/>
                <a:gd name="T4" fmla="*/ 0 w 9"/>
                <a:gd name="T5" fmla="*/ 4 h 19"/>
                <a:gd name="T6" fmla="*/ 4 w 9"/>
                <a:gd name="T7" fmla="*/ 0 h 19"/>
                <a:gd name="T8" fmla="*/ 9 w 9"/>
                <a:gd name="T9" fmla="*/ 4 h 19"/>
                <a:gd name="T10" fmla="*/ 9 w 9"/>
                <a:gd name="T11" fmla="*/ 15 h 19"/>
                <a:gd name="T12" fmla="*/ 4 w 9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">
                  <a:moveTo>
                    <a:pt x="4" y="19"/>
                  </a:moveTo>
                  <a:cubicBezTo>
                    <a:pt x="2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7"/>
                    <a:pt x="7" y="19"/>
                    <a:pt x="4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8" name="Freeform 1214">
              <a:extLst>
                <a:ext uri="{FF2B5EF4-FFF2-40B4-BE49-F238E27FC236}">
                  <a16:creationId xmlns:a16="http://schemas.microsoft.com/office/drawing/2014/main" id="{547128D3-3A59-4B3E-83EB-35061B9B7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8282" y="2514072"/>
              <a:ext cx="16440" cy="35408"/>
            </a:xfrm>
            <a:custGeom>
              <a:avLst/>
              <a:gdLst>
                <a:gd name="T0" fmla="*/ 4 w 9"/>
                <a:gd name="T1" fmla="*/ 20 h 20"/>
                <a:gd name="T2" fmla="*/ 0 w 9"/>
                <a:gd name="T3" fmla="*/ 15 h 20"/>
                <a:gd name="T4" fmla="*/ 0 w 9"/>
                <a:gd name="T5" fmla="*/ 4 h 20"/>
                <a:gd name="T6" fmla="*/ 4 w 9"/>
                <a:gd name="T7" fmla="*/ 0 h 20"/>
                <a:gd name="T8" fmla="*/ 9 w 9"/>
                <a:gd name="T9" fmla="*/ 4 h 20"/>
                <a:gd name="T10" fmla="*/ 9 w 9"/>
                <a:gd name="T11" fmla="*/ 15 h 20"/>
                <a:gd name="T12" fmla="*/ 4 w 9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0">
                  <a:moveTo>
                    <a:pt x="4" y="20"/>
                  </a:moveTo>
                  <a:cubicBezTo>
                    <a:pt x="2" y="20"/>
                    <a:pt x="0" y="18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8"/>
                    <a:pt x="7" y="20"/>
                    <a:pt x="4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64" name="Agrupar 1663">
            <a:extLst>
              <a:ext uri="{FF2B5EF4-FFF2-40B4-BE49-F238E27FC236}">
                <a16:creationId xmlns:a16="http://schemas.microsoft.com/office/drawing/2014/main" id="{DC14FE2C-60EB-4D57-A83F-6908F1DA6D3D}"/>
              </a:ext>
            </a:extLst>
          </p:cNvPr>
          <p:cNvGrpSpPr/>
          <p:nvPr/>
        </p:nvGrpSpPr>
        <p:grpSpPr>
          <a:xfrm>
            <a:off x="5180717" y="3312025"/>
            <a:ext cx="255446" cy="270622"/>
            <a:chOff x="5180717" y="3312025"/>
            <a:chExt cx="255446" cy="270622"/>
          </a:xfrm>
        </p:grpSpPr>
        <p:sp>
          <p:nvSpPr>
            <p:cNvPr id="1019" name="Freeform 1215">
              <a:extLst>
                <a:ext uri="{FF2B5EF4-FFF2-40B4-BE49-F238E27FC236}">
                  <a16:creationId xmlns:a16="http://schemas.microsoft.com/office/drawing/2014/main" id="{CAA55E68-6413-4F91-8351-8065E75B7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6475" y="3567472"/>
              <a:ext cx="112548" cy="15175"/>
            </a:xfrm>
            <a:custGeom>
              <a:avLst/>
              <a:gdLst>
                <a:gd name="T0" fmla="*/ 58 w 62"/>
                <a:gd name="T1" fmla="*/ 8 h 8"/>
                <a:gd name="T2" fmla="*/ 4 w 62"/>
                <a:gd name="T3" fmla="*/ 8 h 8"/>
                <a:gd name="T4" fmla="*/ 0 w 62"/>
                <a:gd name="T5" fmla="*/ 4 h 8"/>
                <a:gd name="T6" fmla="*/ 4 w 62"/>
                <a:gd name="T7" fmla="*/ 0 h 8"/>
                <a:gd name="T8" fmla="*/ 58 w 62"/>
                <a:gd name="T9" fmla="*/ 0 h 8"/>
                <a:gd name="T10" fmla="*/ 62 w 62"/>
                <a:gd name="T11" fmla="*/ 4 h 8"/>
                <a:gd name="T12" fmla="*/ 58 w 6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8">
                  <a:moveTo>
                    <a:pt x="5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2" y="2"/>
                    <a:pt x="62" y="4"/>
                  </a:cubicBezTo>
                  <a:cubicBezTo>
                    <a:pt x="62" y="6"/>
                    <a:pt x="60" y="8"/>
                    <a:pt x="58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0" name="Freeform 1216">
              <a:extLst>
                <a:ext uri="{FF2B5EF4-FFF2-40B4-BE49-F238E27FC236}">
                  <a16:creationId xmlns:a16="http://schemas.microsoft.com/office/drawing/2014/main" id="{088BBD72-40F1-43E1-B89C-F7192BA93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530" y="3537121"/>
              <a:ext cx="15175" cy="45525"/>
            </a:xfrm>
            <a:custGeom>
              <a:avLst/>
              <a:gdLst>
                <a:gd name="T0" fmla="*/ 4 w 8"/>
                <a:gd name="T1" fmla="*/ 25 h 25"/>
                <a:gd name="T2" fmla="*/ 0 w 8"/>
                <a:gd name="T3" fmla="*/ 21 h 25"/>
                <a:gd name="T4" fmla="*/ 0 w 8"/>
                <a:gd name="T5" fmla="*/ 4 h 25"/>
                <a:gd name="T6" fmla="*/ 4 w 8"/>
                <a:gd name="T7" fmla="*/ 0 h 25"/>
                <a:gd name="T8" fmla="*/ 8 w 8"/>
                <a:gd name="T9" fmla="*/ 4 h 25"/>
                <a:gd name="T10" fmla="*/ 8 w 8"/>
                <a:gd name="T11" fmla="*/ 21 h 25"/>
                <a:gd name="T12" fmla="*/ 4 w 8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5">
                  <a:moveTo>
                    <a:pt x="4" y="25"/>
                  </a:moveTo>
                  <a:cubicBezTo>
                    <a:pt x="2" y="25"/>
                    <a:pt x="0" y="23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3"/>
                    <a:pt x="6" y="25"/>
                    <a:pt x="4" y="2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1" name="Freeform 1217">
              <a:extLst>
                <a:ext uri="{FF2B5EF4-FFF2-40B4-BE49-F238E27FC236}">
                  <a16:creationId xmlns:a16="http://schemas.microsoft.com/office/drawing/2014/main" id="{9C78B1D9-B1FC-48F3-A661-25C82F881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569" y="3319613"/>
              <a:ext cx="246594" cy="233948"/>
            </a:xfrm>
            <a:custGeom>
              <a:avLst/>
              <a:gdLst>
                <a:gd name="T0" fmla="*/ 54 w 136"/>
                <a:gd name="T1" fmla="*/ 129 h 129"/>
                <a:gd name="T2" fmla="*/ 1 w 136"/>
                <a:gd name="T3" fmla="*/ 107 h 129"/>
                <a:gd name="T4" fmla="*/ 0 w 136"/>
                <a:gd name="T5" fmla="*/ 104 h 129"/>
                <a:gd name="T6" fmla="*/ 1 w 136"/>
                <a:gd name="T7" fmla="*/ 101 h 129"/>
                <a:gd name="T8" fmla="*/ 13 w 136"/>
                <a:gd name="T9" fmla="*/ 90 h 129"/>
                <a:gd name="T10" fmla="*/ 19 w 136"/>
                <a:gd name="T11" fmla="*/ 90 h 129"/>
                <a:gd name="T12" fmla="*/ 19 w 136"/>
                <a:gd name="T13" fmla="*/ 96 h 129"/>
                <a:gd name="T14" fmla="*/ 10 w 136"/>
                <a:gd name="T15" fmla="*/ 104 h 129"/>
                <a:gd name="T16" fmla="*/ 100 w 136"/>
                <a:gd name="T17" fmla="*/ 101 h 129"/>
                <a:gd name="T18" fmla="*/ 103 w 136"/>
                <a:gd name="T19" fmla="*/ 11 h 129"/>
                <a:gd name="T20" fmla="*/ 99 w 136"/>
                <a:gd name="T21" fmla="*/ 16 h 129"/>
                <a:gd name="T22" fmla="*/ 93 w 136"/>
                <a:gd name="T23" fmla="*/ 16 h 129"/>
                <a:gd name="T24" fmla="*/ 93 w 136"/>
                <a:gd name="T25" fmla="*/ 10 h 129"/>
                <a:gd name="T26" fmla="*/ 100 w 136"/>
                <a:gd name="T27" fmla="*/ 2 h 129"/>
                <a:gd name="T28" fmla="*/ 106 w 136"/>
                <a:gd name="T29" fmla="*/ 2 h 129"/>
                <a:gd name="T30" fmla="*/ 106 w 136"/>
                <a:gd name="T31" fmla="*/ 107 h 129"/>
                <a:gd name="T32" fmla="*/ 54 w 136"/>
                <a:gd name="T3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29">
                  <a:moveTo>
                    <a:pt x="54" y="129"/>
                  </a:moveTo>
                  <a:cubicBezTo>
                    <a:pt x="35" y="129"/>
                    <a:pt x="16" y="122"/>
                    <a:pt x="1" y="107"/>
                  </a:cubicBezTo>
                  <a:cubicBezTo>
                    <a:pt x="0" y="107"/>
                    <a:pt x="0" y="105"/>
                    <a:pt x="0" y="104"/>
                  </a:cubicBezTo>
                  <a:cubicBezTo>
                    <a:pt x="0" y="103"/>
                    <a:pt x="0" y="102"/>
                    <a:pt x="1" y="101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4" y="88"/>
                    <a:pt x="17" y="88"/>
                    <a:pt x="19" y="90"/>
                  </a:cubicBezTo>
                  <a:cubicBezTo>
                    <a:pt x="20" y="91"/>
                    <a:pt x="20" y="94"/>
                    <a:pt x="19" y="96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36" y="127"/>
                    <a:pt x="76" y="126"/>
                    <a:pt x="100" y="101"/>
                  </a:cubicBezTo>
                  <a:cubicBezTo>
                    <a:pt x="125" y="77"/>
                    <a:pt x="126" y="37"/>
                    <a:pt x="103" y="11"/>
                  </a:cubicBezTo>
                  <a:cubicBezTo>
                    <a:pt x="99" y="16"/>
                    <a:pt x="99" y="16"/>
                    <a:pt x="99" y="16"/>
                  </a:cubicBezTo>
                  <a:cubicBezTo>
                    <a:pt x="97" y="17"/>
                    <a:pt x="94" y="17"/>
                    <a:pt x="93" y="16"/>
                  </a:cubicBezTo>
                  <a:cubicBezTo>
                    <a:pt x="91" y="14"/>
                    <a:pt x="91" y="11"/>
                    <a:pt x="93" y="10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2" y="0"/>
                    <a:pt x="105" y="0"/>
                    <a:pt x="106" y="2"/>
                  </a:cubicBezTo>
                  <a:cubicBezTo>
                    <a:pt x="136" y="31"/>
                    <a:pt x="136" y="78"/>
                    <a:pt x="106" y="107"/>
                  </a:cubicBezTo>
                  <a:cubicBezTo>
                    <a:pt x="92" y="122"/>
                    <a:pt x="73" y="129"/>
                    <a:pt x="54" y="12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2" name="Freeform 1218">
              <a:extLst>
                <a:ext uri="{FF2B5EF4-FFF2-40B4-BE49-F238E27FC236}">
                  <a16:creationId xmlns:a16="http://schemas.microsoft.com/office/drawing/2014/main" id="{DF166F0E-8A66-4A38-AE7F-0F96DA228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390" y="3333523"/>
              <a:ext cx="141634" cy="40467"/>
            </a:xfrm>
            <a:custGeom>
              <a:avLst/>
              <a:gdLst>
                <a:gd name="T0" fmla="*/ 39 w 78"/>
                <a:gd name="T1" fmla="*/ 22 h 22"/>
                <a:gd name="T2" fmla="*/ 2 w 78"/>
                <a:gd name="T3" fmla="*/ 8 h 22"/>
                <a:gd name="T4" fmla="*/ 1 w 78"/>
                <a:gd name="T5" fmla="*/ 2 h 22"/>
                <a:gd name="T6" fmla="*/ 8 w 78"/>
                <a:gd name="T7" fmla="*/ 1 h 22"/>
                <a:gd name="T8" fmla="*/ 70 w 78"/>
                <a:gd name="T9" fmla="*/ 1 h 22"/>
                <a:gd name="T10" fmla="*/ 76 w 78"/>
                <a:gd name="T11" fmla="*/ 2 h 22"/>
                <a:gd name="T12" fmla="*/ 76 w 78"/>
                <a:gd name="T13" fmla="*/ 8 h 22"/>
                <a:gd name="T14" fmla="*/ 39 w 78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22">
                  <a:moveTo>
                    <a:pt x="39" y="22"/>
                  </a:moveTo>
                  <a:cubicBezTo>
                    <a:pt x="26" y="22"/>
                    <a:pt x="12" y="17"/>
                    <a:pt x="2" y="8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25" y="17"/>
                    <a:pt x="52" y="17"/>
                    <a:pt x="70" y="1"/>
                  </a:cubicBezTo>
                  <a:cubicBezTo>
                    <a:pt x="72" y="0"/>
                    <a:pt x="74" y="0"/>
                    <a:pt x="76" y="2"/>
                  </a:cubicBezTo>
                  <a:cubicBezTo>
                    <a:pt x="78" y="4"/>
                    <a:pt x="77" y="6"/>
                    <a:pt x="76" y="8"/>
                  </a:cubicBezTo>
                  <a:cubicBezTo>
                    <a:pt x="65" y="17"/>
                    <a:pt x="52" y="22"/>
                    <a:pt x="39" y="2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3" name="Freeform 1219">
              <a:extLst>
                <a:ext uri="{FF2B5EF4-FFF2-40B4-BE49-F238E27FC236}">
                  <a16:creationId xmlns:a16="http://schemas.microsoft.com/office/drawing/2014/main" id="{F9436877-F977-48F3-8A7C-2C9746F84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2215" y="3348698"/>
              <a:ext cx="49319" cy="139104"/>
            </a:xfrm>
            <a:custGeom>
              <a:avLst/>
              <a:gdLst>
                <a:gd name="T0" fmla="*/ 5 w 27"/>
                <a:gd name="T1" fmla="*/ 77 h 77"/>
                <a:gd name="T2" fmla="*/ 2 w 27"/>
                <a:gd name="T3" fmla="*/ 76 h 77"/>
                <a:gd name="T4" fmla="*/ 2 w 27"/>
                <a:gd name="T5" fmla="*/ 70 h 77"/>
                <a:gd name="T6" fmla="*/ 2 w 27"/>
                <a:gd name="T7" fmla="*/ 7 h 77"/>
                <a:gd name="T8" fmla="*/ 2 w 27"/>
                <a:gd name="T9" fmla="*/ 1 h 77"/>
                <a:gd name="T10" fmla="*/ 8 w 27"/>
                <a:gd name="T11" fmla="*/ 2 h 77"/>
                <a:gd name="T12" fmla="*/ 8 w 27"/>
                <a:gd name="T13" fmla="*/ 76 h 77"/>
                <a:gd name="T14" fmla="*/ 5 w 27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77">
                  <a:moveTo>
                    <a:pt x="5" y="77"/>
                  </a:moveTo>
                  <a:cubicBezTo>
                    <a:pt x="4" y="77"/>
                    <a:pt x="3" y="77"/>
                    <a:pt x="2" y="76"/>
                  </a:cubicBezTo>
                  <a:cubicBezTo>
                    <a:pt x="0" y="74"/>
                    <a:pt x="0" y="72"/>
                    <a:pt x="2" y="70"/>
                  </a:cubicBezTo>
                  <a:cubicBezTo>
                    <a:pt x="17" y="52"/>
                    <a:pt x="17" y="25"/>
                    <a:pt x="2" y="7"/>
                  </a:cubicBezTo>
                  <a:cubicBezTo>
                    <a:pt x="0" y="6"/>
                    <a:pt x="0" y="3"/>
                    <a:pt x="2" y="1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27" y="23"/>
                    <a:pt x="27" y="54"/>
                    <a:pt x="8" y="76"/>
                  </a:cubicBezTo>
                  <a:cubicBezTo>
                    <a:pt x="7" y="76"/>
                    <a:pt x="6" y="77"/>
                    <a:pt x="5" y="7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4" name="Freeform 1220">
              <a:extLst>
                <a:ext uri="{FF2B5EF4-FFF2-40B4-BE49-F238E27FC236}">
                  <a16:creationId xmlns:a16="http://schemas.microsoft.com/office/drawing/2014/main" id="{38439AC2-1E22-46E0-8751-AE3389C16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9121" y="3395488"/>
              <a:ext cx="134046" cy="126459"/>
            </a:xfrm>
            <a:custGeom>
              <a:avLst/>
              <a:gdLst>
                <a:gd name="T0" fmla="*/ 7 w 74"/>
                <a:gd name="T1" fmla="*/ 70 h 70"/>
                <a:gd name="T2" fmla="*/ 3 w 74"/>
                <a:gd name="T3" fmla="*/ 67 h 70"/>
                <a:gd name="T4" fmla="*/ 18 w 74"/>
                <a:gd name="T5" fmla="*/ 19 h 70"/>
                <a:gd name="T6" fmla="*/ 71 w 74"/>
                <a:gd name="T7" fmla="*/ 4 h 70"/>
                <a:gd name="T8" fmla="*/ 74 w 74"/>
                <a:gd name="T9" fmla="*/ 10 h 70"/>
                <a:gd name="T10" fmla="*/ 69 w 74"/>
                <a:gd name="T11" fmla="*/ 13 h 70"/>
                <a:gd name="T12" fmla="*/ 25 w 74"/>
                <a:gd name="T13" fmla="*/ 25 h 70"/>
                <a:gd name="T14" fmla="*/ 11 w 74"/>
                <a:gd name="T15" fmla="*/ 65 h 70"/>
                <a:gd name="T16" fmla="*/ 8 w 74"/>
                <a:gd name="T17" fmla="*/ 70 h 70"/>
                <a:gd name="T18" fmla="*/ 7 w 74"/>
                <a:gd name="T1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0">
                  <a:moveTo>
                    <a:pt x="7" y="70"/>
                  </a:moveTo>
                  <a:cubicBezTo>
                    <a:pt x="5" y="70"/>
                    <a:pt x="3" y="69"/>
                    <a:pt x="3" y="67"/>
                  </a:cubicBezTo>
                  <a:cubicBezTo>
                    <a:pt x="0" y="49"/>
                    <a:pt x="6" y="32"/>
                    <a:pt x="18" y="19"/>
                  </a:cubicBezTo>
                  <a:cubicBezTo>
                    <a:pt x="32" y="5"/>
                    <a:pt x="52" y="0"/>
                    <a:pt x="71" y="4"/>
                  </a:cubicBezTo>
                  <a:cubicBezTo>
                    <a:pt x="73" y="5"/>
                    <a:pt x="74" y="7"/>
                    <a:pt x="74" y="10"/>
                  </a:cubicBezTo>
                  <a:cubicBezTo>
                    <a:pt x="73" y="12"/>
                    <a:pt x="71" y="13"/>
                    <a:pt x="69" y="13"/>
                  </a:cubicBezTo>
                  <a:cubicBezTo>
                    <a:pt x="53" y="9"/>
                    <a:pt x="36" y="14"/>
                    <a:pt x="25" y="25"/>
                  </a:cubicBezTo>
                  <a:cubicBezTo>
                    <a:pt x="14" y="36"/>
                    <a:pt x="9" y="50"/>
                    <a:pt x="11" y="65"/>
                  </a:cubicBezTo>
                  <a:cubicBezTo>
                    <a:pt x="12" y="68"/>
                    <a:pt x="10" y="70"/>
                    <a:pt x="8" y="70"/>
                  </a:cubicBezTo>
                  <a:cubicBezTo>
                    <a:pt x="7" y="70"/>
                    <a:pt x="7" y="70"/>
                    <a:pt x="7" y="7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5" name="Freeform 1221">
              <a:extLst>
                <a:ext uri="{FF2B5EF4-FFF2-40B4-BE49-F238E27FC236}">
                  <a16:creationId xmlns:a16="http://schemas.microsoft.com/office/drawing/2014/main" id="{639304FD-01A7-4549-9F0A-104582725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0717" y="3312025"/>
              <a:ext cx="212450" cy="212450"/>
            </a:xfrm>
            <a:custGeom>
              <a:avLst/>
              <a:gdLst>
                <a:gd name="T0" fmla="*/ 59 w 117"/>
                <a:gd name="T1" fmla="*/ 117 h 117"/>
                <a:gd name="T2" fmla="*/ 18 w 117"/>
                <a:gd name="T3" fmla="*/ 100 h 117"/>
                <a:gd name="T4" fmla="*/ 0 w 117"/>
                <a:gd name="T5" fmla="*/ 59 h 117"/>
                <a:gd name="T6" fmla="*/ 18 w 117"/>
                <a:gd name="T7" fmla="*/ 17 h 117"/>
                <a:gd name="T8" fmla="*/ 59 w 117"/>
                <a:gd name="T9" fmla="*/ 0 h 117"/>
                <a:gd name="T10" fmla="*/ 100 w 117"/>
                <a:gd name="T11" fmla="*/ 17 h 117"/>
                <a:gd name="T12" fmla="*/ 117 w 117"/>
                <a:gd name="T13" fmla="*/ 59 h 117"/>
                <a:gd name="T14" fmla="*/ 100 w 117"/>
                <a:gd name="T15" fmla="*/ 100 h 117"/>
                <a:gd name="T16" fmla="*/ 59 w 117"/>
                <a:gd name="T17" fmla="*/ 117 h 117"/>
                <a:gd name="T18" fmla="*/ 59 w 117"/>
                <a:gd name="T19" fmla="*/ 9 h 117"/>
                <a:gd name="T20" fmla="*/ 24 w 117"/>
                <a:gd name="T21" fmla="*/ 23 h 117"/>
                <a:gd name="T22" fmla="*/ 9 w 117"/>
                <a:gd name="T23" fmla="*/ 59 h 117"/>
                <a:gd name="T24" fmla="*/ 24 w 117"/>
                <a:gd name="T25" fmla="*/ 94 h 117"/>
                <a:gd name="T26" fmla="*/ 59 w 117"/>
                <a:gd name="T27" fmla="*/ 108 h 117"/>
                <a:gd name="T28" fmla="*/ 94 w 117"/>
                <a:gd name="T29" fmla="*/ 94 h 117"/>
                <a:gd name="T30" fmla="*/ 109 w 117"/>
                <a:gd name="T31" fmla="*/ 59 h 117"/>
                <a:gd name="T32" fmla="*/ 94 w 117"/>
                <a:gd name="T33" fmla="*/ 23 h 117"/>
                <a:gd name="T34" fmla="*/ 59 w 117"/>
                <a:gd name="T35" fmla="*/ 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7" h="117">
                  <a:moveTo>
                    <a:pt x="59" y="117"/>
                  </a:moveTo>
                  <a:cubicBezTo>
                    <a:pt x="43" y="117"/>
                    <a:pt x="29" y="111"/>
                    <a:pt x="18" y="100"/>
                  </a:cubicBezTo>
                  <a:cubicBezTo>
                    <a:pt x="6" y="89"/>
                    <a:pt x="0" y="74"/>
                    <a:pt x="0" y="59"/>
                  </a:cubicBezTo>
                  <a:cubicBezTo>
                    <a:pt x="0" y="43"/>
                    <a:pt x="6" y="28"/>
                    <a:pt x="18" y="17"/>
                  </a:cubicBezTo>
                  <a:cubicBezTo>
                    <a:pt x="29" y="6"/>
                    <a:pt x="43" y="0"/>
                    <a:pt x="59" y="0"/>
                  </a:cubicBezTo>
                  <a:cubicBezTo>
                    <a:pt x="74" y="0"/>
                    <a:pt x="89" y="6"/>
                    <a:pt x="100" y="17"/>
                  </a:cubicBezTo>
                  <a:cubicBezTo>
                    <a:pt x="111" y="28"/>
                    <a:pt x="117" y="43"/>
                    <a:pt x="117" y="59"/>
                  </a:cubicBezTo>
                  <a:cubicBezTo>
                    <a:pt x="117" y="74"/>
                    <a:pt x="111" y="89"/>
                    <a:pt x="100" y="100"/>
                  </a:cubicBezTo>
                  <a:cubicBezTo>
                    <a:pt x="89" y="111"/>
                    <a:pt x="74" y="117"/>
                    <a:pt x="59" y="117"/>
                  </a:cubicBezTo>
                  <a:close/>
                  <a:moveTo>
                    <a:pt x="59" y="9"/>
                  </a:moveTo>
                  <a:cubicBezTo>
                    <a:pt x="45" y="9"/>
                    <a:pt x="33" y="14"/>
                    <a:pt x="24" y="23"/>
                  </a:cubicBezTo>
                  <a:cubicBezTo>
                    <a:pt x="14" y="33"/>
                    <a:pt x="9" y="45"/>
                    <a:pt x="9" y="59"/>
                  </a:cubicBezTo>
                  <a:cubicBezTo>
                    <a:pt x="9" y="72"/>
                    <a:pt x="14" y="84"/>
                    <a:pt x="24" y="94"/>
                  </a:cubicBezTo>
                  <a:cubicBezTo>
                    <a:pt x="33" y="103"/>
                    <a:pt x="45" y="108"/>
                    <a:pt x="59" y="108"/>
                  </a:cubicBezTo>
                  <a:cubicBezTo>
                    <a:pt x="72" y="108"/>
                    <a:pt x="85" y="103"/>
                    <a:pt x="94" y="94"/>
                  </a:cubicBezTo>
                  <a:cubicBezTo>
                    <a:pt x="103" y="84"/>
                    <a:pt x="109" y="72"/>
                    <a:pt x="109" y="59"/>
                  </a:cubicBezTo>
                  <a:cubicBezTo>
                    <a:pt x="109" y="45"/>
                    <a:pt x="103" y="33"/>
                    <a:pt x="94" y="23"/>
                  </a:cubicBezTo>
                  <a:cubicBezTo>
                    <a:pt x="85" y="14"/>
                    <a:pt x="72" y="9"/>
                    <a:pt x="59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60" name="Agrupar 1659">
            <a:extLst>
              <a:ext uri="{FF2B5EF4-FFF2-40B4-BE49-F238E27FC236}">
                <a16:creationId xmlns:a16="http://schemas.microsoft.com/office/drawing/2014/main" id="{2BB920AC-7211-4B0C-8B12-A3389BD6F46F}"/>
              </a:ext>
            </a:extLst>
          </p:cNvPr>
          <p:cNvGrpSpPr/>
          <p:nvPr/>
        </p:nvGrpSpPr>
        <p:grpSpPr>
          <a:xfrm>
            <a:off x="4805135" y="2845393"/>
            <a:ext cx="237743" cy="266827"/>
            <a:chOff x="4805135" y="2845393"/>
            <a:chExt cx="237743" cy="266827"/>
          </a:xfrm>
        </p:grpSpPr>
        <p:sp>
          <p:nvSpPr>
            <p:cNvPr id="1026" name="Freeform 1222">
              <a:extLst>
                <a:ext uri="{FF2B5EF4-FFF2-40B4-BE49-F238E27FC236}">
                  <a16:creationId xmlns:a16="http://schemas.microsoft.com/office/drawing/2014/main" id="{A72B5324-9A6D-419C-9081-1F69B278B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4221" y="2845393"/>
              <a:ext cx="150486" cy="73346"/>
            </a:xfrm>
            <a:custGeom>
              <a:avLst/>
              <a:gdLst>
                <a:gd name="T0" fmla="*/ 79 w 83"/>
                <a:gd name="T1" fmla="*/ 40 h 40"/>
                <a:gd name="T2" fmla="*/ 75 w 83"/>
                <a:gd name="T3" fmla="*/ 35 h 40"/>
                <a:gd name="T4" fmla="*/ 75 w 83"/>
                <a:gd name="T5" fmla="*/ 9 h 40"/>
                <a:gd name="T6" fmla="*/ 9 w 83"/>
                <a:gd name="T7" fmla="*/ 9 h 40"/>
                <a:gd name="T8" fmla="*/ 9 w 83"/>
                <a:gd name="T9" fmla="*/ 35 h 40"/>
                <a:gd name="T10" fmla="*/ 5 w 83"/>
                <a:gd name="T11" fmla="*/ 40 h 40"/>
                <a:gd name="T12" fmla="*/ 0 w 83"/>
                <a:gd name="T13" fmla="*/ 35 h 40"/>
                <a:gd name="T14" fmla="*/ 0 w 83"/>
                <a:gd name="T15" fmla="*/ 4 h 40"/>
                <a:gd name="T16" fmla="*/ 5 w 83"/>
                <a:gd name="T17" fmla="*/ 0 h 40"/>
                <a:gd name="T18" fmla="*/ 79 w 83"/>
                <a:gd name="T19" fmla="*/ 0 h 40"/>
                <a:gd name="T20" fmla="*/ 83 w 83"/>
                <a:gd name="T21" fmla="*/ 4 h 40"/>
                <a:gd name="T22" fmla="*/ 83 w 83"/>
                <a:gd name="T23" fmla="*/ 35 h 40"/>
                <a:gd name="T24" fmla="*/ 79 w 83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40">
                  <a:moveTo>
                    <a:pt x="79" y="40"/>
                  </a:moveTo>
                  <a:cubicBezTo>
                    <a:pt x="77" y="40"/>
                    <a:pt x="75" y="38"/>
                    <a:pt x="75" y="35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8"/>
                    <a:pt x="7" y="40"/>
                    <a:pt x="5" y="40"/>
                  </a:cubicBezTo>
                  <a:cubicBezTo>
                    <a:pt x="2" y="40"/>
                    <a:pt x="0" y="38"/>
                    <a:pt x="0" y="3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3" y="2"/>
                    <a:pt x="83" y="4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3" y="38"/>
                    <a:pt x="81" y="40"/>
                    <a:pt x="79" y="4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7" name="Freeform 1223">
              <a:extLst>
                <a:ext uri="{FF2B5EF4-FFF2-40B4-BE49-F238E27FC236}">
                  <a16:creationId xmlns:a16="http://schemas.microsoft.com/office/drawing/2014/main" id="{12AE5A19-3352-40C4-A9F0-FF9907B29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4221" y="3040139"/>
              <a:ext cx="150486" cy="72081"/>
            </a:xfrm>
            <a:custGeom>
              <a:avLst/>
              <a:gdLst>
                <a:gd name="T0" fmla="*/ 79 w 83"/>
                <a:gd name="T1" fmla="*/ 40 h 40"/>
                <a:gd name="T2" fmla="*/ 5 w 83"/>
                <a:gd name="T3" fmla="*/ 40 h 40"/>
                <a:gd name="T4" fmla="*/ 0 w 83"/>
                <a:gd name="T5" fmla="*/ 35 h 40"/>
                <a:gd name="T6" fmla="*/ 0 w 83"/>
                <a:gd name="T7" fmla="*/ 4 h 40"/>
                <a:gd name="T8" fmla="*/ 5 w 83"/>
                <a:gd name="T9" fmla="*/ 0 h 40"/>
                <a:gd name="T10" fmla="*/ 9 w 83"/>
                <a:gd name="T11" fmla="*/ 4 h 40"/>
                <a:gd name="T12" fmla="*/ 9 w 83"/>
                <a:gd name="T13" fmla="*/ 31 h 40"/>
                <a:gd name="T14" fmla="*/ 75 w 83"/>
                <a:gd name="T15" fmla="*/ 31 h 40"/>
                <a:gd name="T16" fmla="*/ 75 w 83"/>
                <a:gd name="T17" fmla="*/ 4 h 40"/>
                <a:gd name="T18" fmla="*/ 79 w 83"/>
                <a:gd name="T19" fmla="*/ 0 h 40"/>
                <a:gd name="T20" fmla="*/ 83 w 83"/>
                <a:gd name="T21" fmla="*/ 4 h 40"/>
                <a:gd name="T22" fmla="*/ 83 w 83"/>
                <a:gd name="T23" fmla="*/ 35 h 40"/>
                <a:gd name="T24" fmla="*/ 79 w 83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40">
                  <a:moveTo>
                    <a:pt x="79" y="40"/>
                  </a:move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38"/>
                    <a:pt x="0" y="3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75" y="2"/>
                    <a:pt x="77" y="0"/>
                    <a:pt x="79" y="0"/>
                  </a:cubicBezTo>
                  <a:cubicBezTo>
                    <a:pt x="81" y="0"/>
                    <a:pt x="83" y="2"/>
                    <a:pt x="83" y="4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3" y="38"/>
                    <a:pt x="81" y="40"/>
                    <a:pt x="79" y="4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8" name="Freeform 1224">
              <a:extLst>
                <a:ext uri="{FF2B5EF4-FFF2-40B4-BE49-F238E27FC236}">
                  <a16:creationId xmlns:a16="http://schemas.microsoft.com/office/drawing/2014/main" id="{CE6BBFB2-7BB8-43A3-9C25-FBE38F32E6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5135" y="2874479"/>
              <a:ext cx="208657" cy="208657"/>
            </a:xfrm>
            <a:custGeom>
              <a:avLst/>
              <a:gdLst>
                <a:gd name="T0" fmla="*/ 58 w 115"/>
                <a:gd name="T1" fmla="*/ 115 h 115"/>
                <a:gd name="T2" fmla="*/ 0 w 115"/>
                <a:gd name="T3" fmla="*/ 57 h 115"/>
                <a:gd name="T4" fmla="*/ 58 w 115"/>
                <a:gd name="T5" fmla="*/ 0 h 115"/>
                <a:gd name="T6" fmla="*/ 115 w 115"/>
                <a:gd name="T7" fmla="*/ 57 h 115"/>
                <a:gd name="T8" fmla="*/ 58 w 115"/>
                <a:gd name="T9" fmla="*/ 115 h 115"/>
                <a:gd name="T10" fmla="*/ 58 w 115"/>
                <a:gd name="T11" fmla="*/ 9 h 115"/>
                <a:gd name="T12" fmla="*/ 9 w 115"/>
                <a:gd name="T13" fmla="*/ 57 h 115"/>
                <a:gd name="T14" fmla="*/ 58 w 115"/>
                <a:gd name="T15" fmla="*/ 106 h 115"/>
                <a:gd name="T16" fmla="*/ 107 w 115"/>
                <a:gd name="T17" fmla="*/ 57 h 115"/>
                <a:gd name="T18" fmla="*/ 58 w 115"/>
                <a:gd name="T19" fmla="*/ 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5">
                  <a:moveTo>
                    <a:pt x="58" y="115"/>
                  </a:moveTo>
                  <a:cubicBezTo>
                    <a:pt x="26" y="115"/>
                    <a:pt x="0" y="89"/>
                    <a:pt x="0" y="57"/>
                  </a:cubicBezTo>
                  <a:cubicBezTo>
                    <a:pt x="0" y="26"/>
                    <a:pt x="26" y="0"/>
                    <a:pt x="58" y="0"/>
                  </a:cubicBezTo>
                  <a:cubicBezTo>
                    <a:pt x="89" y="0"/>
                    <a:pt x="115" y="26"/>
                    <a:pt x="115" y="57"/>
                  </a:cubicBezTo>
                  <a:cubicBezTo>
                    <a:pt x="115" y="89"/>
                    <a:pt x="89" y="115"/>
                    <a:pt x="58" y="115"/>
                  </a:cubicBezTo>
                  <a:close/>
                  <a:moveTo>
                    <a:pt x="58" y="9"/>
                  </a:moveTo>
                  <a:cubicBezTo>
                    <a:pt x="31" y="9"/>
                    <a:pt x="9" y="30"/>
                    <a:pt x="9" y="57"/>
                  </a:cubicBezTo>
                  <a:cubicBezTo>
                    <a:pt x="9" y="84"/>
                    <a:pt x="31" y="106"/>
                    <a:pt x="58" y="106"/>
                  </a:cubicBezTo>
                  <a:cubicBezTo>
                    <a:pt x="85" y="106"/>
                    <a:pt x="107" y="84"/>
                    <a:pt x="107" y="57"/>
                  </a:cubicBezTo>
                  <a:cubicBezTo>
                    <a:pt x="107" y="30"/>
                    <a:pt x="85" y="9"/>
                    <a:pt x="58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29" name="Freeform 1225">
              <a:extLst>
                <a:ext uri="{FF2B5EF4-FFF2-40B4-BE49-F238E27FC236}">
                  <a16:creationId xmlns:a16="http://schemas.microsoft.com/office/drawing/2014/main" id="{E2D407FA-0384-423A-AA45-823562A93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244" y="2903564"/>
              <a:ext cx="65758" cy="83463"/>
            </a:xfrm>
            <a:custGeom>
              <a:avLst/>
              <a:gdLst>
                <a:gd name="T0" fmla="*/ 31 w 36"/>
                <a:gd name="T1" fmla="*/ 46 h 46"/>
                <a:gd name="T2" fmla="*/ 5 w 36"/>
                <a:gd name="T3" fmla="*/ 46 h 46"/>
                <a:gd name="T4" fmla="*/ 0 w 36"/>
                <a:gd name="T5" fmla="*/ 41 h 46"/>
                <a:gd name="T6" fmla="*/ 0 w 36"/>
                <a:gd name="T7" fmla="*/ 4 h 46"/>
                <a:gd name="T8" fmla="*/ 5 w 36"/>
                <a:gd name="T9" fmla="*/ 0 h 46"/>
                <a:gd name="T10" fmla="*/ 9 w 36"/>
                <a:gd name="T11" fmla="*/ 4 h 46"/>
                <a:gd name="T12" fmla="*/ 9 w 36"/>
                <a:gd name="T13" fmla="*/ 37 h 46"/>
                <a:gd name="T14" fmla="*/ 31 w 36"/>
                <a:gd name="T15" fmla="*/ 37 h 46"/>
                <a:gd name="T16" fmla="*/ 36 w 36"/>
                <a:gd name="T17" fmla="*/ 41 h 46"/>
                <a:gd name="T18" fmla="*/ 31 w 36"/>
                <a:gd name="T1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46">
                  <a:moveTo>
                    <a:pt x="31" y="46"/>
                  </a:move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0" y="44"/>
                    <a:pt x="0" y="4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4" y="37"/>
                    <a:pt x="36" y="39"/>
                    <a:pt x="36" y="41"/>
                  </a:cubicBezTo>
                  <a:cubicBezTo>
                    <a:pt x="36" y="44"/>
                    <a:pt x="34" y="46"/>
                    <a:pt x="31" y="4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0" name="Freeform 1226">
              <a:extLst>
                <a:ext uri="{FF2B5EF4-FFF2-40B4-BE49-F238E27FC236}">
                  <a16:creationId xmlns:a16="http://schemas.microsoft.com/office/drawing/2014/main" id="{21DF1E4F-3813-406E-A7F5-890B4E548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6438" y="2961735"/>
              <a:ext cx="16440" cy="34144"/>
            </a:xfrm>
            <a:custGeom>
              <a:avLst/>
              <a:gdLst>
                <a:gd name="T0" fmla="*/ 5 w 9"/>
                <a:gd name="T1" fmla="*/ 19 h 19"/>
                <a:gd name="T2" fmla="*/ 0 w 9"/>
                <a:gd name="T3" fmla="*/ 15 h 19"/>
                <a:gd name="T4" fmla="*/ 0 w 9"/>
                <a:gd name="T5" fmla="*/ 4 h 19"/>
                <a:gd name="T6" fmla="*/ 5 w 9"/>
                <a:gd name="T7" fmla="*/ 0 h 19"/>
                <a:gd name="T8" fmla="*/ 9 w 9"/>
                <a:gd name="T9" fmla="*/ 4 h 19"/>
                <a:gd name="T10" fmla="*/ 9 w 9"/>
                <a:gd name="T11" fmla="*/ 15 h 19"/>
                <a:gd name="T12" fmla="*/ 5 w 9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">
                  <a:moveTo>
                    <a:pt x="5" y="19"/>
                  </a:moveTo>
                  <a:cubicBezTo>
                    <a:pt x="2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7"/>
                    <a:pt x="7" y="19"/>
                    <a:pt x="5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9" name="Agrupar 1658">
            <a:extLst>
              <a:ext uri="{FF2B5EF4-FFF2-40B4-BE49-F238E27FC236}">
                <a16:creationId xmlns:a16="http://schemas.microsoft.com/office/drawing/2014/main" id="{203860B3-A7F2-4187-8920-AAA0737E3F99}"/>
              </a:ext>
            </a:extLst>
          </p:cNvPr>
          <p:cNvGrpSpPr/>
          <p:nvPr/>
        </p:nvGrpSpPr>
        <p:grpSpPr>
          <a:xfrm>
            <a:off x="5169336" y="2854245"/>
            <a:ext cx="265563" cy="228890"/>
            <a:chOff x="5169336" y="2854245"/>
            <a:chExt cx="265563" cy="228890"/>
          </a:xfrm>
        </p:grpSpPr>
        <p:sp>
          <p:nvSpPr>
            <p:cNvPr id="1031" name="Freeform 1227">
              <a:extLst>
                <a:ext uri="{FF2B5EF4-FFF2-40B4-BE49-F238E27FC236}">
                  <a16:creationId xmlns:a16="http://schemas.microsoft.com/office/drawing/2014/main" id="{EFE95839-EBD2-411C-AB2C-BD83646ED1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5328" y="2854245"/>
              <a:ext cx="92315" cy="54377"/>
            </a:xfrm>
            <a:custGeom>
              <a:avLst/>
              <a:gdLst>
                <a:gd name="T0" fmla="*/ 47 w 51"/>
                <a:gd name="T1" fmla="*/ 30 h 30"/>
                <a:gd name="T2" fmla="*/ 5 w 51"/>
                <a:gd name="T3" fmla="*/ 30 h 30"/>
                <a:gd name="T4" fmla="*/ 0 w 51"/>
                <a:gd name="T5" fmla="*/ 26 h 30"/>
                <a:gd name="T6" fmla="*/ 0 w 51"/>
                <a:gd name="T7" fmla="*/ 11 h 30"/>
                <a:gd name="T8" fmla="*/ 11 w 51"/>
                <a:gd name="T9" fmla="*/ 0 h 30"/>
                <a:gd name="T10" fmla="*/ 40 w 51"/>
                <a:gd name="T11" fmla="*/ 0 h 30"/>
                <a:gd name="T12" fmla="*/ 51 w 51"/>
                <a:gd name="T13" fmla="*/ 11 h 30"/>
                <a:gd name="T14" fmla="*/ 51 w 51"/>
                <a:gd name="T15" fmla="*/ 26 h 30"/>
                <a:gd name="T16" fmla="*/ 47 w 51"/>
                <a:gd name="T17" fmla="*/ 30 h 30"/>
                <a:gd name="T18" fmla="*/ 9 w 51"/>
                <a:gd name="T19" fmla="*/ 22 h 30"/>
                <a:gd name="T20" fmla="*/ 43 w 51"/>
                <a:gd name="T21" fmla="*/ 22 h 30"/>
                <a:gd name="T22" fmla="*/ 43 w 51"/>
                <a:gd name="T23" fmla="*/ 11 h 30"/>
                <a:gd name="T24" fmla="*/ 40 w 51"/>
                <a:gd name="T25" fmla="*/ 9 h 30"/>
                <a:gd name="T26" fmla="*/ 11 w 51"/>
                <a:gd name="T27" fmla="*/ 9 h 30"/>
                <a:gd name="T28" fmla="*/ 9 w 51"/>
                <a:gd name="T29" fmla="*/ 11 h 30"/>
                <a:gd name="T30" fmla="*/ 9 w 51"/>
                <a:gd name="T31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" h="30">
                  <a:moveTo>
                    <a:pt x="47" y="30"/>
                  </a:moveTo>
                  <a:cubicBezTo>
                    <a:pt x="5" y="30"/>
                    <a:pt x="5" y="30"/>
                    <a:pt x="5" y="30"/>
                  </a:cubicBezTo>
                  <a:cubicBezTo>
                    <a:pt x="2" y="30"/>
                    <a:pt x="0" y="28"/>
                    <a:pt x="0" y="2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6" y="0"/>
                    <a:pt x="51" y="5"/>
                    <a:pt x="51" y="11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8"/>
                    <a:pt x="49" y="30"/>
                    <a:pt x="47" y="30"/>
                  </a:cubicBezTo>
                  <a:close/>
                  <a:moveTo>
                    <a:pt x="9" y="22"/>
                  </a:moveTo>
                  <a:cubicBezTo>
                    <a:pt x="43" y="22"/>
                    <a:pt x="43" y="22"/>
                    <a:pt x="43" y="22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0"/>
                    <a:pt x="42" y="9"/>
                    <a:pt x="4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10"/>
                    <a:pt x="9" y="11"/>
                  </a:cubicBezTo>
                  <a:lnTo>
                    <a:pt x="9" y="2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2" name="Freeform 1228">
              <a:extLst>
                <a:ext uri="{FF2B5EF4-FFF2-40B4-BE49-F238E27FC236}">
                  <a16:creationId xmlns:a16="http://schemas.microsoft.com/office/drawing/2014/main" id="{4B40A845-5668-45DD-85CA-00FE36F4F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1669" y="2894712"/>
              <a:ext cx="15175" cy="188423"/>
            </a:xfrm>
            <a:custGeom>
              <a:avLst/>
              <a:gdLst>
                <a:gd name="T0" fmla="*/ 4 w 9"/>
                <a:gd name="T1" fmla="*/ 104 h 104"/>
                <a:gd name="T2" fmla="*/ 0 w 9"/>
                <a:gd name="T3" fmla="*/ 99 h 104"/>
                <a:gd name="T4" fmla="*/ 0 w 9"/>
                <a:gd name="T5" fmla="*/ 4 h 104"/>
                <a:gd name="T6" fmla="*/ 4 w 9"/>
                <a:gd name="T7" fmla="*/ 0 h 104"/>
                <a:gd name="T8" fmla="*/ 9 w 9"/>
                <a:gd name="T9" fmla="*/ 4 h 104"/>
                <a:gd name="T10" fmla="*/ 9 w 9"/>
                <a:gd name="T11" fmla="*/ 99 h 104"/>
                <a:gd name="T12" fmla="*/ 4 w 9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4">
                  <a:moveTo>
                    <a:pt x="4" y="104"/>
                  </a:moveTo>
                  <a:cubicBezTo>
                    <a:pt x="2" y="104"/>
                    <a:pt x="0" y="102"/>
                    <a:pt x="0" y="9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102"/>
                    <a:pt x="7" y="104"/>
                    <a:pt x="4" y="10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3" name="Freeform 1229">
              <a:extLst>
                <a:ext uri="{FF2B5EF4-FFF2-40B4-BE49-F238E27FC236}">
                  <a16:creationId xmlns:a16="http://schemas.microsoft.com/office/drawing/2014/main" id="{3B90E6C9-FD31-41D9-9C8A-AFF4A9B55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390" y="2894712"/>
              <a:ext cx="16440" cy="188423"/>
            </a:xfrm>
            <a:custGeom>
              <a:avLst/>
              <a:gdLst>
                <a:gd name="T0" fmla="*/ 4 w 9"/>
                <a:gd name="T1" fmla="*/ 104 h 104"/>
                <a:gd name="T2" fmla="*/ 0 w 9"/>
                <a:gd name="T3" fmla="*/ 99 h 104"/>
                <a:gd name="T4" fmla="*/ 0 w 9"/>
                <a:gd name="T5" fmla="*/ 4 h 104"/>
                <a:gd name="T6" fmla="*/ 4 w 9"/>
                <a:gd name="T7" fmla="*/ 0 h 104"/>
                <a:gd name="T8" fmla="*/ 9 w 9"/>
                <a:gd name="T9" fmla="*/ 4 h 104"/>
                <a:gd name="T10" fmla="*/ 9 w 9"/>
                <a:gd name="T11" fmla="*/ 99 h 104"/>
                <a:gd name="T12" fmla="*/ 4 w 9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4">
                  <a:moveTo>
                    <a:pt x="4" y="104"/>
                  </a:moveTo>
                  <a:cubicBezTo>
                    <a:pt x="2" y="104"/>
                    <a:pt x="0" y="102"/>
                    <a:pt x="0" y="9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102"/>
                    <a:pt x="7" y="104"/>
                    <a:pt x="4" y="10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4" name="Freeform 1230">
              <a:extLst>
                <a:ext uri="{FF2B5EF4-FFF2-40B4-BE49-F238E27FC236}">
                  <a16:creationId xmlns:a16="http://schemas.microsoft.com/office/drawing/2014/main" id="{2282DD19-B332-4C14-AC83-E80D50795B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9336" y="2894712"/>
              <a:ext cx="265563" cy="188423"/>
            </a:xfrm>
            <a:custGeom>
              <a:avLst/>
              <a:gdLst>
                <a:gd name="T0" fmla="*/ 142 w 146"/>
                <a:gd name="T1" fmla="*/ 104 h 104"/>
                <a:gd name="T2" fmla="*/ 4 w 146"/>
                <a:gd name="T3" fmla="*/ 104 h 104"/>
                <a:gd name="T4" fmla="*/ 0 w 146"/>
                <a:gd name="T5" fmla="*/ 99 h 104"/>
                <a:gd name="T6" fmla="*/ 0 w 146"/>
                <a:gd name="T7" fmla="*/ 4 h 104"/>
                <a:gd name="T8" fmla="*/ 4 w 146"/>
                <a:gd name="T9" fmla="*/ 0 h 104"/>
                <a:gd name="T10" fmla="*/ 142 w 146"/>
                <a:gd name="T11" fmla="*/ 0 h 104"/>
                <a:gd name="T12" fmla="*/ 146 w 146"/>
                <a:gd name="T13" fmla="*/ 4 h 104"/>
                <a:gd name="T14" fmla="*/ 146 w 146"/>
                <a:gd name="T15" fmla="*/ 99 h 104"/>
                <a:gd name="T16" fmla="*/ 142 w 146"/>
                <a:gd name="T17" fmla="*/ 104 h 104"/>
                <a:gd name="T18" fmla="*/ 8 w 146"/>
                <a:gd name="T19" fmla="*/ 95 h 104"/>
                <a:gd name="T20" fmla="*/ 138 w 146"/>
                <a:gd name="T21" fmla="*/ 95 h 104"/>
                <a:gd name="T22" fmla="*/ 138 w 146"/>
                <a:gd name="T23" fmla="*/ 8 h 104"/>
                <a:gd name="T24" fmla="*/ 8 w 146"/>
                <a:gd name="T25" fmla="*/ 8 h 104"/>
                <a:gd name="T26" fmla="*/ 8 w 146"/>
                <a:gd name="T27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6" h="104">
                  <a:moveTo>
                    <a:pt x="142" y="104"/>
                  </a:moveTo>
                  <a:cubicBezTo>
                    <a:pt x="4" y="104"/>
                    <a:pt x="4" y="104"/>
                    <a:pt x="4" y="104"/>
                  </a:cubicBezTo>
                  <a:cubicBezTo>
                    <a:pt x="2" y="104"/>
                    <a:pt x="0" y="102"/>
                    <a:pt x="0" y="9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2"/>
                    <a:pt x="146" y="4"/>
                  </a:cubicBezTo>
                  <a:cubicBezTo>
                    <a:pt x="146" y="99"/>
                    <a:pt x="146" y="99"/>
                    <a:pt x="146" y="99"/>
                  </a:cubicBezTo>
                  <a:cubicBezTo>
                    <a:pt x="146" y="102"/>
                    <a:pt x="144" y="104"/>
                    <a:pt x="142" y="104"/>
                  </a:cubicBezTo>
                  <a:close/>
                  <a:moveTo>
                    <a:pt x="8" y="95"/>
                  </a:moveTo>
                  <a:cubicBezTo>
                    <a:pt x="138" y="95"/>
                    <a:pt x="138" y="95"/>
                    <a:pt x="138" y="95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9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6" name="Agrupar 1635">
            <a:extLst>
              <a:ext uri="{FF2B5EF4-FFF2-40B4-BE49-F238E27FC236}">
                <a16:creationId xmlns:a16="http://schemas.microsoft.com/office/drawing/2014/main" id="{B367C9BF-0E9E-4F74-B841-F98D428AE575}"/>
              </a:ext>
            </a:extLst>
          </p:cNvPr>
          <p:cNvGrpSpPr/>
          <p:nvPr/>
        </p:nvGrpSpPr>
        <p:grpSpPr>
          <a:xfrm>
            <a:off x="5541124" y="1153378"/>
            <a:ext cx="270621" cy="270621"/>
            <a:chOff x="5541124" y="1153378"/>
            <a:chExt cx="270621" cy="270621"/>
          </a:xfrm>
        </p:grpSpPr>
        <p:sp>
          <p:nvSpPr>
            <p:cNvPr id="1035" name="Freeform 1231">
              <a:extLst>
                <a:ext uri="{FF2B5EF4-FFF2-40B4-BE49-F238E27FC236}">
                  <a16:creationId xmlns:a16="http://schemas.microsoft.com/office/drawing/2014/main" id="{C1C44F0B-2AF9-446A-9E55-98070DF4C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2738" y="1331684"/>
              <a:ext cx="72081" cy="92315"/>
            </a:xfrm>
            <a:custGeom>
              <a:avLst/>
              <a:gdLst>
                <a:gd name="T0" fmla="*/ 20 w 40"/>
                <a:gd name="T1" fmla="*/ 51 h 51"/>
                <a:gd name="T2" fmla="*/ 0 w 40"/>
                <a:gd name="T3" fmla="*/ 31 h 51"/>
                <a:gd name="T4" fmla="*/ 0 w 40"/>
                <a:gd name="T5" fmla="*/ 20 h 51"/>
                <a:gd name="T6" fmla="*/ 20 w 40"/>
                <a:gd name="T7" fmla="*/ 0 h 51"/>
                <a:gd name="T8" fmla="*/ 40 w 40"/>
                <a:gd name="T9" fmla="*/ 20 h 51"/>
                <a:gd name="T10" fmla="*/ 40 w 40"/>
                <a:gd name="T11" fmla="*/ 31 h 51"/>
                <a:gd name="T12" fmla="*/ 20 w 40"/>
                <a:gd name="T13" fmla="*/ 51 h 51"/>
                <a:gd name="T14" fmla="*/ 20 w 40"/>
                <a:gd name="T15" fmla="*/ 8 h 51"/>
                <a:gd name="T16" fmla="*/ 8 w 40"/>
                <a:gd name="T17" fmla="*/ 20 h 51"/>
                <a:gd name="T18" fmla="*/ 8 w 40"/>
                <a:gd name="T19" fmla="*/ 31 h 51"/>
                <a:gd name="T20" fmla="*/ 20 w 40"/>
                <a:gd name="T21" fmla="*/ 43 h 51"/>
                <a:gd name="T22" fmla="*/ 32 w 40"/>
                <a:gd name="T23" fmla="*/ 31 h 51"/>
                <a:gd name="T24" fmla="*/ 32 w 40"/>
                <a:gd name="T25" fmla="*/ 20 h 51"/>
                <a:gd name="T26" fmla="*/ 20 w 40"/>
                <a:gd name="T27" fmla="*/ 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51">
                  <a:moveTo>
                    <a:pt x="20" y="51"/>
                  </a:moveTo>
                  <a:cubicBezTo>
                    <a:pt x="9" y="51"/>
                    <a:pt x="0" y="42"/>
                    <a:pt x="0" y="3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42"/>
                    <a:pt x="31" y="51"/>
                    <a:pt x="20" y="51"/>
                  </a:cubicBezTo>
                  <a:close/>
                  <a:moveTo>
                    <a:pt x="20" y="8"/>
                  </a:moveTo>
                  <a:cubicBezTo>
                    <a:pt x="13" y="8"/>
                    <a:pt x="8" y="14"/>
                    <a:pt x="8" y="20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8"/>
                    <a:pt x="13" y="43"/>
                    <a:pt x="20" y="43"/>
                  </a:cubicBezTo>
                  <a:cubicBezTo>
                    <a:pt x="27" y="43"/>
                    <a:pt x="32" y="38"/>
                    <a:pt x="32" y="31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4"/>
                    <a:pt x="27" y="8"/>
                    <a:pt x="20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6" name="Freeform 1232">
              <a:extLst>
                <a:ext uri="{FF2B5EF4-FFF2-40B4-BE49-F238E27FC236}">
                  <a16:creationId xmlns:a16="http://schemas.microsoft.com/office/drawing/2014/main" id="{AA80F7C2-47A1-4775-BE11-CE5EEBE78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1124" y="1153378"/>
              <a:ext cx="123929" cy="222567"/>
            </a:xfrm>
            <a:custGeom>
              <a:avLst/>
              <a:gdLst>
                <a:gd name="T0" fmla="*/ 21 w 68"/>
                <a:gd name="T1" fmla="*/ 122 h 123"/>
                <a:gd name="T2" fmla="*/ 17 w 68"/>
                <a:gd name="T3" fmla="*/ 119 h 123"/>
                <a:gd name="T4" fmla="*/ 1 w 68"/>
                <a:gd name="T5" fmla="*/ 10 h 123"/>
                <a:gd name="T6" fmla="*/ 0 w 68"/>
                <a:gd name="T7" fmla="*/ 5 h 123"/>
                <a:gd name="T8" fmla="*/ 4 w 68"/>
                <a:gd name="T9" fmla="*/ 0 h 123"/>
                <a:gd name="T10" fmla="*/ 9 w 68"/>
                <a:gd name="T11" fmla="*/ 4 h 123"/>
                <a:gd name="T12" fmla="*/ 9 w 68"/>
                <a:gd name="T13" fmla="*/ 8 h 123"/>
                <a:gd name="T14" fmla="*/ 19 w 68"/>
                <a:gd name="T15" fmla="*/ 15 h 123"/>
                <a:gd name="T16" fmla="*/ 30 w 68"/>
                <a:gd name="T17" fmla="*/ 5 h 123"/>
                <a:gd name="T18" fmla="*/ 34 w 68"/>
                <a:gd name="T19" fmla="*/ 0 h 123"/>
                <a:gd name="T20" fmla="*/ 39 w 68"/>
                <a:gd name="T21" fmla="*/ 5 h 123"/>
                <a:gd name="T22" fmla="*/ 49 w 68"/>
                <a:gd name="T23" fmla="*/ 15 h 123"/>
                <a:gd name="T24" fmla="*/ 60 w 68"/>
                <a:gd name="T25" fmla="*/ 7 h 123"/>
                <a:gd name="T26" fmla="*/ 60 w 68"/>
                <a:gd name="T27" fmla="*/ 4 h 123"/>
                <a:gd name="T28" fmla="*/ 64 w 68"/>
                <a:gd name="T29" fmla="*/ 0 h 123"/>
                <a:gd name="T30" fmla="*/ 68 w 68"/>
                <a:gd name="T31" fmla="*/ 5 h 123"/>
                <a:gd name="T32" fmla="*/ 68 w 68"/>
                <a:gd name="T33" fmla="*/ 8 h 123"/>
                <a:gd name="T34" fmla="*/ 57 w 68"/>
                <a:gd name="T35" fmla="*/ 119 h 123"/>
                <a:gd name="T36" fmla="*/ 53 w 68"/>
                <a:gd name="T37" fmla="*/ 122 h 123"/>
                <a:gd name="T38" fmla="*/ 49 w 68"/>
                <a:gd name="T39" fmla="*/ 118 h 123"/>
                <a:gd name="T40" fmla="*/ 58 w 68"/>
                <a:gd name="T41" fmla="*/ 21 h 123"/>
                <a:gd name="T42" fmla="*/ 49 w 68"/>
                <a:gd name="T43" fmla="*/ 24 h 123"/>
                <a:gd name="T44" fmla="*/ 34 w 68"/>
                <a:gd name="T45" fmla="*/ 17 h 123"/>
                <a:gd name="T46" fmla="*/ 19 w 68"/>
                <a:gd name="T47" fmla="*/ 24 h 123"/>
                <a:gd name="T48" fmla="*/ 11 w 68"/>
                <a:gd name="T49" fmla="*/ 22 h 123"/>
                <a:gd name="T50" fmla="*/ 25 w 68"/>
                <a:gd name="T51" fmla="*/ 118 h 123"/>
                <a:gd name="T52" fmla="*/ 21 w 68"/>
                <a:gd name="T53" fmla="*/ 122 h 123"/>
                <a:gd name="T54" fmla="*/ 21 w 68"/>
                <a:gd name="T55" fmla="*/ 1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8" h="123">
                  <a:moveTo>
                    <a:pt x="21" y="122"/>
                  </a:moveTo>
                  <a:cubicBezTo>
                    <a:pt x="19" y="122"/>
                    <a:pt x="17" y="121"/>
                    <a:pt x="17" y="11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8"/>
                    <a:pt x="0" y="6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9" y="4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1" y="12"/>
                    <a:pt x="15" y="15"/>
                    <a:pt x="19" y="15"/>
                  </a:cubicBezTo>
                  <a:cubicBezTo>
                    <a:pt x="25" y="15"/>
                    <a:pt x="30" y="10"/>
                    <a:pt x="30" y="5"/>
                  </a:cubicBezTo>
                  <a:cubicBezTo>
                    <a:pt x="30" y="2"/>
                    <a:pt x="32" y="0"/>
                    <a:pt x="34" y="0"/>
                  </a:cubicBezTo>
                  <a:cubicBezTo>
                    <a:pt x="37" y="0"/>
                    <a:pt x="39" y="2"/>
                    <a:pt x="39" y="5"/>
                  </a:cubicBezTo>
                  <a:cubicBezTo>
                    <a:pt x="39" y="10"/>
                    <a:pt x="43" y="15"/>
                    <a:pt x="49" y="15"/>
                  </a:cubicBezTo>
                  <a:cubicBezTo>
                    <a:pt x="54" y="15"/>
                    <a:pt x="59" y="12"/>
                    <a:pt x="60" y="7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2"/>
                    <a:pt x="62" y="0"/>
                    <a:pt x="64" y="0"/>
                  </a:cubicBezTo>
                  <a:cubicBezTo>
                    <a:pt x="67" y="0"/>
                    <a:pt x="68" y="2"/>
                    <a:pt x="68" y="5"/>
                  </a:cubicBezTo>
                  <a:cubicBezTo>
                    <a:pt x="68" y="6"/>
                    <a:pt x="68" y="7"/>
                    <a:pt x="68" y="8"/>
                  </a:cubicBezTo>
                  <a:cubicBezTo>
                    <a:pt x="57" y="119"/>
                    <a:pt x="57" y="119"/>
                    <a:pt x="57" y="119"/>
                  </a:cubicBezTo>
                  <a:cubicBezTo>
                    <a:pt x="57" y="121"/>
                    <a:pt x="55" y="123"/>
                    <a:pt x="53" y="122"/>
                  </a:cubicBezTo>
                  <a:cubicBezTo>
                    <a:pt x="50" y="122"/>
                    <a:pt x="49" y="120"/>
                    <a:pt x="49" y="118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5" y="23"/>
                    <a:pt x="52" y="24"/>
                    <a:pt x="49" y="24"/>
                  </a:cubicBezTo>
                  <a:cubicBezTo>
                    <a:pt x="43" y="24"/>
                    <a:pt x="38" y="21"/>
                    <a:pt x="34" y="17"/>
                  </a:cubicBezTo>
                  <a:cubicBezTo>
                    <a:pt x="31" y="21"/>
                    <a:pt x="25" y="24"/>
                    <a:pt x="19" y="24"/>
                  </a:cubicBezTo>
                  <a:cubicBezTo>
                    <a:pt x="17" y="24"/>
                    <a:pt x="14" y="23"/>
                    <a:pt x="11" y="22"/>
                  </a:cubicBezTo>
                  <a:cubicBezTo>
                    <a:pt x="25" y="118"/>
                    <a:pt x="25" y="118"/>
                    <a:pt x="25" y="118"/>
                  </a:cubicBezTo>
                  <a:cubicBezTo>
                    <a:pt x="25" y="120"/>
                    <a:pt x="24" y="122"/>
                    <a:pt x="21" y="122"/>
                  </a:cubicBezTo>
                  <a:cubicBezTo>
                    <a:pt x="21" y="122"/>
                    <a:pt x="21" y="122"/>
                    <a:pt x="21" y="12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7" name="Freeform 1233">
              <a:extLst>
                <a:ext uri="{FF2B5EF4-FFF2-40B4-BE49-F238E27FC236}">
                  <a16:creationId xmlns:a16="http://schemas.microsoft.com/office/drawing/2014/main" id="{EF19648A-DABF-4006-AF5F-1B5BAE01CF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9430" y="1331684"/>
              <a:ext cx="74611" cy="92315"/>
            </a:xfrm>
            <a:custGeom>
              <a:avLst/>
              <a:gdLst>
                <a:gd name="T0" fmla="*/ 20 w 41"/>
                <a:gd name="T1" fmla="*/ 51 h 51"/>
                <a:gd name="T2" fmla="*/ 0 w 41"/>
                <a:gd name="T3" fmla="*/ 31 h 51"/>
                <a:gd name="T4" fmla="*/ 0 w 41"/>
                <a:gd name="T5" fmla="*/ 20 h 51"/>
                <a:gd name="T6" fmla="*/ 20 w 41"/>
                <a:gd name="T7" fmla="*/ 0 h 51"/>
                <a:gd name="T8" fmla="*/ 41 w 41"/>
                <a:gd name="T9" fmla="*/ 20 h 51"/>
                <a:gd name="T10" fmla="*/ 41 w 41"/>
                <a:gd name="T11" fmla="*/ 31 h 51"/>
                <a:gd name="T12" fmla="*/ 20 w 41"/>
                <a:gd name="T13" fmla="*/ 51 h 51"/>
                <a:gd name="T14" fmla="*/ 20 w 41"/>
                <a:gd name="T15" fmla="*/ 8 h 51"/>
                <a:gd name="T16" fmla="*/ 8 w 41"/>
                <a:gd name="T17" fmla="*/ 20 h 51"/>
                <a:gd name="T18" fmla="*/ 8 w 41"/>
                <a:gd name="T19" fmla="*/ 31 h 51"/>
                <a:gd name="T20" fmla="*/ 20 w 41"/>
                <a:gd name="T21" fmla="*/ 43 h 51"/>
                <a:gd name="T22" fmla="*/ 32 w 41"/>
                <a:gd name="T23" fmla="*/ 31 h 51"/>
                <a:gd name="T24" fmla="*/ 32 w 41"/>
                <a:gd name="T25" fmla="*/ 20 h 51"/>
                <a:gd name="T26" fmla="*/ 20 w 41"/>
                <a:gd name="T27" fmla="*/ 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" h="51">
                  <a:moveTo>
                    <a:pt x="20" y="51"/>
                  </a:moveTo>
                  <a:cubicBezTo>
                    <a:pt x="9" y="51"/>
                    <a:pt x="0" y="42"/>
                    <a:pt x="0" y="3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1" y="9"/>
                    <a:pt x="41" y="20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42"/>
                    <a:pt x="31" y="51"/>
                    <a:pt x="20" y="51"/>
                  </a:cubicBezTo>
                  <a:close/>
                  <a:moveTo>
                    <a:pt x="20" y="8"/>
                  </a:moveTo>
                  <a:cubicBezTo>
                    <a:pt x="14" y="8"/>
                    <a:pt x="8" y="14"/>
                    <a:pt x="8" y="20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8"/>
                    <a:pt x="14" y="43"/>
                    <a:pt x="20" y="43"/>
                  </a:cubicBezTo>
                  <a:cubicBezTo>
                    <a:pt x="27" y="43"/>
                    <a:pt x="32" y="38"/>
                    <a:pt x="32" y="31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4"/>
                    <a:pt x="27" y="8"/>
                    <a:pt x="20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8" name="Freeform 1234">
              <a:extLst>
                <a:ext uri="{FF2B5EF4-FFF2-40B4-BE49-F238E27FC236}">
                  <a16:creationId xmlns:a16="http://schemas.microsoft.com/office/drawing/2014/main" id="{A0515FE6-816A-4E22-98EC-B909B9061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080" y="1153378"/>
              <a:ext cx="122665" cy="222567"/>
            </a:xfrm>
            <a:custGeom>
              <a:avLst/>
              <a:gdLst>
                <a:gd name="T0" fmla="*/ 21 w 68"/>
                <a:gd name="T1" fmla="*/ 122 h 123"/>
                <a:gd name="T2" fmla="*/ 17 w 68"/>
                <a:gd name="T3" fmla="*/ 119 h 123"/>
                <a:gd name="T4" fmla="*/ 1 w 68"/>
                <a:gd name="T5" fmla="*/ 10 h 123"/>
                <a:gd name="T6" fmla="*/ 0 w 68"/>
                <a:gd name="T7" fmla="*/ 5 h 123"/>
                <a:gd name="T8" fmla="*/ 4 w 68"/>
                <a:gd name="T9" fmla="*/ 0 h 123"/>
                <a:gd name="T10" fmla="*/ 9 w 68"/>
                <a:gd name="T11" fmla="*/ 4 h 123"/>
                <a:gd name="T12" fmla="*/ 9 w 68"/>
                <a:gd name="T13" fmla="*/ 8 h 123"/>
                <a:gd name="T14" fmla="*/ 20 w 68"/>
                <a:gd name="T15" fmla="*/ 15 h 123"/>
                <a:gd name="T16" fmla="*/ 30 w 68"/>
                <a:gd name="T17" fmla="*/ 5 h 123"/>
                <a:gd name="T18" fmla="*/ 34 w 68"/>
                <a:gd name="T19" fmla="*/ 0 h 123"/>
                <a:gd name="T20" fmla="*/ 39 w 68"/>
                <a:gd name="T21" fmla="*/ 5 h 123"/>
                <a:gd name="T22" fmla="*/ 49 w 68"/>
                <a:gd name="T23" fmla="*/ 15 h 123"/>
                <a:gd name="T24" fmla="*/ 60 w 68"/>
                <a:gd name="T25" fmla="*/ 7 h 123"/>
                <a:gd name="T26" fmla="*/ 60 w 68"/>
                <a:gd name="T27" fmla="*/ 4 h 123"/>
                <a:gd name="T28" fmla="*/ 64 w 68"/>
                <a:gd name="T29" fmla="*/ 0 h 123"/>
                <a:gd name="T30" fmla="*/ 68 w 68"/>
                <a:gd name="T31" fmla="*/ 5 h 123"/>
                <a:gd name="T32" fmla="*/ 68 w 68"/>
                <a:gd name="T33" fmla="*/ 8 h 123"/>
                <a:gd name="T34" fmla="*/ 58 w 68"/>
                <a:gd name="T35" fmla="*/ 119 h 123"/>
                <a:gd name="T36" fmla="*/ 53 w 68"/>
                <a:gd name="T37" fmla="*/ 122 h 123"/>
                <a:gd name="T38" fmla="*/ 49 w 68"/>
                <a:gd name="T39" fmla="*/ 118 h 123"/>
                <a:gd name="T40" fmla="*/ 58 w 68"/>
                <a:gd name="T41" fmla="*/ 21 h 123"/>
                <a:gd name="T42" fmla="*/ 49 w 68"/>
                <a:gd name="T43" fmla="*/ 24 h 123"/>
                <a:gd name="T44" fmla="*/ 34 w 68"/>
                <a:gd name="T45" fmla="*/ 17 h 123"/>
                <a:gd name="T46" fmla="*/ 20 w 68"/>
                <a:gd name="T47" fmla="*/ 24 h 123"/>
                <a:gd name="T48" fmla="*/ 11 w 68"/>
                <a:gd name="T49" fmla="*/ 22 h 123"/>
                <a:gd name="T50" fmla="*/ 25 w 68"/>
                <a:gd name="T51" fmla="*/ 118 h 123"/>
                <a:gd name="T52" fmla="*/ 21 w 68"/>
                <a:gd name="T53" fmla="*/ 122 h 123"/>
                <a:gd name="T54" fmla="*/ 21 w 68"/>
                <a:gd name="T55" fmla="*/ 1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8" h="123">
                  <a:moveTo>
                    <a:pt x="21" y="122"/>
                  </a:moveTo>
                  <a:cubicBezTo>
                    <a:pt x="19" y="122"/>
                    <a:pt x="17" y="121"/>
                    <a:pt x="17" y="11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8"/>
                    <a:pt x="0" y="6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1" y="12"/>
                    <a:pt x="15" y="15"/>
                    <a:pt x="20" y="15"/>
                  </a:cubicBezTo>
                  <a:cubicBezTo>
                    <a:pt x="25" y="15"/>
                    <a:pt x="30" y="10"/>
                    <a:pt x="30" y="5"/>
                  </a:cubicBezTo>
                  <a:cubicBezTo>
                    <a:pt x="30" y="2"/>
                    <a:pt x="32" y="0"/>
                    <a:pt x="34" y="0"/>
                  </a:cubicBezTo>
                  <a:cubicBezTo>
                    <a:pt x="37" y="0"/>
                    <a:pt x="39" y="2"/>
                    <a:pt x="39" y="5"/>
                  </a:cubicBezTo>
                  <a:cubicBezTo>
                    <a:pt x="39" y="10"/>
                    <a:pt x="43" y="15"/>
                    <a:pt x="49" y="15"/>
                  </a:cubicBezTo>
                  <a:cubicBezTo>
                    <a:pt x="54" y="15"/>
                    <a:pt x="59" y="12"/>
                    <a:pt x="60" y="7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2"/>
                    <a:pt x="62" y="0"/>
                    <a:pt x="64" y="0"/>
                  </a:cubicBezTo>
                  <a:cubicBezTo>
                    <a:pt x="67" y="0"/>
                    <a:pt x="68" y="2"/>
                    <a:pt x="68" y="5"/>
                  </a:cubicBezTo>
                  <a:cubicBezTo>
                    <a:pt x="68" y="6"/>
                    <a:pt x="68" y="7"/>
                    <a:pt x="68" y="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7" y="121"/>
                    <a:pt x="55" y="123"/>
                    <a:pt x="53" y="122"/>
                  </a:cubicBezTo>
                  <a:cubicBezTo>
                    <a:pt x="51" y="122"/>
                    <a:pt x="49" y="120"/>
                    <a:pt x="49" y="118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6" y="23"/>
                    <a:pt x="53" y="24"/>
                    <a:pt x="49" y="24"/>
                  </a:cubicBezTo>
                  <a:cubicBezTo>
                    <a:pt x="43" y="24"/>
                    <a:pt x="38" y="21"/>
                    <a:pt x="34" y="17"/>
                  </a:cubicBezTo>
                  <a:cubicBezTo>
                    <a:pt x="31" y="21"/>
                    <a:pt x="26" y="24"/>
                    <a:pt x="20" y="24"/>
                  </a:cubicBezTo>
                  <a:cubicBezTo>
                    <a:pt x="17" y="24"/>
                    <a:pt x="14" y="23"/>
                    <a:pt x="11" y="22"/>
                  </a:cubicBezTo>
                  <a:cubicBezTo>
                    <a:pt x="25" y="118"/>
                    <a:pt x="25" y="118"/>
                    <a:pt x="25" y="118"/>
                  </a:cubicBezTo>
                  <a:cubicBezTo>
                    <a:pt x="25" y="120"/>
                    <a:pt x="24" y="122"/>
                    <a:pt x="21" y="122"/>
                  </a:cubicBezTo>
                  <a:cubicBezTo>
                    <a:pt x="21" y="122"/>
                    <a:pt x="21" y="122"/>
                    <a:pt x="21" y="12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63" name="Agrupar 1662">
            <a:extLst>
              <a:ext uri="{FF2B5EF4-FFF2-40B4-BE49-F238E27FC236}">
                <a16:creationId xmlns:a16="http://schemas.microsoft.com/office/drawing/2014/main" id="{0E33205A-8F23-4EE2-AA20-009E4E9229A7}"/>
              </a:ext>
            </a:extLst>
          </p:cNvPr>
          <p:cNvGrpSpPr/>
          <p:nvPr/>
        </p:nvGrpSpPr>
        <p:grpSpPr>
          <a:xfrm>
            <a:off x="4838014" y="3312025"/>
            <a:ext cx="171984" cy="270621"/>
            <a:chOff x="4838014" y="3312025"/>
            <a:chExt cx="171984" cy="270621"/>
          </a:xfrm>
        </p:grpSpPr>
        <p:sp>
          <p:nvSpPr>
            <p:cNvPr id="1039" name="Freeform 1235">
              <a:extLst>
                <a:ext uri="{FF2B5EF4-FFF2-40B4-BE49-F238E27FC236}">
                  <a16:creationId xmlns:a16="http://schemas.microsoft.com/office/drawing/2014/main" id="{9F375B4E-CD76-44E2-80F7-7B065D0B2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8014" y="3312025"/>
              <a:ext cx="171984" cy="202334"/>
            </a:xfrm>
            <a:custGeom>
              <a:avLst/>
              <a:gdLst>
                <a:gd name="T0" fmla="*/ 61 w 95"/>
                <a:gd name="T1" fmla="*/ 112 h 112"/>
                <a:gd name="T2" fmla="*/ 34 w 95"/>
                <a:gd name="T3" fmla="*/ 112 h 112"/>
                <a:gd name="T4" fmla="*/ 31 w 95"/>
                <a:gd name="T5" fmla="*/ 110 h 112"/>
                <a:gd name="T6" fmla="*/ 0 w 95"/>
                <a:gd name="T7" fmla="*/ 48 h 112"/>
                <a:gd name="T8" fmla="*/ 48 w 95"/>
                <a:gd name="T9" fmla="*/ 0 h 112"/>
                <a:gd name="T10" fmla="*/ 95 w 95"/>
                <a:gd name="T11" fmla="*/ 48 h 112"/>
                <a:gd name="T12" fmla="*/ 64 w 95"/>
                <a:gd name="T13" fmla="*/ 110 h 112"/>
                <a:gd name="T14" fmla="*/ 61 w 95"/>
                <a:gd name="T15" fmla="*/ 112 h 112"/>
                <a:gd name="T16" fmla="*/ 36 w 95"/>
                <a:gd name="T17" fmla="*/ 103 h 112"/>
                <a:gd name="T18" fmla="*/ 59 w 95"/>
                <a:gd name="T19" fmla="*/ 103 h 112"/>
                <a:gd name="T20" fmla="*/ 87 w 95"/>
                <a:gd name="T21" fmla="*/ 48 h 112"/>
                <a:gd name="T22" fmla="*/ 48 w 95"/>
                <a:gd name="T23" fmla="*/ 9 h 112"/>
                <a:gd name="T24" fmla="*/ 9 w 95"/>
                <a:gd name="T25" fmla="*/ 48 h 112"/>
                <a:gd name="T26" fmla="*/ 36 w 95"/>
                <a:gd name="T27" fmla="*/ 10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112">
                  <a:moveTo>
                    <a:pt x="61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3" y="112"/>
                    <a:pt x="32" y="111"/>
                    <a:pt x="31" y="110"/>
                  </a:cubicBezTo>
                  <a:cubicBezTo>
                    <a:pt x="30" y="109"/>
                    <a:pt x="0" y="76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4" y="0"/>
                    <a:pt x="95" y="22"/>
                    <a:pt x="95" y="48"/>
                  </a:cubicBezTo>
                  <a:cubicBezTo>
                    <a:pt x="95" y="76"/>
                    <a:pt x="66" y="109"/>
                    <a:pt x="64" y="110"/>
                  </a:cubicBezTo>
                  <a:cubicBezTo>
                    <a:pt x="64" y="111"/>
                    <a:pt x="62" y="112"/>
                    <a:pt x="61" y="112"/>
                  </a:cubicBezTo>
                  <a:close/>
                  <a:moveTo>
                    <a:pt x="36" y="103"/>
                  </a:moveTo>
                  <a:cubicBezTo>
                    <a:pt x="59" y="103"/>
                    <a:pt x="59" y="103"/>
                    <a:pt x="59" y="103"/>
                  </a:cubicBezTo>
                  <a:cubicBezTo>
                    <a:pt x="65" y="97"/>
                    <a:pt x="87" y="70"/>
                    <a:pt x="87" y="48"/>
                  </a:cubicBezTo>
                  <a:cubicBezTo>
                    <a:pt x="87" y="26"/>
                    <a:pt x="69" y="9"/>
                    <a:pt x="48" y="9"/>
                  </a:cubicBezTo>
                  <a:cubicBezTo>
                    <a:pt x="26" y="9"/>
                    <a:pt x="9" y="26"/>
                    <a:pt x="9" y="48"/>
                  </a:cubicBezTo>
                  <a:cubicBezTo>
                    <a:pt x="9" y="70"/>
                    <a:pt x="31" y="97"/>
                    <a:pt x="36" y="10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0" name="Freeform 1236">
              <a:extLst>
                <a:ext uri="{FF2B5EF4-FFF2-40B4-BE49-F238E27FC236}">
                  <a16:creationId xmlns:a16="http://schemas.microsoft.com/office/drawing/2014/main" id="{A8E4BD6B-2EFE-4F1F-A431-D58541BC59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7333" y="3312025"/>
              <a:ext cx="73346" cy="202334"/>
            </a:xfrm>
            <a:custGeom>
              <a:avLst/>
              <a:gdLst>
                <a:gd name="T0" fmla="*/ 24 w 41"/>
                <a:gd name="T1" fmla="*/ 112 h 112"/>
                <a:gd name="T2" fmla="*/ 17 w 41"/>
                <a:gd name="T3" fmla="*/ 112 h 112"/>
                <a:gd name="T4" fmla="*/ 13 w 41"/>
                <a:gd name="T5" fmla="*/ 109 h 112"/>
                <a:gd name="T6" fmla="*/ 0 w 41"/>
                <a:gd name="T7" fmla="*/ 48 h 112"/>
                <a:gd name="T8" fmla="*/ 21 w 41"/>
                <a:gd name="T9" fmla="*/ 0 h 112"/>
                <a:gd name="T10" fmla="*/ 41 w 41"/>
                <a:gd name="T11" fmla="*/ 48 h 112"/>
                <a:gd name="T12" fmla="*/ 28 w 41"/>
                <a:gd name="T13" fmla="*/ 109 h 112"/>
                <a:gd name="T14" fmla="*/ 24 w 41"/>
                <a:gd name="T15" fmla="*/ 112 h 112"/>
                <a:gd name="T16" fmla="*/ 20 w 41"/>
                <a:gd name="T17" fmla="*/ 103 h 112"/>
                <a:gd name="T18" fmla="*/ 21 w 41"/>
                <a:gd name="T19" fmla="*/ 103 h 112"/>
                <a:gd name="T20" fmla="*/ 33 w 41"/>
                <a:gd name="T21" fmla="*/ 48 h 112"/>
                <a:gd name="T22" fmla="*/ 21 w 41"/>
                <a:gd name="T23" fmla="*/ 9 h 112"/>
                <a:gd name="T24" fmla="*/ 9 w 41"/>
                <a:gd name="T25" fmla="*/ 48 h 112"/>
                <a:gd name="T26" fmla="*/ 20 w 41"/>
                <a:gd name="T27" fmla="*/ 10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" h="112">
                  <a:moveTo>
                    <a:pt x="24" y="112"/>
                  </a:moveTo>
                  <a:cubicBezTo>
                    <a:pt x="17" y="112"/>
                    <a:pt x="17" y="112"/>
                    <a:pt x="17" y="112"/>
                  </a:cubicBezTo>
                  <a:cubicBezTo>
                    <a:pt x="15" y="112"/>
                    <a:pt x="14" y="110"/>
                    <a:pt x="13" y="109"/>
                  </a:cubicBezTo>
                  <a:cubicBezTo>
                    <a:pt x="12" y="107"/>
                    <a:pt x="0" y="75"/>
                    <a:pt x="0" y="48"/>
                  </a:cubicBezTo>
                  <a:cubicBezTo>
                    <a:pt x="0" y="24"/>
                    <a:pt x="7" y="0"/>
                    <a:pt x="21" y="0"/>
                  </a:cubicBezTo>
                  <a:cubicBezTo>
                    <a:pt x="34" y="0"/>
                    <a:pt x="41" y="24"/>
                    <a:pt x="41" y="48"/>
                  </a:cubicBezTo>
                  <a:cubicBezTo>
                    <a:pt x="41" y="75"/>
                    <a:pt x="29" y="107"/>
                    <a:pt x="28" y="109"/>
                  </a:cubicBezTo>
                  <a:cubicBezTo>
                    <a:pt x="28" y="110"/>
                    <a:pt x="26" y="112"/>
                    <a:pt x="24" y="112"/>
                  </a:cubicBezTo>
                  <a:close/>
                  <a:moveTo>
                    <a:pt x="20" y="103"/>
                  </a:moveTo>
                  <a:cubicBezTo>
                    <a:pt x="21" y="103"/>
                    <a:pt x="21" y="103"/>
                    <a:pt x="21" y="103"/>
                  </a:cubicBezTo>
                  <a:cubicBezTo>
                    <a:pt x="24" y="95"/>
                    <a:pt x="33" y="69"/>
                    <a:pt x="33" y="48"/>
                  </a:cubicBezTo>
                  <a:cubicBezTo>
                    <a:pt x="33" y="24"/>
                    <a:pt x="25" y="9"/>
                    <a:pt x="21" y="9"/>
                  </a:cubicBezTo>
                  <a:cubicBezTo>
                    <a:pt x="16" y="9"/>
                    <a:pt x="9" y="24"/>
                    <a:pt x="9" y="48"/>
                  </a:cubicBezTo>
                  <a:cubicBezTo>
                    <a:pt x="9" y="69"/>
                    <a:pt x="17" y="95"/>
                    <a:pt x="20" y="10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1" name="Freeform 1237">
              <a:extLst>
                <a:ext uri="{FF2B5EF4-FFF2-40B4-BE49-F238E27FC236}">
                  <a16:creationId xmlns:a16="http://schemas.microsoft.com/office/drawing/2014/main" id="{41C46332-2019-4F66-AAAF-3EB685169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392" y="3528269"/>
              <a:ext cx="63229" cy="54377"/>
            </a:xfrm>
            <a:custGeom>
              <a:avLst/>
              <a:gdLst>
                <a:gd name="T0" fmla="*/ 24 w 35"/>
                <a:gd name="T1" fmla="*/ 30 h 30"/>
                <a:gd name="T2" fmla="*/ 11 w 35"/>
                <a:gd name="T3" fmla="*/ 30 h 30"/>
                <a:gd name="T4" fmla="*/ 0 w 35"/>
                <a:gd name="T5" fmla="*/ 19 h 30"/>
                <a:gd name="T6" fmla="*/ 0 w 35"/>
                <a:gd name="T7" fmla="*/ 4 h 30"/>
                <a:gd name="T8" fmla="*/ 4 w 35"/>
                <a:gd name="T9" fmla="*/ 0 h 30"/>
                <a:gd name="T10" fmla="*/ 31 w 35"/>
                <a:gd name="T11" fmla="*/ 0 h 30"/>
                <a:gd name="T12" fmla="*/ 35 w 35"/>
                <a:gd name="T13" fmla="*/ 4 h 30"/>
                <a:gd name="T14" fmla="*/ 35 w 35"/>
                <a:gd name="T15" fmla="*/ 19 h 30"/>
                <a:gd name="T16" fmla="*/ 24 w 35"/>
                <a:gd name="T17" fmla="*/ 30 h 30"/>
                <a:gd name="T18" fmla="*/ 8 w 35"/>
                <a:gd name="T19" fmla="*/ 9 h 30"/>
                <a:gd name="T20" fmla="*/ 8 w 35"/>
                <a:gd name="T21" fmla="*/ 19 h 30"/>
                <a:gd name="T22" fmla="*/ 11 w 35"/>
                <a:gd name="T23" fmla="*/ 22 h 30"/>
                <a:gd name="T24" fmla="*/ 24 w 35"/>
                <a:gd name="T25" fmla="*/ 22 h 30"/>
                <a:gd name="T26" fmla="*/ 27 w 35"/>
                <a:gd name="T27" fmla="*/ 19 h 30"/>
                <a:gd name="T28" fmla="*/ 27 w 35"/>
                <a:gd name="T29" fmla="*/ 9 h 30"/>
                <a:gd name="T30" fmla="*/ 8 w 35"/>
                <a:gd name="T31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0">
                  <a:moveTo>
                    <a:pt x="24" y="30"/>
                  </a:moveTo>
                  <a:cubicBezTo>
                    <a:pt x="11" y="30"/>
                    <a:pt x="11" y="30"/>
                    <a:pt x="11" y="30"/>
                  </a:cubicBezTo>
                  <a:cubicBezTo>
                    <a:pt x="5" y="30"/>
                    <a:pt x="0" y="25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4" y="0"/>
                    <a:pt x="35" y="2"/>
                    <a:pt x="35" y="4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25"/>
                    <a:pt x="30" y="30"/>
                    <a:pt x="24" y="30"/>
                  </a:cubicBezTo>
                  <a:close/>
                  <a:moveTo>
                    <a:pt x="8" y="9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8" y="21"/>
                    <a:pt x="10" y="22"/>
                    <a:pt x="11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6" y="22"/>
                    <a:pt x="27" y="21"/>
                    <a:pt x="27" y="19"/>
                  </a:cubicBezTo>
                  <a:cubicBezTo>
                    <a:pt x="27" y="9"/>
                    <a:pt x="27" y="9"/>
                    <a:pt x="27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1" name="Agrupar 1630">
            <a:extLst>
              <a:ext uri="{FF2B5EF4-FFF2-40B4-BE49-F238E27FC236}">
                <a16:creationId xmlns:a16="http://schemas.microsoft.com/office/drawing/2014/main" id="{81FA5D91-3ED8-4C7E-87B5-EE0147FB5D20}"/>
              </a:ext>
            </a:extLst>
          </p:cNvPr>
          <p:cNvGrpSpPr/>
          <p:nvPr/>
        </p:nvGrpSpPr>
        <p:grpSpPr>
          <a:xfrm>
            <a:off x="7185085" y="761356"/>
            <a:ext cx="269357" cy="192217"/>
            <a:chOff x="7185085" y="761356"/>
            <a:chExt cx="269357" cy="192217"/>
          </a:xfrm>
        </p:grpSpPr>
        <p:sp>
          <p:nvSpPr>
            <p:cNvPr id="1042" name="Freeform 1238">
              <a:extLst>
                <a:ext uri="{FF2B5EF4-FFF2-40B4-BE49-F238E27FC236}">
                  <a16:creationId xmlns:a16="http://schemas.microsoft.com/office/drawing/2014/main" id="{87BB7EF3-0851-446B-A3DA-995C659004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5085" y="761356"/>
              <a:ext cx="269357" cy="192217"/>
            </a:xfrm>
            <a:custGeom>
              <a:avLst/>
              <a:gdLst>
                <a:gd name="T0" fmla="*/ 145 w 149"/>
                <a:gd name="T1" fmla="*/ 106 h 106"/>
                <a:gd name="T2" fmla="*/ 91 w 149"/>
                <a:gd name="T3" fmla="*/ 106 h 106"/>
                <a:gd name="T4" fmla="*/ 86 w 149"/>
                <a:gd name="T5" fmla="*/ 102 h 106"/>
                <a:gd name="T6" fmla="*/ 86 w 149"/>
                <a:gd name="T7" fmla="*/ 80 h 106"/>
                <a:gd name="T8" fmla="*/ 80 w 149"/>
                <a:gd name="T9" fmla="*/ 74 h 106"/>
                <a:gd name="T10" fmla="*/ 69 w 149"/>
                <a:gd name="T11" fmla="*/ 74 h 106"/>
                <a:gd name="T12" fmla="*/ 63 w 149"/>
                <a:gd name="T13" fmla="*/ 80 h 106"/>
                <a:gd name="T14" fmla="*/ 63 w 149"/>
                <a:gd name="T15" fmla="*/ 102 h 106"/>
                <a:gd name="T16" fmla="*/ 58 w 149"/>
                <a:gd name="T17" fmla="*/ 106 h 106"/>
                <a:gd name="T18" fmla="*/ 4 w 149"/>
                <a:gd name="T19" fmla="*/ 106 h 106"/>
                <a:gd name="T20" fmla="*/ 0 w 149"/>
                <a:gd name="T21" fmla="*/ 102 h 106"/>
                <a:gd name="T22" fmla="*/ 0 w 149"/>
                <a:gd name="T23" fmla="*/ 5 h 106"/>
                <a:gd name="T24" fmla="*/ 4 w 149"/>
                <a:gd name="T25" fmla="*/ 0 h 106"/>
                <a:gd name="T26" fmla="*/ 145 w 149"/>
                <a:gd name="T27" fmla="*/ 0 h 106"/>
                <a:gd name="T28" fmla="*/ 149 w 149"/>
                <a:gd name="T29" fmla="*/ 5 h 106"/>
                <a:gd name="T30" fmla="*/ 149 w 149"/>
                <a:gd name="T31" fmla="*/ 102 h 106"/>
                <a:gd name="T32" fmla="*/ 145 w 149"/>
                <a:gd name="T33" fmla="*/ 106 h 106"/>
                <a:gd name="T34" fmla="*/ 95 w 149"/>
                <a:gd name="T35" fmla="*/ 98 h 106"/>
                <a:gd name="T36" fmla="*/ 141 w 149"/>
                <a:gd name="T37" fmla="*/ 98 h 106"/>
                <a:gd name="T38" fmla="*/ 141 w 149"/>
                <a:gd name="T39" fmla="*/ 9 h 106"/>
                <a:gd name="T40" fmla="*/ 8 w 149"/>
                <a:gd name="T41" fmla="*/ 9 h 106"/>
                <a:gd name="T42" fmla="*/ 8 w 149"/>
                <a:gd name="T43" fmla="*/ 98 h 106"/>
                <a:gd name="T44" fmla="*/ 54 w 149"/>
                <a:gd name="T45" fmla="*/ 98 h 106"/>
                <a:gd name="T46" fmla="*/ 54 w 149"/>
                <a:gd name="T47" fmla="*/ 80 h 106"/>
                <a:gd name="T48" fmla="*/ 69 w 149"/>
                <a:gd name="T49" fmla="*/ 65 h 106"/>
                <a:gd name="T50" fmla="*/ 80 w 149"/>
                <a:gd name="T51" fmla="*/ 65 h 106"/>
                <a:gd name="T52" fmla="*/ 95 w 149"/>
                <a:gd name="T53" fmla="*/ 80 h 106"/>
                <a:gd name="T54" fmla="*/ 95 w 149"/>
                <a:gd name="T55" fmla="*/ 9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9" h="106">
                  <a:moveTo>
                    <a:pt x="145" y="106"/>
                  </a:moveTo>
                  <a:cubicBezTo>
                    <a:pt x="91" y="106"/>
                    <a:pt x="91" y="106"/>
                    <a:pt x="91" y="106"/>
                  </a:cubicBezTo>
                  <a:cubicBezTo>
                    <a:pt x="88" y="106"/>
                    <a:pt x="86" y="104"/>
                    <a:pt x="86" y="102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6" y="77"/>
                    <a:pt x="84" y="74"/>
                    <a:pt x="80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5" y="74"/>
                    <a:pt x="63" y="77"/>
                    <a:pt x="63" y="80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4"/>
                    <a:pt x="61" y="106"/>
                    <a:pt x="58" y="106"/>
                  </a:cubicBezTo>
                  <a:cubicBezTo>
                    <a:pt x="4" y="106"/>
                    <a:pt x="4" y="106"/>
                    <a:pt x="4" y="106"/>
                  </a:cubicBezTo>
                  <a:cubicBezTo>
                    <a:pt x="2" y="106"/>
                    <a:pt x="0" y="104"/>
                    <a:pt x="0" y="10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7" y="0"/>
                    <a:pt x="149" y="2"/>
                    <a:pt x="149" y="5"/>
                  </a:cubicBezTo>
                  <a:cubicBezTo>
                    <a:pt x="149" y="102"/>
                    <a:pt x="149" y="102"/>
                    <a:pt x="149" y="102"/>
                  </a:cubicBezTo>
                  <a:cubicBezTo>
                    <a:pt x="149" y="104"/>
                    <a:pt x="147" y="106"/>
                    <a:pt x="145" y="106"/>
                  </a:cubicBezTo>
                  <a:close/>
                  <a:moveTo>
                    <a:pt x="95" y="98"/>
                  </a:moveTo>
                  <a:cubicBezTo>
                    <a:pt x="141" y="98"/>
                    <a:pt x="141" y="98"/>
                    <a:pt x="141" y="98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72"/>
                    <a:pt x="61" y="65"/>
                    <a:pt x="69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8" y="65"/>
                    <a:pt x="95" y="72"/>
                    <a:pt x="95" y="80"/>
                  </a:cubicBezTo>
                  <a:lnTo>
                    <a:pt x="95" y="9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3" name="Freeform 1239">
              <a:extLst>
                <a:ext uri="{FF2B5EF4-FFF2-40B4-BE49-F238E27FC236}">
                  <a16:creationId xmlns:a16="http://schemas.microsoft.com/office/drawing/2014/main" id="{E0824760-93E0-4D08-9C64-5DF493CD5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0979" y="801823"/>
              <a:ext cx="83463" cy="74611"/>
            </a:xfrm>
            <a:custGeom>
              <a:avLst/>
              <a:gdLst>
                <a:gd name="T0" fmla="*/ 42 w 46"/>
                <a:gd name="T1" fmla="*/ 41 h 41"/>
                <a:gd name="T2" fmla="*/ 36 w 46"/>
                <a:gd name="T3" fmla="*/ 41 h 41"/>
                <a:gd name="T4" fmla="*/ 0 w 46"/>
                <a:gd name="T5" fmla="*/ 4 h 41"/>
                <a:gd name="T6" fmla="*/ 4 w 46"/>
                <a:gd name="T7" fmla="*/ 0 h 41"/>
                <a:gd name="T8" fmla="*/ 8 w 46"/>
                <a:gd name="T9" fmla="*/ 4 h 41"/>
                <a:gd name="T10" fmla="*/ 36 w 46"/>
                <a:gd name="T11" fmla="*/ 32 h 41"/>
                <a:gd name="T12" fmla="*/ 42 w 46"/>
                <a:gd name="T13" fmla="*/ 32 h 41"/>
                <a:gd name="T14" fmla="*/ 46 w 46"/>
                <a:gd name="T15" fmla="*/ 37 h 41"/>
                <a:gd name="T16" fmla="*/ 42 w 46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1">
                  <a:moveTo>
                    <a:pt x="42" y="41"/>
                  </a:moveTo>
                  <a:cubicBezTo>
                    <a:pt x="36" y="41"/>
                    <a:pt x="36" y="41"/>
                    <a:pt x="36" y="41"/>
                  </a:cubicBezTo>
                  <a:cubicBezTo>
                    <a:pt x="16" y="41"/>
                    <a:pt x="0" y="2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0"/>
                    <a:pt x="21" y="32"/>
                    <a:pt x="36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4" y="32"/>
                    <a:pt x="46" y="34"/>
                    <a:pt x="46" y="37"/>
                  </a:cubicBezTo>
                  <a:cubicBezTo>
                    <a:pt x="46" y="39"/>
                    <a:pt x="44" y="41"/>
                    <a:pt x="42" y="4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4" name="Freeform 1240">
              <a:extLst>
                <a:ext uri="{FF2B5EF4-FFF2-40B4-BE49-F238E27FC236}">
                  <a16:creationId xmlns:a16="http://schemas.microsoft.com/office/drawing/2014/main" id="{899127D1-0243-4BBC-9848-5C7427B4C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6349" y="803087"/>
              <a:ext cx="79669" cy="70817"/>
            </a:xfrm>
            <a:custGeom>
              <a:avLst/>
              <a:gdLst>
                <a:gd name="T0" fmla="*/ 9 w 44"/>
                <a:gd name="T1" fmla="*/ 39 h 39"/>
                <a:gd name="T2" fmla="*/ 3 w 44"/>
                <a:gd name="T3" fmla="*/ 39 h 39"/>
                <a:gd name="T4" fmla="*/ 0 w 44"/>
                <a:gd name="T5" fmla="*/ 36 h 39"/>
                <a:gd name="T6" fmla="*/ 3 w 44"/>
                <a:gd name="T7" fmla="*/ 32 h 39"/>
                <a:gd name="T8" fmla="*/ 9 w 44"/>
                <a:gd name="T9" fmla="*/ 32 h 39"/>
                <a:gd name="T10" fmla="*/ 38 w 44"/>
                <a:gd name="T11" fmla="*/ 3 h 39"/>
                <a:gd name="T12" fmla="*/ 41 w 44"/>
                <a:gd name="T13" fmla="*/ 0 h 39"/>
                <a:gd name="T14" fmla="*/ 44 w 44"/>
                <a:gd name="T15" fmla="*/ 3 h 39"/>
                <a:gd name="T16" fmla="*/ 9 w 44"/>
                <a:gd name="T1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39">
                  <a:moveTo>
                    <a:pt x="9" y="39"/>
                  </a:moveTo>
                  <a:cubicBezTo>
                    <a:pt x="3" y="39"/>
                    <a:pt x="3" y="39"/>
                    <a:pt x="3" y="39"/>
                  </a:cubicBezTo>
                  <a:cubicBezTo>
                    <a:pt x="1" y="39"/>
                    <a:pt x="0" y="37"/>
                    <a:pt x="0" y="36"/>
                  </a:cubicBezTo>
                  <a:cubicBezTo>
                    <a:pt x="0" y="34"/>
                    <a:pt x="1" y="32"/>
                    <a:pt x="3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25" y="32"/>
                    <a:pt x="38" y="19"/>
                    <a:pt x="38" y="3"/>
                  </a:cubicBezTo>
                  <a:cubicBezTo>
                    <a:pt x="38" y="1"/>
                    <a:pt x="39" y="0"/>
                    <a:pt x="41" y="0"/>
                  </a:cubicBezTo>
                  <a:cubicBezTo>
                    <a:pt x="43" y="0"/>
                    <a:pt x="44" y="1"/>
                    <a:pt x="44" y="3"/>
                  </a:cubicBezTo>
                  <a:cubicBezTo>
                    <a:pt x="44" y="23"/>
                    <a:pt x="28" y="39"/>
                    <a:pt x="9" y="3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5" name="Freeform 1241">
              <a:extLst>
                <a:ext uri="{FF2B5EF4-FFF2-40B4-BE49-F238E27FC236}">
                  <a16:creationId xmlns:a16="http://schemas.microsoft.com/office/drawing/2014/main" id="{8552A1D8-ABA1-4A42-BBBF-17674F732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5085" y="801823"/>
              <a:ext cx="269357" cy="13910"/>
            </a:xfrm>
            <a:custGeom>
              <a:avLst/>
              <a:gdLst>
                <a:gd name="T0" fmla="*/ 145 w 149"/>
                <a:gd name="T1" fmla="*/ 8 h 8"/>
                <a:gd name="T2" fmla="*/ 4 w 149"/>
                <a:gd name="T3" fmla="*/ 8 h 8"/>
                <a:gd name="T4" fmla="*/ 0 w 149"/>
                <a:gd name="T5" fmla="*/ 4 h 8"/>
                <a:gd name="T6" fmla="*/ 4 w 149"/>
                <a:gd name="T7" fmla="*/ 0 h 8"/>
                <a:gd name="T8" fmla="*/ 145 w 149"/>
                <a:gd name="T9" fmla="*/ 0 h 8"/>
                <a:gd name="T10" fmla="*/ 149 w 149"/>
                <a:gd name="T11" fmla="*/ 4 h 8"/>
                <a:gd name="T12" fmla="*/ 145 w 1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8">
                  <a:moveTo>
                    <a:pt x="14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7" y="0"/>
                    <a:pt x="149" y="2"/>
                    <a:pt x="149" y="4"/>
                  </a:cubicBezTo>
                  <a:cubicBezTo>
                    <a:pt x="149" y="7"/>
                    <a:pt x="147" y="8"/>
                    <a:pt x="14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4" name="Agrupar 1633">
            <a:extLst>
              <a:ext uri="{FF2B5EF4-FFF2-40B4-BE49-F238E27FC236}">
                <a16:creationId xmlns:a16="http://schemas.microsoft.com/office/drawing/2014/main" id="{8BDFBE55-0CB6-4FAF-94B7-E7216AB0563F}"/>
              </a:ext>
            </a:extLst>
          </p:cNvPr>
          <p:cNvGrpSpPr/>
          <p:nvPr/>
        </p:nvGrpSpPr>
        <p:grpSpPr>
          <a:xfrm>
            <a:off x="6399777" y="1158436"/>
            <a:ext cx="250389" cy="261769"/>
            <a:chOff x="6399777" y="1158436"/>
            <a:chExt cx="250389" cy="261769"/>
          </a:xfrm>
        </p:grpSpPr>
        <p:sp>
          <p:nvSpPr>
            <p:cNvPr id="1046" name="Freeform 1242">
              <a:extLst>
                <a:ext uri="{FF2B5EF4-FFF2-40B4-BE49-F238E27FC236}">
                  <a16:creationId xmlns:a16="http://schemas.microsoft.com/office/drawing/2014/main" id="{99231632-2B17-4109-8324-A5E7E9DF6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777" y="1158436"/>
              <a:ext cx="112548" cy="115077"/>
            </a:xfrm>
            <a:custGeom>
              <a:avLst/>
              <a:gdLst>
                <a:gd name="T0" fmla="*/ 31 w 62"/>
                <a:gd name="T1" fmla="*/ 63 h 63"/>
                <a:gd name="T2" fmla="*/ 0 w 62"/>
                <a:gd name="T3" fmla="*/ 31 h 63"/>
                <a:gd name="T4" fmla="*/ 31 w 62"/>
                <a:gd name="T5" fmla="*/ 0 h 63"/>
                <a:gd name="T6" fmla="*/ 62 w 62"/>
                <a:gd name="T7" fmla="*/ 31 h 63"/>
                <a:gd name="T8" fmla="*/ 58 w 62"/>
                <a:gd name="T9" fmla="*/ 36 h 63"/>
                <a:gd name="T10" fmla="*/ 54 w 62"/>
                <a:gd name="T11" fmla="*/ 31 h 63"/>
                <a:gd name="T12" fmla="*/ 31 w 62"/>
                <a:gd name="T13" fmla="*/ 9 h 63"/>
                <a:gd name="T14" fmla="*/ 8 w 62"/>
                <a:gd name="T15" fmla="*/ 31 h 63"/>
                <a:gd name="T16" fmla="*/ 31 w 62"/>
                <a:gd name="T17" fmla="*/ 54 h 63"/>
                <a:gd name="T18" fmla="*/ 34 w 62"/>
                <a:gd name="T19" fmla="*/ 54 h 63"/>
                <a:gd name="T20" fmla="*/ 36 w 62"/>
                <a:gd name="T21" fmla="*/ 62 h 63"/>
                <a:gd name="T22" fmla="*/ 31 w 62"/>
                <a:gd name="T2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63">
                  <a:moveTo>
                    <a:pt x="31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34"/>
                    <a:pt x="61" y="36"/>
                    <a:pt x="58" y="36"/>
                  </a:cubicBezTo>
                  <a:cubicBezTo>
                    <a:pt x="56" y="36"/>
                    <a:pt x="54" y="34"/>
                    <a:pt x="54" y="31"/>
                  </a:cubicBezTo>
                  <a:cubicBezTo>
                    <a:pt x="54" y="19"/>
                    <a:pt x="44" y="9"/>
                    <a:pt x="31" y="9"/>
                  </a:cubicBezTo>
                  <a:cubicBezTo>
                    <a:pt x="19" y="9"/>
                    <a:pt x="8" y="19"/>
                    <a:pt x="8" y="31"/>
                  </a:cubicBezTo>
                  <a:cubicBezTo>
                    <a:pt x="8" y="44"/>
                    <a:pt x="19" y="54"/>
                    <a:pt x="31" y="54"/>
                  </a:cubicBezTo>
                  <a:cubicBezTo>
                    <a:pt x="32" y="54"/>
                    <a:pt x="33" y="54"/>
                    <a:pt x="34" y="54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4" y="62"/>
                    <a:pt x="33" y="63"/>
                    <a:pt x="31" y="6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7" name="Freeform 1243">
              <a:extLst>
                <a:ext uri="{FF2B5EF4-FFF2-40B4-BE49-F238E27FC236}">
                  <a16:creationId xmlns:a16="http://schemas.microsoft.com/office/drawing/2014/main" id="{7AEEB8B3-F0EE-4045-A741-A3318C9B3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30" y="1158436"/>
              <a:ext cx="120136" cy="132781"/>
            </a:xfrm>
            <a:custGeom>
              <a:avLst/>
              <a:gdLst>
                <a:gd name="T0" fmla="*/ 5 w 66"/>
                <a:gd name="T1" fmla="*/ 73 h 73"/>
                <a:gd name="T2" fmla="*/ 4 w 66"/>
                <a:gd name="T3" fmla="*/ 73 h 73"/>
                <a:gd name="T4" fmla="*/ 1 w 66"/>
                <a:gd name="T5" fmla="*/ 68 h 73"/>
                <a:gd name="T6" fmla="*/ 20 w 66"/>
                <a:gd name="T7" fmla="*/ 8 h 73"/>
                <a:gd name="T8" fmla="*/ 23 w 66"/>
                <a:gd name="T9" fmla="*/ 5 h 73"/>
                <a:gd name="T10" fmla="*/ 61 w 66"/>
                <a:gd name="T11" fmla="*/ 0 h 73"/>
                <a:gd name="T12" fmla="*/ 66 w 66"/>
                <a:gd name="T13" fmla="*/ 4 h 73"/>
                <a:gd name="T14" fmla="*/ 62 w 66"/>
                <a:gd name="T15" fmla="*/ 9 h 73"/>
                <a:gd name="T16" fmla="*/ 27 w 66"/>
                <a:gd name="T17" fmla="*/ 14 h 73"/>
                <a:gd name="T18" fmla="*/ 9 w 66"/>
                <a:gd name="T19" fmla="*/ 70 h 73"/>
                <a:gd name="T20" fmla="*/ 5 w 66"/>
                <a:gd name="T2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73">
                  <a:moveTo>
                    <a:pt x="5" y="73"/>
                  </a:moveTo>
                  <a:cubicBezTo>
                    <a:pt x="5" y="73"/>
                    <a:pt x="4" y="73"/>
                    <a:pt x="4" y="73"/>
                  </a:cubicBezTo>
                  <a:cubicBezTo>
                    <a:pt x="2" y="73"/>
                    <a:pt x="0" y="70"/>
                    <a:pt x="1" y="6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7"/>
                    <a:pt x="22" y="6"/>
                    <a:pt x="23" y="5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4" y="0"/>
                    <a:pt x="66" y="1"/>
                    <a:pt x="66" y="4"/>
                  </a:cubicBezTo>
                  <a:cubicBezTo>
                    <a:pt x="66" y="6"/>
                    <a:pt x="65" y="8"/>
                    <a:pt x="62" y="9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9" y="72"/>
                    <a:pt x="7" y="73"/>
                    <a:pt x="5" y="7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8" name="Freeform 1244">
              <a:extLst>
                <a:ext uri="{FF2B5EF4-FFF2-40B4-BE49-F238E27FC236}">
                  <a16:creationId xmlns:a16="http://schemas.microsoft.com/office/drawing/2014/main" id="{801AFA3C-0735-44B8-BFB2-1F6A3741A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213" y="1277307"/>
              <a:ext cx="130252" cy="13910"/>
            </a:xfrm>
            <a:custGeom>
              <a:avLst/>
              <a:gdLst>
                <a:gd name="T0" fmla="*/ 68 w 72"/>
                <a:gd name="T1" fmla="*/ 8 h 8"/>
                <a:gd name="T2" fmla="*/ 4 w 72"/>
                <a:gd name="T3" fmla="*/ 8 h 8"/>
                <a:gd name="T4" fmla="*/ 0 w 72"/>
                <a:gd name="T5" fmla="*/ 4 h 8"/>
                <a:gd name="T6" fmla="*/ 4 w 72"/>
                <a:gd name="T7" fmla="*/ 0 h 8"/>
                <a:gd name="T8" fmla="*/ 68 w 72"/>
                <a:gd name="T9" fmla="*/ 0 h 8"/>
                <a:gd name="T10" fmla="*/ 72 w 72"/>
                <a:gd name="T11" fmla="*/ 4 h 8"/>
                <a:gd name="T12" fmla="*/ 68 w 7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8">
                  <a:moveTo>
                    <a:pt x="6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7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2" y="2"/>
                    <a:pt x="72" y="4"/>
                  </a:cubicBezTo>
                  <a:cubicBezTo>
                    <a:pt x="72" y="7"/>
                    <a:pt x="71" y="8"/>
                    <a:pt x="68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9" name="Freeform 1245">
              <a:extLst>
                <a:ext uri="{FF2B5EF4-FFF2-40B4-BE49-F238E27FC236}">
                  <a16:creationId xmlns:a16="http://schemas.microsoft.com/office/drawing/2014/main" id="{3DED7BE1-9E05-46CF-93A7-B439AC2FDF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7832" y="1207755"/>
              <a:ext cx="153015" cy="212450"/>
            </a:xfrm>
            <a:custGeom>
              <a:avLst/>
              <a:gdLst>
                <a:gd name="T0" fmla="*/ 64 w 84"/>
                <a:gd name="T1" fmla="*/ 117 h 117"/>
                <a:gd name="T2" fmla="*/ 20 w 84"/>
                <a:gd name="T3" fmla="*/ 117 h 117"/>
                <a:gd name="T4" fmla="*/ 16 w 84"/>
                <a:gd name="T5" fmla="*/ 113 h 117"/>
                <a:gd name="T6" fmla="*/ 0 w 84"/>
                <a:gd name="T7" fmla="*/ 5 h 117"/>
                <a:gd name="T8" fmla="*/ 1 w 84"/>
                <a:gd name="T9" fmla="*/ 2 h 117"/>
                <a:gd name="T10" fmla="*/ 4 w 84"/>
                <a:gd name="T11" fmla="*/ 0 h 117"/>
                <a:gd name="T12" fmla="*/ 80 w 84"/>
                <a:gd name="T13" fmla="*/ 0 h 117"/>
                <a:gd name="T14" fmla="*/ 83 w 84"/>
                <a:gd name="T15" fmla="*/ 2 h 117"/>
                <a:gd name="T16" fmla="*/ 84 w 84"/>
                <a:gd name="T17" fmla="*/ 5 h 117"/>
                <a:gd name="T18" fmla="*/ 68 w 84"/>
                <a:gd name="T19" fmla="*/ 113 h 117"/>
                <a:gd name="T20" fmla="*/ 64 w 84"/>
                <a:gd name="T21" fmla="*/ 117 h 117"/>
                <a:gd name="T22" fmla="*/ 24 w 84"/>
                <a:gd name="T23" fmla="*/ 108 h 117"/>
                <a:gd name="T24" fmla="*/ 60 w 84"/>
                <a:gd name="T25" fmla="*/ 108 h 117"/>
                <a:gd name="T26" fmla="*/ 75 w 84"/>
                <a:gd name="T27" fmla="*/ 9 h 117"/>
                <a:gd name="T28" fmla="*/ 9 w 84"/>
                <a:gd name="T29" fmla="*/ 9 h 117"/>
                <a:gd name="T30" fmla="*/ 24 w 84"/>
                <a:gd name="T31" fmla="*/ 10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117">
                  <a:moveTo>
                    <a:pt x="64" y="117"/>
                  </a:moveTo>
                  <a:cubicBezTo>
                    <a:pt x="20" y="117"/>
                    <a:pt x="20" y="117"/>
                    <a:pt x="20" y="117"/>
                  </a:cubicBezTo>
                  <a:cubicBezTo>
                    <a:pt x="18" y="117"/>
                    <a:pt x="16" y="115"/>
                    <a:pt x="16" y="11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2"/>
                    <a:pt x="1" y="2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0"/>
                    <a:pt x="82" y="1"/>
                    <a:pt x="83" y="2"/>
                  </a:cubicBezTo>
                  <a:cubicBezTo>
                    <a:pt x="84" y="2"/>
                    <a:pt x="84" y="4"/>
                    <a:pt x="84" y="5"/>
                  </a:cubicBezTo>
                  <a:cubicBezTo>
                    <a:pt x="68" y="113"/>
                    <a:pt x="68" y="113"/>
                    <a:pt x="68" y="113"/>
                  </a:cubicBezTo>
                  <a:cubicBezTo>
                    <a:pt x="68" y="115"/>
                    <a:pt x="66" y="117"/>
                    <a:pt x="64" y="117"/>
                  </a:cubicBezTo>
                  <a:close/>
                  <a:moveTo>
                    <a:pt x="24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24" y="10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0" name="Agrupar 1649">
            <a:extLst>
              <a:ext uri="{FF2B5EF4-FFF2-40B4-BE49-F238E27FC236}">
                <a16:creationId xmlns:a16="http://schemas.microsoft.com/office/drawing/2014/main" id="{CE3D4274-68F0-4926-B5F5-0B00B818A9FE}"/>
              </a:ext>
            </a:extLst>
          </p:cNvPr>
          <p:cNvGrpSpPr/>
          <p:nvPr/>
        </p:nvGrpSpPr>
        <p:grpSpPr>
          <a:xfrm>
            <a:off x="5176923" y="2338294"/>
            <a:ext cx="251652" cy="250388"/>
            <a:chOff x="5176923" y="2338294"/>
            <a:chExt cx="251652" cy="250388"/>
          </a:xfrm>
        </p:grpSpPr>
        <p:sp>
          <p:nvSpPr>
            <p:cNvPr id="1050" name="Freeform 1246">
              <a:extLst>
                <a:ext uri="{FF2B5EF4-FFF2-40B4-BE49-F238E27FC236}">
                  <a16:creationId xmlns:a16="http://schemas.microsoft.com/office/drawing/2014/main" id="{C606F47E-86A2-4C55-A36F-56A7ECEE25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923" y="2338294"/>
              <a:ext cx="251652" cy="250388"/>
            </a:xfrm>
            <a:custGeom>
              <a:avLst/>
              <a:gdLst>
                <a:gd name="T0" fmla="*/ 37 w 139"/>
                <a:gd name="T1" fmla="*/ 138 h 138"/>
                <a:gd name="T2" fmla="*/ 36 w 139"/>
                <a:gd name="T3" fmla="*/ 138 h 138"/>
                <a:gd name="T4" fmla="*/ 33 w 139"/>
                <a:gd name="T5" fmla="*/ 136 h 138"/>
                <a:gd name="T6" fmla="*/ 22 w 139"/>
                <a:gd name="T7" fmla="*/ 116 h 138"/>
                <a:gd name="T8" fmla="*/ 2 w 139"/>
                <a:gd name="T9" fmla="*/ 105 h 138"/>
                <a:gd name="T10" fmla="*/ 0 w 139"/>
                <a:gd name="T11" fmla="*/ 102 h 138"/>
                <a:gd name="T12" fmla="*/ 1 w 139"/>
                <a:gd name="T13" fmla="*/ 98 h 138"/>
                <a:gd name="T14" fmla="*/ 14 w 139"/>
                <a:gd name="T15" fmla="*/ 85 h 138"/>
                <a:gd name="T16" fmla="*/ 17 w 139"/>
                <a:gd name="T17" fmla="*/ 84 h 138"/>
                <a:gd name="T18" fmla="*/ 32 w 139"/>
                <a:gd name="T19" fmla="*/ 82 h 138"/>
                <a:gd name="T20" fmla="*/ 109 w 139"/>
                <a:gd name="T21" fmla="*/ 5 h 138"/>
                <a:gd name="T22" fmla="*/ 121 w 139"/>
                <a:gd name="T23" fmla="*/ 0 h 138"/>
                <a:gd name="T24" fmla="*/ 133 w 139"/>
                <a:gd name="T25" fmla="*/ 5 h 138"/>
                <a:gd name="T26" fmla="*/ 133 w 139"/>
                <a:gd name="T27" fmla="*/ 29 h 138"/>
                <a:gd name="T28" fmla="*/ 56 w 139"/>
                <a:gd name="T29" fmla="*/ 106 h 138"/>
                <a:gd name="T30" fmla="*/ 54 w 139"/>
                <a:gd name="T31" fmla="*/ 121 h 138"/>
                <a:gd name="T32" fmla="*/ 53 w 139"/>
                <a:gd name="T33" fmla="*/ 124 h 138"/>
                <a:gd name="T34" fmla="*/ 40 w 139"/>
                <a:gd name="T35" fmla="*/ 137 h 138"/>
                <a:gd name="T36" fmla="*/ 37 w 139"/>
                <a:gd name="T37" fmla="*/ 138 h 138"/>
                <a:gd name="T38" fmla="*/ 11 w 139"/>
                <a:gd name="T39" fmla="*/ 100 h 138"/>
                <a:gd name="T40" fmla="*/ 27 w 139"/>
                <a:gd name="T41" fmla="*/ 109 h 138"/>
                <a:gd name="T42" fmla="*/ 29 w 139"/>
                <a:gd name="T43" fmla="*/ 111 h 138"/>
                <a:gd name="T44" fmla="*/ 38 w 139"/>
                <a:gd name="T45" fmla="*/ 127 h 138"/>
                <a:gd name="T46" fmla="*/ 46 w 139"/>
                <a:gd name="T47" fmla="*/ 119 h 138"/>
                <a:gd name="T48" fmla="*/ 48 w 139"/>
                <a:gd name="T49" fmla="*/ 103 h 138"/>
                <a:gd name="T50" fmla="*/ 49 w 139"/>
                <a:gd name="T51" fmla="*/ 101 h 138"/>
                <a:gd name="T52" fmla="*/ 127 w 139"/>
                <a:gd name="T53" fmla="*/ 23 h 138"/>
                <a:gd name="T54" fmla="*/ 127 w 139"/>
                <a:gd name="T55" fmla="*/ 11 h 138"/>
                <a:gd name="T56" fmla="*/ 115 w 139"/>
                <a:gd name="T57" fmla="*/ 11 h 138"/>
                <a:gd name="T58" fmla="*/ 37 w 139"/>
                <a:gd name="T59" fmla="*/ 89 h 138"/>
                <a:gd name="T60" fmla="*/ 35 w 139"/>
                <a:gd name="T61" fmla="*/ 90 h 138"/>
                <a:gd name="T62" fmla="*/ 19 w 139"/>
                <a:gd name="T63" fmla="*/ 92 h 138"/>
                <a:gd name="T64" fmla="*/ 11 w 139"/>
                <a:gd name="T65" fmla="*/ 10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9" h="138">
                  <a:moveTo>
                    <a:pt x="37" y="138"/>
                  </a:moveTo>
                  <a:cubicBezTo>
                    <a:pt x="37" y="138"/>
                    <a:pt x="36" y="138"/>
                    <a:pt x="36" y="138"/>
                  </a:cubicBezTo>
                  <a:cubicBezTo>
                    <a:pt x="35" y="138"/>
                    <a:pt x="34" y="137"/>
                    <a:pt x="33" y="13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1" y="104"/>
                    <a:pt x="0" y="103"/>
                    <a:pt x="0" y="102"/>
                  </a:cubicBezTo>
                  <a:cubicBezTo>
                    <a:pt x="0" y="100"/>
                    <a:pt x="0" y="99"/>
                    <a:pt x="1" y="98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5" y="85"/>
                    <a:pt x="16" y="84"/>
                    <a:pt x="17" y="84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12" y="2"/>
                    <a:pt x="116" y="0"/>
                    <a:pt x="121" y="0"/>
                  </a:cubicBezTo>
                  <a:cubicBezTo>
                    <a:pt x="125" y="0"/>
                    <a:pt x="129" y="2"/>
                    <a:pt x="133" y="5"/>
                  </a:cubicBezTo>
                  <a:cubicBezTo>
                    <a:pt x="139" y="12"/>
                    <a:pt x="139" y="23"/>
                    <a:pt x="133" y="29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2"/>
                    <a:pt x="53" y="123"/>
                    <a:pt x="53" y="124"/>
                  </a:cubicBezTo>
                  <a:cubicBezTo>
                    <a:pt x="40" y="137"/>
                    <a:pt x="40" y="137"/>
                    <a:pt x="40" y="137"/>
                  </a:cubicBezTo>
                  <a:cubicBezTo>
                    <a:pt x="39" y="137"/>
                    <a:pt x="38" y="138"/>
                    <a:pt x="37" y="138"/>
                  </a:cubicBezTo>
                  <a:close/>
                  <a:moveTo>
                    <a:pt x="11" y="100"/>
                  </a:moveTo>
                  <a:cubicBezTo>
                    <a:pt x="27" y="109"/>
                    <a:pt x="27" y="109"/>
                    <a:pt x="27" y="109"/>
                  </a:cubicBezTo>
                  <a:cubicBezTo>
                    <a:pt x="28" y="109"/>
                    <a:pt x="29" y="110"/>
                    <a:pt x="29" y="111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8" y="102"/>
                    <a:pt x="49" y="101"/>
                    <a:pt x="49" y="101"/>
                  </a:cubicBezTo>
                  <a:cubicBezTo>
                    <a:pt x="127" y="23"/>
                    <a:pt x="127" y="23"/>
                    <a:pt x="127" y="23"/>
                  </a:cubicBezTo>
                  <a:cubicBezTo>
                    <a:pt x="130" y="20"/>
                    <a:pt x="130" y="15"/>
                    <a:pt x="127" y="11"/>
                  </a:cubicBezTo>
                  <a:cubicBezTo>
                    <a:pt x="123" y="8"/>
                    <a:pt x="118" y="8"/>
                    <a:pt x="115" y="11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89"/>
                    <a:pt x="36" y="90"/>
                    <a:pt x="35" y="90"/>
                  </a:cubicBezTo>
                  <a:cubicBezTo>
                    <a:pt x="19" y="92"/>
                    <a:pt x="19" y="92"/>
                    <a:pt x="19" y="92"/>
                  </a:cubicBezTo>
                  <a:lnTo>
                    <a:pt x="11" y="10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1" name="Freeform 1247">
              <a:extLst>
                <a:ext uri="{FF2B5EF4-FFF2-40B4-BE49-F238E27FC236}">
                  <a16:creationId xmlns:a16="http://schemas.microsoft.com/office/drawing/2014/main" id="{4CDC32CA-EA27-4857-9EF3-8E2EB6523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117" y="2431874"/>
              <a:ext cx="96108" cy="154279"/>
            </a:xfrm>
            <a:custGeom>
              <a:avLst/>
              <a:gdLst>
                <a:gd name="T0" fmla="*/ 34 w 53"/>
                <a:gd name="T1" fmla="*/ 85 h 85"/>
                <a:gd name="T2" fmla="*/ 33 w 53"/>
                <a:gd name="T3" fmla="*/ 85 h 85"/>
                <a:gd name="T4" fmla="*/ 30 w 53"/>
                <a:gd name="T5" fmla="*/ 83 h 85"/>
                <a:gd name="T6" fmla="*/ 1 w 53"/>
                <a:gd name="T7" fmla="*/ 32 h 85"/>
                <a:gd name="T8" fmla="*/ 3 w 53"/>
                <a:gd name="T9" fmla="*/ 26 h 85"/>
                <a:gd name="T10" fmla="*/ 9 w 53"/>
                <a:gd name="T11" fmla="*/ 28 h 85"/>
                <a:gd name="T12" fmla="*/ 35 w 53"/>
                <a:gd name="T13" fmla="*/ 74 h 85"/>
                <a:gd name="T14" fmla="*/ 43 w 53"/>
                <a:gd name="T15" fmla="*/ 65 h 85"/>
                <a:gd name="T16" fmla="*/ 26 w 53"/>
                <a:gd name="T17" fmla="*/ 6 h 85"/>
                <a:gd name="T18" fmla="*/ 29 w 53"/>
                <a:gd name="T19" fmla="*/ 1 h 85"/>
                <a:gd name="T20" fmla="*/ 34 w 53"/>
                <a:gd name="T21" fmla="*/ 4 h 85"/>
                <a:gd name="T22" fmla="*/ 52 w 53"/>
                <a:gd name="T23" fmla="*/ 65 h 85"/>
                <a:gd name="T24" fmla="*/ 51 w 53"/>
                <a:gd name="T25" fmla="*/ 69 h 85"/>
                <a:gd name="T26" fmla="*/ 37 w 53"/>
                <a:gd name="T27" fmla="*/ 84 h 85"/>
                <a:gd name="T28" fmla="*/ 34 w 53"/>
                <a:gd name="T2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85">
                  <a:moveTo>
                    <a:pt x="34" y="85"/>
                  </a:moveTo>
                  <a:cubicBezTo>
                    <a:pt x="33" y="85"/>
                    <a:pt x="33" y="85"/>
                    <a:pt x="33" y="85"/>
                  </a:cubicBezTo>
                  <a:cubicBezTo>
                    <a:pt x="32" y="85"/>
                    <a:pt x="31" y="84"/>
                    <a:pt x="30" y="8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0"/>
                    <a:pt x="1" y="28"/>
                    <a:pt x="3" y="26"/>
                  </a:cubicBezTo>
                  <a:cubicBezTo>
                    <a:pt x="5" y="25"/>
                    <a:pt x="7" y="26"/>
                    <a:pt x="9" y="28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4"/>
                    <a:pt x="27" y="1"/>
                    <a:pt x="29" y="1"/>
                  </a:cubicBezTo>
                  <a:cubicBezTo>
                    <a:pt x="31" y="0"/>
                    <a:pt x="34" y="1"/>
                    <a:pt x="34" y="4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3" y="66"/>
                    <a:pt x="52" y="68"/>
                    <a:pt x="51" y="69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36" y="84"/>
                    <a:pt x="35" y="85"/>
                    <a:pt x="34" y="8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2" name="Freeform 1248">
              <a:extLst>
                <a:ext uri="{FF2B5EF4-FFF2-40B4-BE49-F238E27FC236}">
                  <a16:creationId xmlns:a16="http://schemas.microsoft.com/office/drawing/2014/main" id="{D7827BAC-D816-43E2-B911-2DD92BD78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452" y="2367380"/>
              <a:ext cx="153015" cy="93579"/>
            </a:xfrm>
            <a:custGeom>
              <a:avLst/>
              <a:gdLst>
                <a:gd name="T0" fmla="*/ 55 w 85"/>
                <a:gd name="T1" fmla="*/ 52 h 52"/>
                <a:gd name="T2" fmla="*/ 53 w 85"/>
                <a:gd name="T3" fmla="*/ 52 h 52"/>
                <a:gd name="T4" fmla="*/ 2 w 85"/>
                <a:gd name="T5" fmla="*/ 23 h 52"/>
                <a:gd name="T6" fmla="*/ 0 w 85"/>
                <a:gd name="T7" fmla="*/ 20 h 52"/>
                <a:gd name="T8" fmla="*/ 1 w 85"/>
                <a:gd name="T9" fmla="*/ 16 h 52"/>
                <a:gd name="T10" fmla="*/ 16 w 85"/>
                <a:gd name="T11" fmla="*/ 2 h 52"/>
                <a:gd name="T12" fmla="*/ 20 w 85"/>
                <a:gd name="T13" fmla="*/ 1 h 52"/>
                <a:gd name="T14" fmla="*/ 81 w 85"/>
                <a:gd name="T15" fmla="*/ 19 h 52"/>
                <a:gd name="T16" fmla="*/ 84 w 85"/>
                <a:gd name="T17" fmla="*/ 24 h 52"/>
                <a:gd name="T18" fmla="*/ 79 w 85"/>
                <a:gd name="T19" fmla="*/ 27 h 52"/>
                <a:gd name="T20" fmla="*/ 20 w 85"/>
                <a:gd name="T21" fmla="*/ 10 h 52"/>
                <a:gd name="T22" fmla="*/ 11 w 85"/>
                <a:gd name="T23" fmla="*/ 18 h 52"/>
                <a:gd name="T24" fmla="*/ 57 w 85"/>
                <a:gd name="T25" fmla="*/ 44 h 52"/>
                <a:gd name="T26" fmla="*/ 59 w 85"/>
                <a:gd name="T27" fmla="*/ 50 h 52"/>
                <a:gd name="T28" fmla="*/ 55 w 85"/>
                <a:gd name="T2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52">
                  <a:moveTo>
                    <a:pt x="55" y="52"/>
                  </a:moveTo>
                  <a:cubicBezTo>
                    <a:pt x="54" y="52"/>
                    <a:pt x="53" y="52"/>
                    <a:pt x="53" y="5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1" y="22"/>
                    <a:pt x="0" y="21"/>
                    <a:pt x="0" y="20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1"/>
                    <a:pt x="19" y="0"/>
                    <a:pt x="20" y="1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4" y="19"/>
                    <a:pt x="85" y="22"/>
                    <a:pt x="84" y="24"/>
                  </a:cubicBezTo>
                  <a:cubicBezTo>
                    <a:pt x="83" y="26"/>
                    <a:pt x="81" y="28"/>
                    <a:pt x="79" y="27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9" y="46"/>
                    <a:pt x="60" y="48"/>
                    <a:pt x="59" y="50"/>
                  </a:cubicBezTo>
                  <a:cubicBezTo>
                    <a:pt x="58" y="52"/>
                    <a:pt x="56" y="52"/>
                    <a:pt x="55" y="5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26" name="Agrupar 1625">
            <a:extLst>
              <a:ext uri="{FF2B5EF4-FFF2-40B4-BE49-F238E27FC236}">
                <a16:creationId xmlns:a16="http://schemas.microsoft.com/office/drawing/2014/main" id="{7C683ECA-816A-4923-9194-276000929C3A}"/>
              </a:ext>
            </a:extLst>
          </p:cNvPr>
          <p:cNvGrpSpPr/>
          <p:nvPr/>
        </p:nvGrpSpPr>
        <p:grpSpPr>
          <a:xfrm>
            <a:off x="4801341" y="722154"/>
            <a:ext cx="246595" cy="259240"/>
            <a:chOff x="4801341" y="722154"/>
            <a:chExt cx="246595" cy="259240"/>
          </a:xfrm>
        </p:grpSpPr>
        <p:sp>
          <p:nvSpPr>
            <p:cNvPr id="1053" name="Freeform 1249">
              <a:extLst>
                <a:ext uri="{FF2B5EF4-FFF2-40B4-BE49-F238E27FC236}">
                  <a16:creationId xmlns:a16="http://schemas.microsoft.com/office/drawing/2014/main" id="{8522C6E5-9127-4958-8D4A-C50A17F3B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1341" y="722154"/>
              <a:ext cx="233948" cy="246594"/>
            </a:xfrm>
            <a:custGeom>
              <a:avLst/>
              <a:gdLst>
                <a:gd name="T0" fmla="*/ 24 w 129"/>
                <a:gd name="T1" fmla="*/ 136 h 136"/>
                <a:gd name="T2" fmla="*/ 21 w 129"/>
                <a:gd name="T3" fmla="*/ 134 h 136"/>
                <a:gd name="T4" fmla="*/ 0 w 129"/>
                <a:gd name="T5" fmla="*/ 82 h 136"/>
                <a:gd name="T6" fmla="*/ 21 w 129"/>
                <a:gd name="T7" fmla="*/ 29 h 136"/>
                <a:gd name="T8" fmla="*/ 127 w 129"/>
                <a:gd name="T9" fmla="*/ 29 h 136"/>
                <a:gd name="T10" fmla="*/ 127 w 129"/>
                <a:gd name="T11" fmla="*/ 35 h 136"/>
                <a:gd name="T12" fmla="*/ 121 w 129"/>
                <a:gd name="T13" fmla="*/ 35 h 136"/>
                <a:gd name="T14" fmla="*/ 27 w 129"/>
                <a:gd name="T15" fmla="*/ 35 h 136"/>
                <a:gd name="T16" fmla="*/ 8 w 129"/>
                <a:gd name="T17" fmla="*/ 82 h 136"/>
                <a:gd name="T18" fmla="*/ 27 w 129"/>
                <a:gd name="T19" fmla="*/ 128 h 136"/>
                <a:gd name="T20" fmla="*/ 27 w 129"/>
                <a:gd name="T21" fmla="*/ 134 h 136"/>
                <a:gd name="T22" fmla="*/ 24 w 129"/>
                <a:gd name="T2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9" h="136">
                  <a:moveTo>
                    <a:pt x="24" y="136"/>
                  </a:moveTo>
                  <a:cubicBezTo>
                    <a:pt x="23" y="136"/>
                    <a:pt x="22" y="135"/>
                    <a:pt x="21" y="134"/>
                  </a:cubicBezTo>
                  <a:cubicBezTo>
                    <a:pt x="7" y="120"/>
                    <a:pt x="0" y="102"/>
                    <a:pt x="0" y="82"/>
                  </a:cubicBezTo>
                  <a:cubicBezTo>
                    <a:pt x="0" y="62"/>
                    <a:pt x="7" y="43"/>
                    <a:pt x="21" y="29"/>
                  </a:cubicBezTo>
                  <a:cubicBezTo>
                    <a:pt x="51" y="0"/>
                    <a:pt x="98" y="0"/>
                    <a:pt x="127" y="29"/>
                  </a:cubicBezTo>
                  <a:cubicBezTo>
                    <a:pt x="129" y="31"/>
                    <a:pt x="129" y="33"/>
                    <a:pt x="127" y="35"/>
                  </a:cubicBezTo>
                  <a:cubicBezTo>
                    <a:pt x="125" y="37"/>
                    <a:pt x="123" y="37"/>
                    <a:pt x="121" y="35"/>
                  </a:cubicBezTo>
                  <a:cubicBezTo>
                    <a:pt x="95" y="9"/>
                    <a:pt x="53" y="9"/>
                    <a:pt x="27" y="35"/>
                  </a:cubicBezTo>
                  <a:cubicBezTo>
                    <a:pt x="15" y="47"/>
                    <a:pt x="8" y="64"/>
                    <a:pt x="8" y="82"/>
                  </a:cubicBezTo>
                  <a:cubicBezTo>
                    <a:pt x="8" y="99"/>
                    <a:pt x="15" y="116"/>
                    <a:pt x="27" y="128"/>
                  </a:cubicBezTo>
                  <a:cubicBezTo>
                    <a:pt x="29" y="130"/>
                    <a:pt x="29" y="133"/>
                    <a:pt x="27" y="134"/>
                  </a:cubicBezTo>
                  <a:cubicBezTo>
                    <a:pt x="27" y="135"/>
                    <a:pt x="26" y="136"/>
                    <a:pt x="24" y="1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4" name="Freeform 1250">
              <a:extLst>
                <a:ext uri="{FF2B5EF4-FFF2-40B4-BE49-F238E27FC236}">
                  <a16:creationId xmlns:a16="http://schemas.microsoft.com/office/drawing/2014/main" id="{BF4BD2D9-3787-4954-BF36-F6CAF54A9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1477" y="853671"/>
              <a:ext cx="126459" cy="127723"/>
            </a:xfrm>
            <a:custGeom>
              <a:avLst/>
              <a:gdLst>
                <a:gd name="T0" fmla="*/ 66 w 70"/>
                <a:gd name="T1" fmla="*/ 70 h 70"/>
                <a:gd name="T2" fmla="*/ 62 w 70"/>
                <a:gd name="T3" fmla="*/ 69 h 70"/>
                <a:gd name="T4" fmla="*/ 1 w 70"/>
                <a:gd name="T5" fmla="*/ 8 h 70"/>
                <a:gd name="T6" fmla="*/ 1 w 70"/>
                <a:gd name="T7" fmla="*/ 2 h 70"/>
                <a:gd name="T8" fmla="*/ 7 w 70"/>
                <a:gd name="T9" fmla="*/ 2 h 70"/>
                <a:gd name="T10" fmla="*/ 69 w 70"/>
                <a:gd name="T11" fmla="*/ 63 h 70"/>
                <a:gd name="T12" fmla="*/ 69 w 70"/>
                <a:gd name="T13" fmla="*/ 69 h 70"/>
                <a:gd name="T14" fmla="*/ 66 w 70"/>
                <a:gd name="T1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0">
                  <a:moveTo>
                    <a:pt x="66" y="70"/>
                  </a:moveTo>
                  <a:cubicBezTo>
                    <a:pt x="64" y="70"/>
                    <a:pt x="63" y="70"/>
                    <a:pt x="62" y="6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0" y="65"/>
                    <a:pt x="70" y="67"/>
                    <a:pt x="69" y="69"/>
                  </a:cubicBezTo>
                  <a:cubicBezTo>
                    <a:pt x="68" y="70"/>
                    <a:pt x="67" y="70"/>
                    <a:pt x="66" y="7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5" name="Freeform 1251">
              <a:extLst>
                <a:ext uri="{FF2B5EF4-FFF2-40B4-BE49-F238E27FC236}">
                  <a16:creationId xmlns:a16="http://schemas.microsoft.com/office/drawing/2014/main" id="{65E5F24F-144A-414C-90AD-077D06368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3987" y="748710"/>
              <a:ext cx="165661" cy="163132"/>
            </a:xfrm>
            <a:custGeom>
              <a:avLst/>
              <a:gdLst>
                <a:gd name="T0" fmla="*/ 48 w 91"/>
                <a:gd name="T1" fmla="*/ 90 h 90"/>
                <a:gd name="T2" fmla="*/ 45 w 91"/>
                <a:gd name="T3" fmla="*/ 89 h 90"/>
                <a:gd name="T4" fmla="*/ 14 w 91"/>
                <a:gd name="T5" fmla="*/ 14 h 90"/>
                <a:gd name="T6" fmla="*/ 89 w 91"/>
                <a:gd name="T7" fmla="*/ 45 h 90"/>
                <a:gd name="T8" fmla="*/ 89 w 91"/>
                <a:gd name="T9" fmla="*/ 51 h 90"/>
                <a:gd name="T10" fmla="*/ 83 w 91"/>
                <a:gd name="T11" fmla="*/ 51 h 90"/>
                <a:gd name="T12" fmla="*/ 20 w 91"/>
                <a:gd name="T13" fmla="*/ 20 h 90"/>
                <a:gd name="T14" fmla="*/ 51 w 91"/>
                <a:gd name="T15" fmla="*/ 83 h 90"/>
                <a:gd name="T16" fmla="*/ 51 w 91"/>
                <a:gd name="T17" fmla="*/ 89 h 90"/>
                <a:gd name="T18" fmla="*/ 48 w 91"/>
                <a:gd name="T1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0">
                  <a:moveTo>
                    <a:pt x="48" y="90"/>
                  </a:moveTo>
                  <a:cubicBezTo>
                    <a:pt x="47" y="90"/>
                    <a:pt x="46" y="90"/>
                    <a:pt x="45" y="89"/>
                  </a:cubicBezTo>
                  <a:cubicBezTo>
                    <a:pt x="19" y="63"/>
                    <a:pt x="0" y="28"/>
                    <a:pt x="14" y="14"/>
                  </a:cubicBezTo>
                  <a:cubicBezTo>
                    <a:pt x="29" y="0"/>
                    <a:pt x="64" y="19"/>
                    <a:pt x="89" y="45"/>
                  </a:cubicBezTo>
                  <a:cubicBezTo>
                    <a:pt x="91" y="46"/>
                    <a:pt x="91" y="49"/>
                    <a:pt x="89" y="51"/>
                  </a:cubicBezTo>
                  <a:cubicBezTo>
                    <a:pt x="88" y="52"/>
                    <a:pt x="85" y="52"/>
                    <a:pt x="83" y="51"/>
                  </a:cubicBezTo>
                  <a:cubicBezTo>
                    <a:pt x="56" y="23"/>
                    <a:pt x="28" y="12"/>
                    <a:pt x="20" y="20"/>
                  </a:cubicBezTo>
                  <a:cubicBezTo>
                    <a:pt x="13" y="28"/>
                    <a:pt x="24" y="55"/>
                    <a:pt x="51" y="83"/>
                  </a:cubicBezTo>
                  <a:cubicBezTo>
                    <a:pt x="53" y="84"/>
                    <a:pt x="53" y="87"/>
                    <a:pt x="51" y="89"/>
                  </a:cubicBezTo>
                  <a:cubicBezTo>
                    <a:pt x="50" y="90"/>
                    <a:pt x="49" y="90"/>
                    <a:pt x="48" y="9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6" name="Freeform 1252">
              <a:extLst>
                <a:ext uri="{FF2B5EF4-FFF2-40B4-BE49-F238E27FC236}">
                  <a16:creationId xmlns:a16="http://schemas.microsoft.com/office/drawing/2014/main" id="{C23FF71F-D6E8-4585-8757-EE9FAC9EF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427" y="763885"/>
              <a:ext cx="198540" cy="197275"/>
            </a:xfrm>
            <a:custGeom>
              <a:avLst/>
              <a:gdLst>
                <a:gd name="T0" fmla="*/ 5 w 109"/>
                <a:gd name="T1" fmla="*/ 109 h 109"/>
                <a:gd name="T2" fmla="*/ 2 w 109"/>
                <a:gd name="T3" fmla="*/ 108 h 109"/>
                <a:gd name="T4" fmla="*/ 2 w 109"/>
                <a:gd name="T5" fmla="*/ 102 h 109"/>
                <a:gd name="T6" fmla="*/ 101 w 109"/>
                <a:gd name="T7" fmla="*/ 2 h 109"/>
                <a:gd name="T8" fmla="*/ 107 w 109"/>
                <a:gd name="T9" fmla="*/ 2 h 109"/>
                <a:gd name="T10" fmla="*/ 107 w 109"/>
                <a:gd name="T11" fmla="*/ 8 h 109"/>
                <a:gd name="T12" fmla="*/ 8 w 109"/>
                <a:gd name="T13" fmla="*/ 108 h 109"/>
                <a:gd name="T14" fmla="*/ 5 w 109"/>
                <a:gd name="T1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" h="109">
                  <a:moveTo>
                    <a:pt x="5" y="109"/>
                  </a:moveTo>
                  <a:cubicBezTo>
                    <a:pt x="4" y="109"/>
                    <a:pt x="2" y="108"/>
                    <a:pt x="2" y="108"/>
                  </a:cubicBezTo>
                  <a:cubicBezTo>
                    <a:pt x="0" y="106"/>
                    <a:pt x="0" y="103"/>
                    <a:pt x="2" y="10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3" y="0"/>
                    <a:pt x="105" y="0"/>
                    <a:pt x="107" y="2"/>
                  </a:cubicBezTo>
                  <a:cubicBezTo>
                    <a:pt x="109" y="4"/>
                    <a:pt x="109" y="6"/>
                    <a:pt x="107" y="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7" y="108"/>
                    <a:pt x="6" y="109"/>
                    <a:pt x="5" y="10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7" name="Freeform 1253">
              <a:extLst>
                <a:ext uri="{FF2B5EF4-FFF2-40B4-BE49-F238E27FC236}">
                  <a16:creationId xmlns:a16="http://schemas.microsoft.com/office/drawing/2014/main" id="{7FCA76FC-6328-4C01-9633-2E5A19647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427" y="763885"/>
              <a:ext cx="24027" cy="22763"/>
            </a:xfrm>
            <a:custGeom>
              <a:avLst/>
              <a:gdLst>
                <a:gd name="T0" fmla="*/ 8 w 13"/>
                <a:gd name="T1" fmla="*/ 13 h 13"/>
                <a:gd name="T2" fmla="*/ 5 w 13"/>
                <a:gd name="T3" fmla="*/ 12 h 13"/>
                <a:gd name="T4" fmla="*/ 2 w 13"/>
                <a:gd name="T5" fmla="*/ 8 h 13"/>
                <a:gd name="T6" fmla="*/ 2 w 13"/>
                <a:gd name="T7" fmla="*/ 2 h 13"/>
                <a:gd name="T8" fmla="*/ 8 w 13"/>
                <a:gd name="T9" fmla="*/ 2 h 13"/>
                <a:gd name="T10" fmla="*/ 11 w 13"/>
                <a:gd name="T11" fmla="*/ 6 h 13"/>
                <a:gd name="T12" fmla="*/ 11 w 13"/>
                <a:gd name="T13" fmla="*/ 12 h 13"/>
                <a:gd name="T14" fmla="*/ 8 w 13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3">
                  <a:moveTo>
                    <a:pt x="8" y="13"/>
                  </a:moveTo>
                  <a:cubicBezTo>
                    <a:pt x="7" y="13"/>
                    <a:pt x="6" y="13"/>
                    <a:pt x="5" y="1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3" y="8"/>
                    <a:pt x="13" y="10"/>
                    <a:pt x="11" y="12"/>
                  </a:cubicBezTo>
                  <a:cubicBezTo>
                    <a:pt x="11" y="13"/>
                    <a:pt x="10" y="13"/>
                    <a:pt x="8" y="1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8" name="Agrupar 1637">
            <a:extLst>
              <a:ext uri="{FF2B5EF4-FFF2-40B4-BE49-F238E27FC236}">
                <a16:creationId xmlns:a16="http://schemas.microsoft.com/office/drawing/2014/main" id="{B93CA78D-F805-4C16-9E27-C96FE2E8F50E}"/>
              </a:ext>
            </a:extLst>
          </p:cNvPr>
          <p:cNvGrpSpPr/>
          <p:nvPr/>
        </p:nvGrpSpPr>
        <p:grpSpPr>
          <a:xfrm>
            <a:off x="4788696" y="1207755"/>
            <a:ext cx="270621" cy="163132"/>
            <a:chOff x="4788696" y="1207755"/>
            <a:chExt cx="270621" cy="163132"/>
          </a:xfrm>
        </p:grpSpPr>
        <p:sp>
          <p:nvSpPr>
            <p:cNvPr id="1058" name="Freeform 1254">
              <a:extLst>
                <a:ext uri="{FF2B5EF4-FFF2-40B4-BE49-F238E27FC236}">
                  <a16:creationId xmlns:a16="http://schemas.microsoft.com/office/drawing/2014/main" id="{891EC4F6-BF2A-4ACB-A3B0-CD8C0AFFF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5854" y="1286159"/>
              <a:ext cx="34144" cy="35408"/>
            </a:xfrm>
            <a:custGeom>
              <a:avLst/>
              <a:gdLst>
                <a:gd name="T0" fmla="*/ 4 w 19"/>
                <a:gd name="T1" fmla="*/ 20 h 20"/>
                <a:gd name="T2" fmla="*/ 0 w 19"/>
                <a:gd name="T3" fmla="*/ 15 h 20"/>
                <a:gd name="T4" fmla="*/ 15 w 19"/>
                <a:gd name="T5" fmla="*/ 0 h 20"/>
                <a:gd name="T6" fmla="*/ 19 w 19"/>
                <a:gd name="T7" fmla="*/ 5 h 20"/>
                <a:gd name="T8" fmla="*/ 15 w 19"/>
                <a:gd name="T9" fmla="*/ 9 h 20"/>
                <a:gd name="T10" fmla="*/ 8 w 19"/>
                <a:gd name="T11" fmla="*/ 15 h 20"/>
                <a:gd name="T12" fmla="*/ 4 w 19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4" y="20"/>
                  </a:moveTo>
                  <a:cubicBezTo>
                    <a:pt x="2" y="20"/>
                    <a:pt x="0" y="18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7" y="0"/>
                    <a:pt x="19" y="2"/>
                    <a:pt x="19" y="5"/>
                  </a:cubicBezTo>
                  <a:cubicBezTo>
                    <a:pt x="19" y="7"/>
                    <a:pt x="17" y="9"/>
                    <a:pt x="15" y="9"/>
                  </a:cubicBezTo>
                  <a:cubicBezTo>
                    <a:pt x="11" y="9"/>
                    <a:pt x="8" y="12"/>
                    <a:pt x="8" y="15"/>
                  </a:cubicBezTo>
                  <a:cubicBezTo>
                    <a:pt x="8" y="18"/>
                    <a:pt x="6" y="20"/>
                    <a:pt x="4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9" name="Freeform 1255">
              <a:extLst>
                <a:ext uri="{FF2B5EF4-FFF2-40B4-BE49-F238E27FC236}">
                  <a16:creationId xmlns:a16="http://schemas.microsoft.com/office/drawing/2014/main" id="{D79642FF-DBE2-4F4A-B574-1FD0B49B0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7781" y="1286159"/>
              <a:ext cx="36673" cy="35408"/>
            </a:xfrm>
            <a:custGeom>
              <a:avLst/>
              <a:gdLst>
                <a:gd name="T0" fmla="*/ 5 w 20"/>
                <a:gd name="T1" fmla="*/ 20 h 20"/>
                <a:gd name="T2" fmla="*/ 0 w 20"/>
                <a:gd name="T3" fmla="*/ 15 h 20"/>
                <a:gd name="T4" fmla="*/ 15 w 20"/>
                <a:gd name="T5" fmla="*/ 0 h 20"/>
                <a:gd name="T6" fmla="*/ 20 w 20"/>
                <a:gd name="T7" fmla="*/ 5 h 20"/>
                <a:gd name="T8" fmla="*/ 15 w 20"/>
                <a:gd name="T9" fmla="*/ 9 h 20"/>
                <a:gd name="T10" fmla="*/ 9 w 20"/>
                <a:gd name="T11" fmla="*/ 15 h 20"/>
                <a:gd name="T12" fmla="*/ 5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5" y="20"/>
                  </a:moveTo>
                  <a:cubicBezTo>
                    <a:pt x="2" y="20"/>
                    <a:pt x="0" y="18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8" y="0"/>
                    <a:pt x="20" y="2"/>
                    <a:pt x="20" y="5"/>
                  </a:cubicBezTo>
                  <a:cubicBezTo>
                    <a:pt x="20" y="7"/>
                    <a:pt x="18" y="9"/>
                    <a:pt x="15" y="9"/>
                  </a:cubicBezTo>
                  <a:cubicBezTo>
                    <a:pt x="12" y="9"/>
                    <a:pt x="9" y="12"/>
                    <a:pt x="9" y="15"/>
                  </a:cubicBezTo>
                  <a:cubicBezTo>
                    <a:pt x="9" y="18"/>
                    <a:pt x="7" y="20"/>
                    <a:pt x="5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0" name="Freeform 1256">
              <a:extLst>
                <a:ext uri="{FF2B5EF4-FFF2-40B4-BE49-F238E27FC236}">
                  <a16:creationId xmlns:a16="http://schemas.microsoft.com/office/drawing/2014/main" id="{7C8F7820-CACB-473C-B907-82419A175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602" y="1229253"/>
              <a:ext cx="68288" cy="44260"/>
            </a:xfrm>
            <a:custGeom>
              <a:avLst/>
              <a:gdLst>
                <a:gd name="T0" fmla="*/ 5 w 38"/>
                <a:gd name="T1" fmla="*/ 24 h 24"/>
                <a:gd name="T2" fmla="*/ 2 w 38"/>
                <a:gd name="T3" fmla="*/ 23 h 24"/>
                <a:gd name="T4" fmla="*/ 2 w 38"/>
                <a:gd name="T5" fmla="*/ 17 h 24"/>
                <a:gd name="T6" fmla="*/ 32 w 38"/>
                <a:gd name="T7" fmla="*/ 0 h 24"/>
                <a:gd name="T8" fmla="*/ 37 w 38"/>
                <a:gd name="T9" fmla="*/ 3 h 24"/>
                <a:gd name="T10" fmla="*/ 34 w 38"/>
                <a:gd name="T11" fmla="*/ 8 h 24"/>
                <a:gd name="T12" fmla="*/ 8 w 38"/>
                <a:gd name="T13" fmla="*/ 23 h 24"/>
                <a:gd name="T14" fmla="*/ 5 w 38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4">
                  <a:moveTo>
                    <a:pt x="5" y="24"/>
                  </a:moveTo>
                  <a:cubicBezTo>
                    <a:pt x="4" y="24"/>
                    <a:pt x="3" y="24"/>
                    <a:pt x="2" y="23"/>
                  </a:cubicBezTo>
                  <a:cubicBezTo>
                    <a:pt x="0" y="21"/>
                    <a:pt x="0" y="19"/>
                    <a:pt x="2" y="17"/>
                  </a:cubicBezTo>
                  <a:cubicBezTo>
                    <a:pt x="10" y="8"/>
                    <a:pt x="20" y="2"/>
                    <a:pt x="32" y="0"/>
                  </a:cubicBezTo>
                  <a:cubicBezTo>
                    <a:pt x="34" y="0"/>
                    <a:pt x="37" y="1"/>
                    <a:pt x="37" y="3"/>
                  </a:cubicBezTo>
                  <a:cubicBezTo>
                    <a:pt x="38" y="6"/>
                    <a:pt x="36" y="8"/>
                    <a:pt x="34" y="8"/>
                  </a:cubicBezTo>
                  <a:cubicBezTo>
                    <a:pt x="24" y="10"/>
                    <a:pt x="15" y="15"/>
                    <a:pt x="8" y="23"/>
                  </a:cubicBezTo>
                  <a:cubicBezTo>
                    <a:pt x="7" y="24"/>
                    <a:pt x="6" y="24"/>
                    <a:pt x="5" y="2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1" name="Freeform 1257">
              <a:extLst>
                <a:ext uri="{FF2B5EF4-FFF2-40B4-BE49-F238E27FC236}">
                  <a16:creationId xmlns:a16="http://schemas.microsoft.com/office/drawing/2014/main" id="{DD7BAFD7-F34A-491E-B9AE-1835B997F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5387" y="1229253"/>
              <a:ext cx="67023" cy="44260"/>
            </a:xfrm>
            <a:custGeom>
              <a:avLst/>
              <a:gdLst>
                <a:gd name="T0" fmla="*/ 33 w 37"/>
                <a:gd name="T1" fmla="*/ 24 h 24"/>
                <a:gd name="T2" fmla="*/ 30 w 37"/>
                <a:gd name="T3" fmla="*/ 23 h 24"/>
                <a:gd name="T4" fmla="*/ 4 w 37"/>
                <a:gd name="T5" fmla="*/ 8 h 24"/>
                <a:gd name="T6" fmla="*/ 0 w 37"/>
                <a:gd name="T7" fmla="*/ 3 h 24"/>
                <a:gd name="T8" fmla="*/ 5 w 37"/>
                <a:gd name="T9" fmla="*/ 0 h 24"/>
                <a:gd name="T10" fmla="*/ 36 w 37"/>
                <a:gd name="T11" fmla="*/ 17 h 24"/>
                <a:gd name="T12" fmla="*/ 36 w 37"/>
                <a:gd name="T13" fmla="*/ 23 h 24"/>
                <a:gd name="T14" fmla="*/ 33 w 37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4">
                  <a:moveTo>
                    <a:pt x="33" y="24"/>
                  </a:moveTo>
                  <a:cubicBezTo>
                    <a:pt x="32" y="24"/>
                    <a:pt x="30" y="24"/>
                    <a:pt x="30" y="23"/>
                  </a:cubicBezTo>
                  <a:cubicBezTo>
                    <a:pt x="23" y="15"/>
                    <a:pt x="14" y="10"/>
                    <a:pt x="4" y="8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17" y="2"/>
                    <a:pt x="27" y="8"/>
                    <a:pt x="36" y="17"/>
                  </a:cubicBezTo>
                  <a:cubicBezTo>
                    <a:pt x="37" y="19"/>
                    <a:pt x="37" y="21"/>
                    <a:pt x="36" y="23"/>
                  </a:cubicBezTo>
                  <a:cubicBezTo>
                    <a:pt x="35" y="24"/>
                    <a:pt x="34" y="24"/>
                    <a:pt x="33" y="2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2" name="Freeform 1258">
              <a:extLst>
                <a:ext uri="{FF2B5EF4-FFF2-40B4-BE49-F238E27FC236}">
                  <a16:creationId xmlns:a16="http://schemas.microsoft.com/office/drawing/2014/main" id="{53056562-5367-4FBC-9A6C-0447883BD8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7450" y="1207755"/>
              <a:ext cx="54377" cy="54377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15 w 30"/>
                <a:gd name="T9" fmla="*/ 30 h 30"/>
                <a:gd name="T10" fmla="*/ 15 w 30"/>
                <a:gd name="T11" fmla="*/ 9 h 30"/>
                <a:gd name="T12" fmla="*/ 8 w 30"/>
                <a:gd name="T13" fmla="*/ 15 h 30"/>
                <a:gd name="T14" fmla="*/ 15 w 30"/>
                <a:gd name="T15" fmla="*/ 22 h 30"/>
                <a:gd name="T16" fmla="*/ 21 w 30"/>
                <a:gd name="T17" fmla="*/ 15 h 30"/>
                <a:gd name="T18" fmla="*/ 15 w 30"/>
                <a:gd name="T19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  <a:moveTo>
                    <a:pt x="15" y="9"/>
                  </a:moveTo>
                  <a:cubicBezTo>
                    <a:pt x="11" y="9"/>
                    <a:pt x="8" y="12"/>
                    <a:pt x="8" y="15"/>
                  </a:cubicBezTo>
                  <a:cubicBezTo>
                    <a:pt x="8" y="19"/>
                    <a:pt x="11" y="22"/>
                    <a:pt x="15" y="22"/>
                  </a:cubicBezTo>
                  <a:cubicBezTo>
                    <a:pt x="18" y="22"/>
                    <a:pt x="21" y="19"/>
                    <a:pt x="21" y="15"/>
                  </a:cubicBezTo>
                  <a:cubicBezTo>
                    <a:pt x="21" y="12"/>
                    <a:pt x="18" y="9"/>
                    <a:pt x="15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3" name="Freeform 1259">
              <a:extLst>
                <a:ext uri="{FF2B5EF4-FFF2-40B4-BE49-F238E27FC236}">
                  <a16:creationId xmlns:a16="http://schemas.microsoft.com/office/drawing/2014/main" id="{426708C4-CD75-44A0-9830-62A98E58FB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8696" y="1257074"/>
              <a:ext cx="115077" cy="113813"/>
            </a:xfrm>
            <a:custGeom>
              <a:avLst/>
              <a:gdLst>
                <a:gd name="T0" fmla="*/ 31 w 63"/>
                <a:gd name="T1" fmla="*/ 63 h 63"/>
                <a:gd name="T2" fmla="*/ 0 w 63"/>
                <a:gd name="T3" fmla="*/ 31 h 63"/>
                <a:gd name="T4" fmla="*/ 31 w 63"/>
                <a:gd name="T5" fmla="*/ 0 h 63"/>
                <a:gd name="T6" fmla="*/ 63 w 63"/>
                <a:gd name="T7" fmla="*/ 31 h 63"/>
                <a:gd name="T8" fmla="*/ 31 w 63"/>
                <a:gd name="T9" fmla="*/ 63 h 63"/>
                <a:gd name="T10" fmla="*/ 31 w 63"/>
                <a:gd name="T11" fmla="*/ 9 h 63"/>
                <a:gd name="T12" fmla="*/ 9 w 63"/>
                <a:gd name="T13" fmla="*/ 31 h 63"/>
                <a:gd name="T14" fmla="*/ 31 w 63"/>
                <a:gd name="T15" fmla="*/ 54 h 63"/>
                <a:gd name="T16" fmla="*/ 54 w 63"/>
                <a:gd name="T17" fmla="*/ 31 h 63"/>
                <a:gd name="T18" fmla="*/ 31 w 63"/>
                <a:gd name="T19" fmla="*/ 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1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9"/>
                    <a:pt x="49" y="63"/>
                    <a:pt x="31" y="63"/>
                  </a:cubicBezTo>
                  <a:close/>
                  <a:moveTo>
                    <a:pt x="31" y="9"/>
                  </a:moveTo>
                  <a:cubicBezTo>
                    <a:pt x="19" y="9"/>
                    <a:pt x="9" y="19"/>
                    <a:pt x="9" y="31"/>
                  </a:cubicBezTo>
                  <a:cubicBezTo>
                    <a:pt x="9" y="44"/>
                    <a:pt x="19" y="54"/>
                    <a:pt x="31" y="54"/>
                  </a:cubicBezTo>
                  <a:cubicBezTo>
                    <a:pt x="44" y="54"/>
                    <a:pt x="54" y="44"/>
                    <a:pt x="54" y="31"/>
                  </a:cubicBezTo>
                  <a:cubicBezTo>
                    <a:pt x="54" y="19"/>
                    <a:pt x="44" y="9"/>
                    <a:pt x="31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4" name="Freeform 1260">
              <a:extLst>
                <a:ext uri="{FF2B5EF4-FFF2-40B4-BE49-F238E27FC236}">
                  <a16:creationId xmlns:a16="http://schemas.microsoft.com/office/drawing/2014/main" id="{BA2737F4-8931-4DF3-B9C2-48DD86625A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6769" y="1257074"/>
              <a:ext cx="112548" cy="113813"/>
            </a:xfrm>
            <a:custGeom>
              <a:avLst/>
              <a:gdLst>
                <a:gd name="T0" fmla="*/ 31 w 62"/>
                <a:gd name="T1" fmla="*/ 63 h 63"/>
                <a:gd name="T2" fmla="*/ 0 w 62"/>
                <a:gd name="T3" fmla="*/ 31 h 63"/>
                <a:gd name="T4" fmla="*/ 31 w 62"/>
                <a:gd name="T5" fmla="*/ 0 h 63"/>
                <a:gd name="T6" fmla="*/ 62 w 62"/>
                <a:gd name="T7" fmla="*/ 31 h 63"/>
                <a:gd name="T8" fmla="*/ 31 w 62"/>
                <a:gd name="T9" fmla="*/ 63 h 63"/>
                <a:gd name="T10" fmla="*/ 31 w 62"/>
                <a:gd name="T11" fmla="*/ 9 h 63"/>
                <a:gd name="T12" fmla="*/ 8 w 62"/>
                <a:gd name="T13" fmla="*/ 31 h 63"/>
                <a:gd name="T14" fmla="*/ 31 w 62"/>
                <a:gd name="T15" fmla="*/ 54 h 63"/>
                <a:gd name="T16" fmla="*/ 54 w 62"/>
                <a:gd name="T17" fmla="*/ 31 h 63"/>
                <a:gd name="T18" fmla="*/ 31 w 62"/>
                <a:gd name="T19" fmla="*/ 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31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9"/>
                    <a:pt x="48" y="63"/>
                    <a:pt x="31" y="63"/>
                  </a:cubicBezTo>
                  <a:close/>
                  <a:moveTo>
                    <a:pt x="31" y="9"/>
                  </a:moveTo>
                  <a:cubicBezTo>
                    <a:pt x="18" y="9"/>
                    <a:pt x="8" y="19"/>
                    <a:pt x="8" y="31"/>
                  </a:cubicBezTo>
                  <a:cubicBezTo>
                    <a:pt x="8" y="44"/>
                    <a:pt x="18" y="54"/>
                    <a:pt x="31" y="54"/>
                  </a:cubicBezTo>
                  <a:cubicBezTo>
                    <a:pt x="43" y="54"/>
                    <a:pt x="54" y="44"/>
                    <a:pt x="54" y="31"/>
                  </a:cubicBezTo>
                  <a:cubicBezTo>
                    <a:pt x="54" y="19"/>
                    <a:pt x="43" y="9"/>
                    <a:pt x="31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0" name="Agrupar 1629">
            <a:extLst>
              <a:ext uri="{FF2B5EF4-FFF2-40B4-BE49-F238E27FC236}">
                <a16:creationId xmlns:a16="http://schemas.microsoft.com/office/drawing/2014/main" id="{6DDF3C13-892E-4BD7-B034-0682A924CC8D}"/>
              </a:ext>
            </a:extLst>
          </p:cNvPr>
          <p:cNvGrpSpPr/>
          <p:nvPr/>
        </p:nvGrpSpPr>
        <p:grpSpPr>
          <a:xfrm>
            <a:off x="6388396" y="732271"/>
            <a:ext cx="271886" cy="250388"/>
            <a:chOff x="6388396" y="732271"/>
            <a:chExt cx="271886" cy="250388"/>
          </a:xfrm>
        </p:grpSpPr>
        <p:sp>
          <p:nvSpPr>
            <p:cNvPr id="1065" name="Freeform 1261">
              <a:extLst>
                <a:ext uri="{FF2B5EF4-FFF2-40B4-BE49-F238E27FC236}">
                  <a16:creationId xmlns:a16="http://schemas.microsoft.com/office/drawing/2014/main" id="{E789F887-6520-4A79-8249-FD072D63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7617" y="732271"/>
              <a:ext cx="122665" cy="250388"/>
            </a:xfrm>
            <a:custGeom>
              <a:avLst/>
              <a:gdLst>
                <a:gd name="T0" fmla="*/ 27 w 68"/>
                <a:gd name="T1" fmla="*/ 138 h 138"/>
                <a:gd name="T2" fmla="*/ 0 w 68"/>
                <a:gd name="T3" fmla="*/ 111 h 138"/>
                <a:gd name="T4" fmla="*/ 0 w 68"/>
                <a:gd name="T5" fmla="*/ 26 h 138"/>
                <a:gd name="T6" fmla="*/ 25 w 68"/>
                <a:gd name="T7" fmla="*/ 0 h 138"/>
                <a:gd name="T8" fmla="*/ 57 w 68"/>
                <a:gd name="T9" fmla="*/ 15 h 138"/>
                <a:gd name="T10" fmla="*/ 66 w 68"/>
                <a:gd name="T11" fmla="*/ 48 h 138"/>
                <a:gd name="T12" fmla="*/ 55 w 68"/>
                <a:gd name="T13" fmla="*/ 115 h 138"/>
                <a:gd name="T14" fmla="*/ 27 w 68"/>
                <a:gd name="T15" fmla="*/ 138 h 138"/>
                <a:gd name="T16" fmla="*/ 25 w 68"/>
                <a:gd name="T17" fmla="*/ 9 h 138"/>
                <a:gd name="T18" fmla="*/ 8 w 68"/>
                <a:gd name="T19" fmla="*/ 26 h 138"/>
                <a:gd name="T20" fmla="*/ 8 w 68"/>
                <a:gd name="T21" fmla="*/ 111 h 138"/>
                <a:gd name="T22" fmla="*/ 27 w 68"/>
                <a:gd name="T23" fmla="*/ 130 h 138"/>
                <a:gd name="T24" fmla="*/ 46 w 68"/>
                <a:gd name="T25" fmla="*/ 114 h 138"/>
                <a:gd name="T26" fmla="*/ 57 w 68"/>
                <a:gd name="T27" fmla="*/ 46 h 138"/>
                <a:gd name="T28" fmla="*/ 50 w 68"/>
                <a:gd name="T29" fmla="*/ 20 h 138"/>
                <a:gd name="T30" fmla="*/ 25 w 68"/>
                <a:gd name="T31" fmla="*/ 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8" h="138">
                  <a:moveTo>
                    <a:pt x="27" y="138"/>
                  </a:moveTo>
                  <a:cubicBezTo>
                    <a:pt x="12" y="138"/>
                    <a:pt x="0" y="126"/>
                    <a:pt x="0" y="11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37" y="0"/>
                    <a:pt x="49" y="5"/>
                    <a:pt x="57" y="15"/>
                  </a:cubicBezTo>
                  <a:cubicBezTo>
                    <a:pt x="64" y="24"/>
                    <a:pt x="68" y="36"/>
                    <a:pt x="66" y="48"/>
                  </a:cubicBezTo>
                  <a:cubicBezTo>
                    <a:pt x="55" y="115"/>
                    <a:pt x="55" y="115"/>
                    <a:pt x="55" y="115"/>
                  </a:cubicBezTo>
                  <a:cubicBezTo>
                    <a:pt x="52" y="129"/>
                    <a:pt x="41" y="138"/>
                    <a:pt x="27" y="138"/>
                  </a:cubicBezTo>
                  <a:close/>
                  <a:moveTo>
                    <a:pt x="25" y="9"/>
                  </a:moveTo>
                  <a:cubicBezTo>
                    <a:pt x="16" y="9"/>
                    <a:pt x="8" y="16"/>
                    <a:pt x="8" y="26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1"/>
                    <a:pt x="17" y="130"/>
                    <a:pt x="27" y="130"/>
                  </a:cubicBezTo>
                  <a:cubicBezTo>
                    <a:pt x="37" y="130"/>
                    <a:pt x="45" y="123"/>
                    <a:pt x="46" y="114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9" y="37"/>
                    <a:pt x="56" y="27"/>
                    <a:pt x="50" y="20"/>
                  </a:cubicBezTo>
                  <a:cubicBezTo>
                    <a:pt x="44" y="13"/>
                    <a:pt x="35" y="9"/>
                    <a:pt x="25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6" name="Freeform 1262">
              <a:extLst>
                <a:ext uri="{FF2B5EF4-FFF2-40B4-BE49-F238E27FC236}">
                  <a16:creationId xmlns:a16="http://schemas.microsoft.com/office/drawing/2014/main" id="{5314C17C-1232-4A9C-9356-05B1B3D8B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5088" y="772737"/>
              <a:ext cx="115077" cy="101167"/>
            </a:xfrm>
            <a:custGeom>
              <a:avLst/>
              <a:gdLst>
                <a:gd name="T0" fmla="*/ 58 w 63"/>
                <a:gd name="T1" fmla="*/ 56 h 56"/>
                <a:gd name="T2" fmla="*/ 54 w 63"/>
                <a:gd name="T3" fmla="*/ 53 h 56"/>
                <a:gd name="T4" fmla="*/ 32 w 63"/>
                <a:gd name="T5" fmla="*/ 12 h 56"/>
                <a:gd name="T6" fmla="*/ 8 w 63"/>
                <a:gd name="T7" fmla="*/ 49 h 56"/>
                <a:gd name="T8" fmla="*/ 3 w 63"/>
                <a:gd name="T9" fmla="*/ 51 h 56"/>
                <a:gd name="T10" fmla="*/ 1 w 63"/>
                <a:gd name="T11" fmla="*/ 45 h 56"/>
                <a:gd name="T12" fmla="*/ 28 w 63"/>
                <a:gd name="T13" fmla="*/ 2 h 56"/>
                <a:gd name="T14" fmla="*/ 32 w 63"/>
                <a:gd name="T15" fmla="*/ 0 h 56"/>
                <a:gd name="T16" fmla="*/ 36 w 63"/>
                <a:gd name="T17" fmla="*/ 2 h 56"/>
                <a:gd name="T18" fmla="*/ 62 w 63"/>
                <a:gd name="T19" fmla="*/ 49 h 56"/>
                <a:gd name="T20" fmla="*/ 60 w 63"/>
                <a:gd name="T21" fmla="*/ 55 h 56"/>
                <a:gd name="T22" fmla="*/ 58 w 63"/>
                <a:gd name="T2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" h="56">
                  <a:moveTo>
                    <a:pt x="58" y="56"/>
                  </a:moveTo>
                  <a:cubicBezTo>
                    <a:pt x="57" y="56"/>
                    <a:pt x="55" y="55"/>
                    <a:pt x="54" y="53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7" y="51"/>
                    <a:pt x="5" y="52"/>
                    <a:pt x="3" y="51"/>
                  </a:cubicBezTo>
                  <a:cubicBezTo>
                    <a:pt x="1" y="50"/>
                    <a:pt x="0" y="47"/>
                    <a:pt x="1" y="45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0"/>
                    <a:pt x="30" y="0"/>
                    <a:pt x="32" y="0"/>
                  </a:cubicBezTo>
                  <a:cubicBezTo>
                    <a:pt x="33" y="0"/>
                    <a:pt x="35" y="1"/>
                    <a:pt x="36" y="2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3" y="51"/>
                    <a:pt x="62" y="54"/>
                    <a:pt x="60" y="55"/>
                  </a:cubicBezTo>
                  <a:cubicBezTo>
                    <a:pt x="60" y="55"/>
                    <a:pt x="59" y="56"/>
                    <a:pt x="58" y="5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7" name="Freeform 1263">
              <a:extLst>
                <a:ext uri="{FF2B5EF4-FFF2-40B4-BE49-F238E27FC236}">
                  <a16:creationId xmlns:a16="http://schemas.microsoft.com/office/drawing/2014/main" id="{12E2B662-9317-4790-86C4-9B5BABB774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8396" y="732271"/>
              <a:ext cx="123929" cy="250388"/>
            </a:xfrm>
            <a:custGeom>
              <a:avLst/>
              <a:gdLst>
                <a:gd name="T0" fmla="*/ 41 w 68"/>
                <a:gd name="T1" fmla="*/ 138 h 138"/>
                <a:gd name="T2" fmla="*/ 13 w 68"/>
                <a:gd name="T3" fmla="*/ 115 h 138"/>
                <a:gd name="T4" fmla="*/ 2 w 68"/>
                <a:gd name="T5" fmla="*/ 48 h 138"/>
                <a:gd name="T6" fmla="*/ 11 w 68"/>
                <a:gd name="T7" fmla="*/ 15 h 138"/>
                <a:gd name="T8" fmla="*/ 43 w 68"/>
                <a:gd name="T9" fmla="*/ 0 h 138"/>
                <a:gd name="T10" fmla="*/ 68 w 68"/>
                <a:gd name="T11" fmla="*/ 26 h 138"/>
                <a:gd name="T12" fmla="*/ 68 w 68"/>
                <a:gd name="T13" fmla="*/ 111 h 138"/>
                <a:gd name="T14" fmla="*/ 41 w 68"/>
                <a:gd name="T15" fmla="*/ 138 h 138"/>
                <a:gd name="T16" fmla="*/ 43 w 68"/>
                <a:gd name="T17" fmla="*/ 9 h 138"/>
                <a:gd name="T18" fmla="*/ 18 w 68"/>
                <a:gd name="T19" fmla="*/ 20 h 138"/>
                <a:gd name="T20" fmla="*/ 11 w 68"/>
                <a:gd name="T21" fmla="*/ 46 h 138"/>
                <a:gd name="T22" fmla="*/ 22 w 68"/>
                <a:gd name="T23" fmla="*/ 114 h 138"/>
                <a:gd name="T24" fmla="*/ 41 w 68"/>
                <a:gd name="T25" fmla="*/ 130 h 138"/>
                <a:gd name="T26" fmla="*/ 60 w 68"/>
                <a:gd name="T27" fmla="*/ 111 h 138"/>
                <a:gd name="T28" fmla="*/ 60 w 68"/>
                <a:gd name="T29" fmla="*/ 26 h 138"/>
                <a:gd name="T30" fmla="*/ 43 w 68"/>
                <a:gd name="T31" fmla="*/ 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8" h="138">
                  <a:moveTo>
                    <a:pt x="41" y="138"/>
                  </a:moveTo>
                  <a:cubicBezTo>
                    <a:pt x="27" y="138"/>
                    <a:pt x="16" y="129"/>
                    <a:pt x="13" y="115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0" y="36"/>
                    <a:pt x="4" y="24"/>
                    <a:pt x="11" y="15"/>
                  </a:cubicBezTo>
                  <a:cubicBezTo>
                    <a:pt x="19" y="5"/>
                    <a:pt x="31" y="0"/>
                    <a:pt x="43" y="0"/>
                  </a:cubicBezTo>
                  <a:cubicBezTo>
                    <a:pt x="57" y="0"/>
                    <a:pt x="68" y="12"/>
                    <a:pt x="68" y="26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8" y="126"/>
                    <a:pt x="56" y="138"/>
                    <a:pt x="41" y="138"/>
                  </a:cubicBezTo>
                  <a:close/>
                  <a:moveTo>
                    <a:pt x="43" y="9"/>
                  </a:moveTo>
                  <a:cubicBezTo>
                    <a:pt x="33" y="9"/>
                    <a:pt x="24" y="13"/>
                    <a:pt x="18" y="20"/>
                  </a:cubicBezTo>
                  <a:cubicBezTo>
                    <a:pt x="12" y="27"/>
                    <a:pt x="9" y="37"/>
                    <a:pt x="11" y="46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3" y="123"/>
                    <a:pt x="31" y="130"/>
                    <a:pt x="41" y="130"/>
                  </a:cubicBezTo>
                  <a:cubicBezTo>
                    <a:pt x="51" y="130"/>
                    <a:pt x="60" y="121"/>
                    <a:pt x="60" y="111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60" y="16"/>
                    <a:pt x="52" y="9"/>
                    <a:pt x="43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8" name="Freeform 1264">
              <a:extLst>
                <a:ext uri="{FF2B5EF4-FFF2-40B4-BE49-F238E27FC236}">
                  <a16:creationId xmlns:a16="http://schemas.microsoft.com/office/drawing/2014/main" id="{418B14DC-5479-4F7A-86C1-8F54EB8AB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777" y="772737"/>
              <a:ext cx="113813" cy="101167"/>
            </a:xfrm>
            <a:custGeom>
              <a:avLst/>
              <a:gdLst>
                <a:gd name="T0" fmla="*/ 5 w 63"/>
                <a:gd name="T1" fmla="*/ 56 h 56"/>
                <a:gd name="T2" fmla="*/ 3 w 63"/>
                <a:gd name="T3" fmla="*/ 55 h 56"/>
                <a:gd name="T4" fmla="*/ 1 w 63"/>
                <a:gd name="T5" fmla="*/ 49 h 56"/>
                <a:gd name="T6" fmla="*/ 27 w 63"/>
                <a:gd name="T7" fmla="*/ 2 h 56"/>
                <a:gd name="T8" fmla="*/ 31 w 63"/>
                <a:gd name="T9" fmla="*/ 0 h 56"/>
                <a:gd name="T10" fmla="*/ 35 w 63"/>
                <a:gd name="T11" fmla="*/ 2 h 56"/>
                <a:gd name="T12" fmla="*/ 62 w 63"/>
                <a:gd name="T13" fmla="*/ 45 h 56"/>
                <a:gd name="T14" fmla="*/ 60 w 63"/>
                <a:gd name="T15" fmla="*/ 51 h 56"/>
                <a:gd name="T16" fmla="*/ 55 w 63"/>
                <a:gd name="T17" fmla="*/ 49 h 56"/>
                <a:gd name="T18" fmla="*/ 31 w 63"/>
                <a:gd name="T19" fmla="*/ 12 h 56"/>
                <a:gd name="T20" fmla="*/ 9 w 63"/>
                <a:gd name="T21" fmla="*/ 53 h 56"/>
                <a:gd name="T22" fmla="*/ 5 w 63"/>
                <a:gd name="T2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" h="56">
                  <a:moveTo>
                    <a:pt x="5" y="56"/>
                  </a:moveTo>
                  <a:cubicBezTo>
                    <a:pt x="4" y="56"/>
                    <a:pt x="3" y="55"/>
                    <a:pt x="3" y="55"/>
                  </a:cubicBezTo>
                  <a:cubicBezTo>
                    <a:pt x="1" y="54"/>
                    <a:pt x="0" y="51"/>
                    <a:pt x="1" y="49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8" y="1"/>
                    <a:pt x="30" y="0"/>
                    <a:pt x="31" y="0"/>
                  </a:cubicBezTo>
                  <a:cubicBezTo>
                    <a:pt x="33" y="0"/>
                    <a:pt x="34" y="0"/>
                    <a:pt x="35" y="2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63" y="47"/>
                    <a:pt x="62" y="50"/>
                    <a:pt x="60" y="51"/>
                  </a:cubicBezTo>
                  <a:cubicBezTo>
                    <a:pt x="58" y="52"/>
                    <a:pt x="56" y="51"/>
                    <a:pt x="55" y="49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8" y="55"/>
                    <a:pt x="6" y="56"/>
                    <a:pt x="5" y="5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65" name="Agrupar 1664">
            <a:extLst>
              <a:ext uri="{FF2B5EF4-FFF2-40B4-BE49-F238E27FC236}">
                <a16:creationId xmlns:a16="http://schemas.microsoft.com/office/drawing/2014/main" id="{ACA10713-6C7F-451B-BD7F-0E3B8D2765E2}"/>
              </a:ext>
            </a:extLst>
          </p:cNvPr>
          <p:cNvGrpSpPr/>
          <p:nvPr/>
        </p:nvGrpSpPr>
        <p:grpSpPr>
          <a:xfrm>
            <a:off x="5581591" y="3308231"/>
            <a:ext cx="193482" cy="274415"/>
            <a:chOff x="5581591" y="3308231"/>
            <a:chExt cx="193482" cy="274415"/>
          </a:xfrm>
        </p:grpSpPr>
        <p:sp>
          <p:nvSpPr>
            <p:cNvPr id="1069" name="Freeform 1265">
              <a:extLst>
                <a:ext uri="{FF2B5EF4-FFF2-40B4-BE49-F238E27FC236}">
                  <a16:creationId xmlns:a16="http://schemas.microsoft.com/office/drawing/2014/main" id="{E9320806-77CD-49E9-AF4C-C48FE9BF7F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0909" y="3361344"/>
              <a:ext cx="93579" cy="93579"/>
            </a:xfrm>
            <a:custGeom>
              <a:avLst/>
              <a:gdLst>
                <a:gd name="T0" fmla="*/ 26 w 52"/>
                <a:gd name="T1" fmla="*/ 52 h 52"/>
                <a:gd name="T2" fmla="*/ 0 w 52"/>
                <a:gd name="T3" fmla="*/ 26 h 52"/>
                <a:gd name="T4" fmla="*/ 26 w 52"/>
                <a:gd name="T5" fmla="*/ 0 h 52"/>
                <a:gd name="T6" fmla="*/ 52 w 52"/>
                <a:gd name="T7" fmla="*/ 26 h 52"/>
                <a:gd name="T8" fmla="*/ 26 w 52"/>
                <a:gd name="T9" fmla="*/ 52 h 52"/>
                <a:gd name="T10" fmla="*/ 26 w 52"/>
                <a:gd name="T11" fmla="*/ 9 h 52"/>
                <a:gd name="T12" fmla="*/ 9 w 52"/>
                <a:gd name="T13" fmla="*/ 26 h 52"/>
                <a:gd name="T14" fmla="*/ 26 w 52"/>
                <a:gd name="T15" fmla="*/ 44 h 52"/>
                <a:gd name="T16" fmla="*/ 43 w 52"/>
                <a:gd name="T17" fmla="*/ 26 h 52"/>
                <a:gd name="T18" fmla="*/ 26 w 52"/>
                <a:gd name="T19" fmla="*/ 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12" y="52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0"/>
                    <a:pt x="40" y="52"/>
                    <a:pt x="26" y="52"/>
                  </a:cubicBezTo>
                  <a:close/>
                  <a:moveTo>
                    <a:pt x="26" y="9"/>
                  </a:moveTo>
                  <a:cubicBezTo>
                    <a:pt x="16" y="9"/>
                    <a:pt x="9" y="17"/>
                    <a:pt x="9" y="26"/>
                  </a:cubicBezTo>
                  <a:cubicBezTo>
                    <a:pt x="9" y="36"/>
                    <a:pt x="16" y="44"/>
                    <a:pt x="26" y="44"/>
                  </a:cubicBezTo>
                  <a:cubicBezTo>
                    <a:pt x="35" y="44"/>
                    <a:pt x="43" y="36"/>
                    <a:pt x="43" y="26"/>
                  </a:cubicBezTo>
                  <a:cubicBezTo>
                    <a:pt x="43" y="17"/>
                    <a:pt x="35" y="9"/>
                    <a:pt x="2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0" name="Freeform 1266">
              <a:extLst>
                <a:ext uri="{FF2B5EF4-FFF2-40B4-BE49-F238E27FC236}">
                  <a16:creationId xmlns:a16="http://schemas.microsoft.com/office/drawing/2014/main" id="{19301D16-4BDB-4FB5-BC79-7257E60CF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1591" y="3308231"/>
              <a:ext cx="193482" cy="274415"/>
            </a:xfrm>
            <a:custGeom>
              <a:avLst/>
              <a:gdLst>
                <a:gd name="T0" fmla="*/ 53 w 107"/>
                <a:gd name="T1" fmla="*/ 151 h 151"/>
                <a:gd name="T2" fmla="*/ 50 w 107"/>
                <a:gd name="T3" fmla="*/ 150 h 151"/>
                <a:gd name="T4" fmla="*/ 0 w 107"/>
                <a:gd name="T5" fmla="*/ 55 h 151"/>
                <a:gd name="T6" fmla="*/ 57 w 107"/>
                <a:gd name="T7" fmla="*/ 2 h 151"/>
                <a:gd name="T8" fmla="*/ 106 w 107"/>
                <a:gd name="T9" fmla="*/ 61 h 151"/>
                <a:gd name="T10" fmla="*/ 56 w 107"/>
                <a:gd name="T11" fmla="*/ 150 h 151"/>
                <a:gd name="T12" fmla="*/ 53 w 107"/>
                <a:gd name="T13" fmla="*/ 151 h 151"/>
                <a:gd name="T14" fmla="*/ 53 w 107"/>
                <a:gd name="T15" fmla="*/ 11 h 151"/>
                <a:gd name="T16" fmla="*/ 8 w 107"/>
                <a:gd name="T17" fmla="*/ 55 h 151"/>
                <a:gd name="T18" fmla="*/ 53 w 107"/>
                <a:gd name="T19" fmla="*/ 142 h 151"/>
                <a:gd name="T20" fmla="*/ 97 w 107"/>
                <a:gd name="T21" fmla="*/ 60 h 151"/>
                <a:gd name="T22" fmla="*/ 57 w 107"/>
                <a:gd name="T23" fmla="*/ 11 h 151"/>
                <a:gd name="T24" fmla="*/ 53 w 107"/>
                <a:gd name="T25" fmla="*/ 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151">
                  <a:moveTo>
                    <a:pt x="53" y="151"/>
                  </a:moveTo>
                  <a:cubicBezTo>
                    <a:pt x="52" y="151"/>
                    <a:pt x="51" y="151"/>
                    <a:pt x="50" y="150"/>
                  </a:cubicBezTo>
                  <a:cubicBezTo>
                    <a:pt x="48" y="149"/>
                    <a:pt x="0" y="111"/>
                    <a:pt x="0" y="55"/>
                  </a:cubicBezTo>
                  <a:cubicBezTo>
                    <a:pt x="0" y="24"/>
                    <a:pt x="26" y="0"/>
                    <a:pt x="57" y="2"/>
                  </a:cubicBezTo>
                  <a:cubicBezTo>
                    <a:pt x="86" y="5"/>
                    <a:pt x="107" y="31"/>
                    <a:pt x="106" y="61"/>
                  </a:cubicBezTo>
                  <a:cubicBezTo>
                    <a:pt x="102" y="113"/>
                    <a:pt x="57" y="149"/>
                    <a:pt x="56" y="150"/>
                  </a:cubicBezTo>
                  <a:cubicBezTo>
                    <a:pt x="55" y="151"/>
                    <a:pt x="54" y="151"/>
                    <a:pt x="53" y="151"/>
                  </a:cubicBezTo>
                  <a:close/>
                  <a:moveTo>
                    <a:pt x="53" y="11"/>
                  </a:moveTo>
                  <a:cubicBezTo>
                    <a:pt x="28" y="11"/>
                    <a:pt x="8" y="31"/>
                    <a:pt x="8" y="55"/>
                  </a:cubicBezTo>
                  <a:cubicBezTo>
                    <a:pt x="8" y="99"/>
                    <a:pt x="43" y="133"/>
                    <a:pt x="53" y="142"/>
                  </a:cubicBezTo>
                  <a:cubicBezTo>
                    <a:pt x="62" y="133"/>
                    <a:pt x="95" y="102"/>
                    <a:pt x="97" y="60"/>
                  </a:cubicBezTo>
                  <a:cubicBezTo>
                    <a:pt x="99" y="35"/>
                    <a:pt x="81" y="13"/>
                    <a:pt x="57" y="11"/>
                  </a:cubicBezTo>
                  <a:cubicBezTo>
                    <a:pt x="55" y="11"/>
                    <a:pt x="54" y="11"/>
                    <a:pt x="53" y="1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5" name="Agrupar 1634">
            <a:extLst>
              <a:ext uri="{FF2B5EF4-FFF2-40B4-BE49-F238E27FC236}">
                <a16:creationId xmlns:a16="http://schemas.microsoft.com/office/drawing/2014/main" id="{5532855C-060A-4DBD-BBD2-6E941CB544BF}"/>
              </a:ext>
            </a:extLst>
          </p:cNvPr>
          <p:cNvGrpSpPr/>
          <p:nvPr/>
        </p:nvGrpSpPr>
        <p:grpSpPr>
          <a:xfrm>
            <a:off x="5954643" y="1153378"/>
            <a:ext cx="270622" cy="270621"/>
            <a:chOff x="5954643" y="1153378"/>
            <a:chExt cx="270622" cy="270621"/>
          </a:xfrm>
        </p:grpSpPr>
        <p:sp>
          <p:nvSpPr>
            <p:cNvPr id="1071" name="Freeform 1267">
              <a:extLst>
                <a:ext uri="{FF2B5EF4-FFF2-40B4-BE49-F238E27FC236}">
                  <a16:creationId xmlns:a16="http://schemas.microsoft.com/office/drawing/2014/main" id="{040544F8-3423-4245-868F-074D0243C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1569" y="1321568"/>
              <a:ext cx="103696" cy="102431"/>
            </a:xfrm>
            <a:custGeom>
              <a:avLst/>
              <a:gdLst>
                <a:gd name="T0" fmla="*/ 26 w 57"/>
                <a:gd name="T1" fmla="*/ 56 h 56"/>
                <a:gd name="T2" fmla="*/ 2 w 57"/>
                <a:gd name="T3" fmla="*/ 45 h 56"/>
                <a:gd name="T4" fmla="*/ 2 w 57"/>
                <a:gd name="T5" fmla="*/ 39 h 56"/>
                <a:gd name="T6" fmla="*/ 8 w 57"/>
                <a:gd name="T7" fmla="*/ 40 h 56"/>
                <a:gd name="T8" fmla="*/ 26 w 57"/>
                <a:gd name="T9" fmla="*/ 48 h 56"/>
                <a:gd name="T10" fmla="*/ 48 w 57"/>
                <a:gd name="T11" fmla="*/ 25 h 56"/>
                <a:gd name="T12" fmla="*/ 40 w 57"/>
                <a:gd name="T13" fmla="*/ 8 h 56"/>
                <a:gd name="T14" fmla="*/ 40 w 57"/>
                <a:gd name="T15" fmla="*/ 2 h 56"/>
                <a:gd name="T16" fmla="*/ 46 w 57"/>
                <a:gd name="T17" fmla="*/ 1 h 56"/>
                <a:gd name="T18" fmla="*/ 57 w 57"/>
                <a:gd name="T19" fmla="*/ 25 h 56"/>
                <a:gd name="T20" fmla="*/ 26 w 57"/>
                <a:gd name="T2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56">
                  <a:moveTo>
                    <a:pt x="26" y="56"/>
                  </a:moveTo>
                  <a:cubicBezTo>
                    <a:pt x="16" y="56"/>
                    <a:pt x="8" y="52"/>
                    <a:pt x="2" y="45"/>
                  </a:cubicBezTo>
                  <a:cubicBezTo>
                    <a:pt x="0" y="44"/>
                    <a:pt x="1" y="41"/>
                    <a:pt x="2" y="39"/>
                  </a:cubicBezTo>
                  <a:cubicBezTo>
                    <a:pt x="4" y="38"/>
                    <a:pt x="7" y="38"/>
                    <a:pt x="8" y="40"/>
                  </a:cubicBezTo>
                  <a:cubicBezTo>
                    <a:pt x="13" y="45"/>
                    <a:pt x="19" y="48"/>
                    <a:pt x="26" y="48"/>
                  </a:cubicBezTo>
                  <a:cubicBezTo>
                    <a:pt x="38" y="48"/>
                    <a:pt x="48" y="38"/>
                    <a:pt x="48" y="25"/>
                  </a:cubicBezTo>
                  <a:cubicBezTo>
                    <a:pt x="48" y="19"/>
                    <a:pt x="45" y="12"/>
                    <a:pt x="40" y="8"/>
                  </a:cubicBezTo>
                  <a:cubicBezTo>
                    <a:pt x="38" y="6"/>
                    <a:pt x="38" y="4"/>
                    <a:pt x="40" y="2"/>
                  </a:cubicBezTo>
                  <a:cubicBezTo>
                    <a:pt x="41" y="0"/>
                    <a:pt x="44" y="0"/>
                    <a:pt x="46" y="1"/>
                  </a:cubicBezTo>
                  <a:cubicBezTo>
                    <a:pt x="53" y="7"/>
                    <a:pt x="57" y="16"/>
                    <a:pt x="57" y="25"/>
                  </a:cubicBezTo>
                  <a:cubicBezTo>
                    <a:pt x="57" y="42"/>
                    <a:pt x="43" y="56"/>
                    <a:pt x="26" y="5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2" name="Freeform 1268">
              <a:extLst>
                <a:ext uri="{FF2B5EF4-FFF2-40B4-BE49-F238E27FC236}">
                  <a16:creationId xmlns:a16="http://schemas.microsoft.com/office/drawing/2014/main" id="{835F71D3-EBA1-4BDF-9C0B-24B8C2733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643" y="1321568"/>
              <a:ext cx="102431" cy="102431"/>
            </a:xfrm>
            <a:custGeom>
              <a:avLst/>
              <a:gdLst>
                <a:gd name="T0" fmla="*/ 31 w 56"/>
                <a:gd name="T1" fmla="*/ 56 h 56"/>
                <a:gd name="T2" fmla="*/ 0 w 56"/>
                <a:gd name="T3" fmla="*/ 25 h 56"/>
                <a:gd name="T4" fmla="*/ 11 w 56"/>
                <a:gd name="T5" fmla="*/ 1 h 56"/>
                <a:gd name="T6" fmla="*/ 17 w 56"/>
                <a:gd name="T7" fmla="*/ 2 h 56"/>
                <a:gd name="T8" fmla="*/ 16 w 56"/>
                <a:gd name="T9" fmla="*/ 8 h 56"/>
                <a:gd name="T10" fmla="*/ 8 w 56"/>
                <a:gd name="T11" fmla="*/ 25 h 56"/>
                <a:gd name="T12" fmla="*/ 31 w 56"/>
                <a:gd name="T13" fmla="*/ 48 h 56"/>
                <a:gd name="T14" fmla="*/ 48 w 56"/>
                <a:gd name="T15" fmla="*/ 40 h 56"/>
                <a:gd name="T16" fmla="*/ 54 w 56"/>
                <a:gd name="T17" fmla="*/ 39 h 56"/>
                <a:gd name="T18" fmla="*/ 55 w 56"/>
                <a:gd name="T19" fmla="*/ 45 h 56"/>
                <a:gd name="T20" fmla="*/ 31 w 56"/>
                <a:gd name="T2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56">
                  <a:moveTo>
                    <a:pt x="31" y="56"/>
                  </a:moveTo>
                  <a:cubicBezTo>
                    <a:pt x="14" y="56"/>
                    <a:pt x="0" y="42"/>
                    <a:pt x="0" y="25"/>
                  </a:cubicBezTo>
                  <a:cubicBezTo>
                    <a:pt x="0" y="16"/>
                    <a:pt x="4" y="7"/>
                    <a:pt x="11" y="1"/>
                  </a:cubicBezTo>
                  <a:cubicBezTo>
                    <a:pt x="13" y="0"/>
                    <a:pt x="15" y="0"/>
                    <a:pt x="17" y="2"/>
                  </a:cubicBezTo>
                  <a:cubicBezTo>
                    <a:pt x="18" y="4"/>
                    <a:pt x="18" y="6"/>
                    <a:pt x="16" y="8"/>
                  </a:cubicBezTo>
                  <a:cubicBezTo>
                    <a:pt x="11" y="12"/>
                    <a:pt x="8" y="19"/>
                    <a:pt x="8" y="25"/>
                  </a:cubicBezTo>
                  <a:cubicBezTo>
                    <a:pt x="8" y="38"/>
                    <a:pt x="19" y="48"/>
                    <a:pt x="31" y="48"/>
                  </a:cubicBezTo>
                  <a:cubicBezTo>
                    <a:pt x="38" y="48"/>
                    <a:pt x="44" y="45"/>
                    <a:pt x="48" y="40"/>
                  </a:cubicBezTo>
                  <a:cubicBezTo>
                    <a:pt x="50" y="38"/>
                    <a:pt x="53" y="38"/>
                    <a:pt x="54" y="39"/>
                  </a:cubicBezTo>
                  <a:cubicBezTo>
                    <a:pt x="56" y="41"/>
                    <a:pt x="56" y="44"/>
                    <a:pt x="55" y="45"/>
                  </a:cubicBezTo>
                  <a:cubicBezTo>
                    <a:pt x="49" y="52"/>
                    <a:pt x="40" y="56"/>
                    <a:pt x="31" y="5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3" name="Freeform 1269">
              <a:extLst>
                <a:ext uri="{FF2B5EF4-FFF2-40B4-BE49-F238E27FC236}">
                  <a16:creationId xmlns:a16="http://schemas.microsoft.com/office/drawing/2014/main" id="{B956BAC1-368A-496A-BA1D-246CADB68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643" y="1153378"/>
              <a:ext cx="102431" cy="101167"/>
            </a:xfrm>
            <a:custGeom>
              <a:avLst/>
              <a:gdLst>
                <a:gd name="T0" fmla="*/ 14 w 56"/>
                <a:gd name="T1" fmla="*/ 56 h 56"/>
                <a:gd name="T2" fmla="*/ 11 w 56"/>
                <a:gd name="T3" fmla="*/ 55 h 56"/>
                <a:gd name="T4" fmla="*/ 0 w 56"/>
                <a:gd name="T5" fmla="*/ 32 h 56"/>
                <a:gd name="T6" fmla="*/ 31 w 56"/>
                <a:gd name="T7" fmla="*/ 0 h 56"/>
                <a:gd name="T8" fmla="*/ 55 w 56"/>
                <a:gd name="T9" fmla="*/ 11 h 56"/>
                <a:gd name="T10" fmla="*/ 54 w 56"/>
                <a:gd name="T11" fmla="*/ 17 h 56"/>
                <a:gd name="T12" fmla="*/ 48 w 56"/>
                <a:gd name="T13" fmla="*/ 17 h 56"/>
                <a:gd name="T14" fmla="*/ 31 w 56"/>
                <a:gd name="T15" fmla="*/ 9 h 56"/>
                <a:gd name="T16" fmla="*/ 8 w 56"/>
                <a:gd name="T17" fmla="*/ 32 h 56"/>
                <a:gd name="T18" fmla="*/ 16 w 56"/>
                <a:gd name="T19" fmla="*/ 49 h 56"/>
                <a:gd name="T20" fmla="*/ 17 w 56"/>
                <a:gd name="T21" fmla="*/ 55 h 56"/>
                <a:gd name="T22" fmla="*/ 14 w 56"/>
                <a:gd name="T2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56">
                  <a:moveTo>
                    <a:pt x="14" y="56"/>
                  </a:moveTo>
                  <a:cubicBezTo>
                    <a:pt x="13" y="56"/>
                    <a:pt x="12" y="56"/>
                    <a:pt x="11" y="55"/>
                  </a:cubicBezTo>
                  <a:cubicBezTo>
                    <a:pt x="4" y="49"/>
                    <a:pt x="0" y="41"/>
                    <a:pt x="0" y="32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0" y="0"/>
                    <a:pt x="49" y="4"/>
                    <a:pt x="55" y="11"/>
                  </a:cubicBezTo>
                  <a:cubicBezTo>
                    <a:pt x="56" y="13"/>
                    <a:pt x="56" y="16"/>
                    <a:pt x="54" y="17"/>
                  </a:cubicBezTo>
                  <a:cubicBezTo>
                    <a:pt x="53" y="19"/>
                    <a:pt x="50" y="19"/>
                    <a:pt x="48" y="17"/>
                  </a:cubicBezTo>
                  <a:cubicBezTo>
                    <a:pt x="44" y="12"/>
                    <a:pt x="38" y="9"/>
                    <a:pt x="31" y="9"/>
                  </a:cubicBezTo>
                  <a:cubicBezTo>
                    <a:pt x="19" y="9"/>
                    <a:pt x="8" y="19"/>
                    <a:pt x="8" y="32"/>
                  </a:cubicBezTo>
                  <a:cubicBezTo>
                    <a:pt x="8" y="38"/>
                    <a:pt x="11" y="44"/>
                    <a:pt x="16" y="49"/>
                  </a:cubicBezTo>
                  <a:cubicBezTo>
                    <a:pt x="18" y="50"/>
                    <a:pt x="18" y="53"/>
                    <a:pt x="17" y="55"/>
                  </a:cubicBezTo>
                  <a:cubicBezTo>
                    <a:pt x="16" y="56"/>
                    <a:pt x="15" y="56"/>
                    <a:pt x="14" y="5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4" name="Freeform 1270">
              <a:extLst>
                <a:ext uri="{FF2B5EF4-FFF2-40B4-BE49-F238E27FC236}">
                  <a16:creationId xmlns:a16="http://schemas.microsoft.com/office/drawing/2014/main" id="{ED751344-4E41-4173-9E5B-CD139E99A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1569" y="1153378"/>
              <a:ext cx="103696" cy="101167"/>
            </a:xfrm>
            <a:custGeom>
              <a:avLst/>
              <a:gdLst>
                <a:gd name="T0" fmla="*/ 43 w 57"/>
                <a:gd name="T1" fmla="*/ 56 h 56"/>
                <a:gd name="T2" fmla="*/ 40 w 57"/>
                <a:gd name="T3" fmla="*/ 55 h 56"/>
                <a:gd name="T4" fmla="*/ 40 w 57"/>
                <a:gd name="T5" fmla="*/ 49 h 56"/>
                <a:gd name="T6" fmla="*/ 48 w 57"/>
                <a:gd name="T7" fmla="*/ 32 h 56"/>
                <a:gd name="T8" fmla="*/ 26 w 57"/>
                <a:gd name="T9" fmla="*/ 9 h 56"/>
                <a:gd name="T10" fmla="*/ 8 w 57"/>
                <a:gd name="T11" fmla="*/ 17 h 56"/>
                <a:gd name="T12" fmla="*/ 2 w 57"/>
                <a:gd name="T13" fmla="*/ 17 h 56"/>
                <a:gd name="T14" fmla="*/ 2 w 57"/>
                <a:gd name="T15" fmla="*/ 11 h 56"/>
                <a:gd name="T16" fmla="*/ 26 w 57"/>
                <a:gd name="T17" fmla="*/ 0 h 56"/>
                <a:gd name="T18" fmla="*/ 57 w 57"/>
                <a:gd name="T19" fmla="*/ 32 h 56"/>
                <a:gd name="T20" fmla="*/ 46 w 57"/>
                <a:gd name="T21" fmla="*/ 55 h 56"/>
                <a:gd name="T22" fmla="*/ 43 w 57"/>
                <a:gd name="T2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6">
                  <a:moveTo>
                    <a:pt x="43" y="56"/>
                  </a:moveTo>
                  <a:cubicBezTo>
                    <a:pt x="42" y="56"/>
                    <a:pt x="41" y="56"/>
                    <a:pt x="40" y="55"/>
                  </a:cubicBezTo>
                  <a:cubicBezTo>
                    <a:pt x="38" y="53"/>
                    <a:pt x="38" y="50"/>
                    <a:pt x="40" y="49"/>
                  </a:cubicBezTo>
                  <a:cubicBezTo>
                    <a:pt x="45" y="44"/>
                    <a:pt x="48" y="38"/>
                    <a:pt x="48" y="32"/>
                  </a:cubicBezTo>
                  <a:cubicBezTo>
                    <a:pt x="48" y="19"/>
                    <a:pt x="38" y="9"/>
                    <a:pt x="26" y="9"/>
                  </a:cubicBezTo>
                  <a:cubicBezTo>
                    <a:pt x="19" y="9"/>
                    <a:pt x="13" y="12"/>
                    <a:pt x="8" y="17"/>
                  </a:cubicBezTo>
                  <a:cubicBezTo>
                    <a:pt x="7" y="19"/>
                    <a:pt x="4" y="19"/>
                    <a:pt x="2" y="17"/>
                  </a:cubicBezTo>
                  <a:cubicBezTo>
                    <a:pt x="0" y="16"/>
                    <a:pt x="0" y="13"/>
                    <a:pt x="2" y="11"/>
                  </a:cubicBezTo>
                  <a:cubicBezTo>
                    <a:pt x="8" y="4"/>
                    <a:pt x="16" y="0"/>
                    <a:pt x="26" y="0"/>
                  </a:cubicBezTo>
                  <a:cubicBezTo>
                    <a:pt x="43" y="0"/>
                    <a:pt x="57" y="14"/>
                    <a:pt x="57" y="32"/>
                  </a:cubicBezTo>
                  <a:cubicBezTo>
                    <a:pt x="57" y="41"/>
                    <a:pt x="53" y="49"/>
                    <a:pt x="46" y="55"/>
                  </a:cubicBezTo>
                  <a:cubicBezTo>
                    <a:pt x="45" y="56"/>
                    <a:pt x="44" y="56"/>
                    <a:pt x="43" y="5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5" name="Freeform 1271">
              <a:extLst>
                <a:ext uri="{FF2B5EF4-FFF2-40B4-BE49-F238E27FC236}">
                  <a16:creationId xmlns:a16="http://schemas.microsoft.com/office/drawing/2014/main" id="{6C4EFEB4-ACCF-4988-977F-9C9CF803C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7289" y="1311451"/>
              <a:ext cx="80933" cy="13910"/>
            </a:xfrm>
            <a:custGeom>
              <a:avLst/>
              <a:gdLst>
                <a:gd name="T0" fmla="*/ 39 w 44"/>
                <a:gd name="T1" fmla="*/ 8 h 8"/>
                <a:gd name="T2" fmla="*/ 5 w 44"/>
                <a:gd name="T3" fmla="*/ 8 h 8"/>
                <a:gd name="T4" fmla="*/ 0 w 44"/>
                <a:gd name="T5" fmla="*/ 4 h 8"/>
                <a:gd name="T6" fmla="*/ 5 w 44"/>
                <a:gd name="T7" fmla="*/ 0 h 8"/>
                <a:gd name="T8" fmla="*/ 39 w 44"/>
                <a:gd name="T9" fmla="*/ 0 h 8"/>
                <a:gd name="T10" fmla="*/ 44 w 44"/>
                <a:gd name="T11" fmla="*/ 4 h 8"/>
                <a:gd name="T12" fmla="*/ 39 w 4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8">
                  <a:moveTo>
                    <a:pt x="3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2" y="0"/>
                    <a:pt x="44" y="2"/>
                    <a:pt x="44" y="4"/>
                  </a:cubicBezTo>
                  <a:cubicBezTo>
                    <a:pt x="44" y="6"/>
                    <a:pt x="42" y="8"/>
                    <a:pt x="39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6" name="Freeform 1272">
              <a:extLst>
                <a:ext uri="{FF2B5EF4-FFF2-40B4-BE49-F238E27FC236}">
                  <a16:creationId xmlns:a16="http://schemas.microsoft.com/office/drawing/2014/main" id="{70CF4F62-2B74-444D-A52E-1A39F5693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7289" y="1250751"/>
              <a:ext cx="80933" cy="16440"/>
            </a:xfrm>
            <a:custGeom>
              <a:avLst/>
              <a:gdLst>
                <a:gd name="T0" fmla="*/ 39 w 44"/>
                <a:gd name="T1" fmla="*/ 9 h 9"/>
                <a:gd name="T2" fmla="*/ 5 w 44"/>
                <a:gd name="T3" fmla="*/ 9 h 9"/>
                <a:gd name="T4" fmla="*/ 0 w 44"/>
                <a:gd name="T5" fmla="*/ 5 h 9"/>
                <a:gd name="T6" fmla="*/ 5 w 44"/>
                <a:gd name="T7" fmla="*/ 0 h 9"/>
                <a:gd name="T8" fmla="*/ 39 w 44"/>
                <a:gd name="T9" fmla="*/ 0 h 9"/>
                <a:gd name="T10" fmla="*/ 44 w 44"/>
                <a:gd name="T11" fmla="*/ 5 h 9"/>
                <a:gd name="T12" fmla="*/ 39 w 4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9">
                  <a:moveTo>
                    <a:pt x="39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2" y="0"/>
                    <a:pt x="44" y="2"/>
                    <a:pt x="44" y="5"/>
                  </a:cubicBezTo>
                  <a:cubicBezTo>
                    <a:pt x="44" y="7"/>
                    <a:pt x="42" y="9"/>
                    <a:pt x="39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7" name="Freeform 1273">
              <a:extLst>
                <a:ext uri="{FF2B5EF4-FFF2-40B4-BE49-F238E27FC236}">
                  <a16:creationId xmlns:a16="http://schemas.microsoft.com/office/drawing/2014/main" id="{A02D7BD0-0A75-409C-988C-079F467F5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2950" y="1311451"/>
              <a:ext cx="78404" cy="13910"/>
            </a:xfrm>
            <a:custGeom>
              <a:avLst/>
              <a:gdLst>
                <a:gd name="T0" fmla="*/ 39 w 43"/>
                <a:gd name="T1" fmla="*/ 8 h 8"/>
                <a:gd name="T2" fmla="*/ 4 w 43"/>
                <a:gd name="T3" fmla="*/ 8 h 8"/>
                <a:gd name="T4" fmla="*/ 0 w 43"/>
                <a:gd name="T5" fmla="*/ 4 h 8"/>
                <a:gd name="T6" fmla="*/ 4 w 43"/>
                <a:gd name="T7" fmla="*/ 0 h 8"/>
                <a:gd name="T8" fmla="*/ 39 w 43"/>
                <a:gd name="T9" fmla="*/ 0 h 8"/>
                <a:gd name="T10" fmla="*/ 43 w 43"/>
                <a:gd name="T11" fmla="*/ 4 h 8"/>
                <a:gd name="T12" fmla="*/ 39 w 4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8">
                  <a:moveTo>
                    <a:pt x="3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0"/>
                    <a:pt x="43" y="2"/>
                    <a:pt x="43" y="4"/>
                  </a:cubicBezTo>
                  <a:cubicBezTo>
                    <a:pt x="43" y="6"/>
                    <a:pt x="41" y="8"/>
                    <a:pt x="39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8" name="Freeform 1274">
              <a:extLst>
                <a:ext uri="{FF2B5EF4-FFF2-40B4-BE49-F238E27FC236}">
                  <a16:creationId xmlns:a16="http://schemas.microsoft.com/office/drawing/2014/main" id="{93A9646E-2615-4623-BC4E-CB9BD921B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2950" y="1250751"/>
              <a:ext cx="78404" cy="16440"/>
            </a:xfrm>
            <a:custGeom>
              <a:avLst/>
              <a:gdLst>
                <a:gd name="T0" fmla="*/ 39 w 43"/>
                <a:gd name="T1" fmla="*/ 9 h 9"/>
                <a:gd name="T2" fmla="*/ 4 w 43"/>
                <a:gd name="T3" fmla="*/ 9 h 9"/>
                <a:gd name="T4" fmla="*/ 0 w 43"/>
                <a:gd name="T5" fmla="*/ 5 h 9"/>
                <a:gd name="T6" fmla="*/ 4 w 43"/>
                <a:gd name="T7" fmla="*/ 0 h 9"/>
                <a:gd name="T8" fmla="*/ 39 w 43"/>
                <a:gd name="T9" fmla="*/ 0 h 9"/>
                <a:gd name="T10" fmla="*/ 43 w 43"/>
                <a:gd name="T11" fmla="*/ 5 h 9"/>
                <a:gd name="T12" fmla="*/ 39 w 4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9">
                  <a:moveTo>
                    <a:pt x="39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0"/>
                    <a:pt x="43" y="2"/>
                    <a:pt x="43" y="5"/>
                  </a:cubicBezTo>
                  <a:cubicBezTo>
                    <a:pt x="43" y="7"/>
                    <a:pt x="41" y="9"/>
                    <a:pt x="39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9" name="Freeform 1275">
              <a:extLst>
                <a:ext uri="{FF2B5EF4-FFF2-40B4-BE49-F238E27FC236}">
                  <a16:creationId xmlns:a16="http://schemas.microsoft.com/office/drawing/2014/main" id="{1D44B5EB-BCE3-42B0-A17B-29C514C2D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281" y="1168553"/>
              <a:ext cx="13910" cy="77140"/>
            </a:xfrm>
            <a:custGeom>
              <a:avLst/>
              <a:gdLst>
                <a:gd name="T0" fmla="*/ 4 w 8"/>
                <a:gd name="T1" fmla="*/ 43 h 43"/>
                <a:gd name="T2" fmla="*/ 0 w 8"/>
                <a:gd name="T3" fmla="*/ 39 h 43"/>
                <a:gd name="T4" fmla="*/ 0 w 8"/>
                <a:gd name="T5" fmla="*/ 4 h 43"/>
                <a:gd name="T6" fmla="*/ 4 w 8"/>
                <a:gd name="T7" fmla="*/ 0 h 43"/>
                <a:gd name="T8" fmla="*/ 8 w 8"/>
                <a:gd name="T9" fmla="*/ 4 h 43"/>
                <a:gd name="T10" fmla="*/ 8 w 8"/>
                <a:gd name="T11" fmla="*/ 39 h 43"/>
                <a:gd name="T12" fmla="*/ 4 w 8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3">
                  <a:moveTo>
                    <a:pt x="4" y="43"/>
                  </a:moveTo>
                  <a:cubicBezTo>
                    <a:pt x="2" y="43"/>
                    <a:pt x="0" y="41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1"/>
                    <a:pt x="6" y="43"/>
                    <a:pt x="4" y="4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0" name="Freeform 1276">
              <a:extLst>
                <a:ext uri="{FF2B5EF4-FFF2-40B4-BE49-F238E27FC236}">
                  <a16:creationId xmlns:a16="http://schemas.microsoft.com/office/drawing/2014/main" id="{1DBB6F3F-8027-4B1D-8F87-2894B64D6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1452" y="1168553"/>
              <a:ext cx="16440" cy="77140"/>
            </a:xfrm>
            <a:custGeom>
              <a:avLst/>
              <a:gdLst>
                <a:gd name="T0" fmla="*/ 5 w 9"/>
                <a:gd name="T1" fmla="*/ 43 h 43"/>
                <a:gd name="T2" fmla="*/ 0 w 9"/>
                <a:gd name="T3" fmla="*/ 39 h 43"/>
                <a:gd name="T4" fmla="*/ 0 w 9"/>
                <a:gd name="T5" fmla="*/ 4 h 43"/>
                <a:gd name="T6" fmla="*/ 5 w 9"/>
                <a:gd name="T7" fmla="*/ 0 h 43"/>
                <a:gd name="T8" fmla="*/ 9 w 9"/>
                <a:gd name="T9" fmla="*/ 4 h 43"/>
                <a:gd name="T10" fmla="*/ 9 w 9"/>
                <a:gd name="T11" fmla="*/ 39 h 43"/>
                <a:gd name="T12" fmla="*/ 5 w 9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3">
                  <a:moveTo>
                    <a:pt x="5" y="43"/>
                  </a:moveTo>
                  <a:cubicBezTo>
                    <a:pt x="2" y="43"/>
                    <a:pt x="0" y="41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41"/>
                    <a:pt x="7" y="43"/>
                    <a:pt x="5" y="4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1" name="Freeform 1277">
              <a:extLst>
                <a:ext uri="{FF2B5EF4-FFF2-40B4-BE49-F238E27FC236}">
                  <a16:creationId xmlns:a16="http://schemas.microsoft.com/office/drawing/2014/main" id="{CCCA7741-1787-4E89-9D49-32EE6CFE4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1452" y="1332949"/>
              <a:ext cx="16440" cy="78404"/>
            </a:xfrm>
            <a:custGeom>
              <a:avLst/>
              <a:gdLst>
                <a:gd name="T0" fmla="*/ 5 w 9"/>
                <a:gd name="T1" fmla="*/ 43 h 43"/>
                <a:gd name="T2" fmla="*/ 0 w 9"/>
                <a:gd name="T3" fmla="*/ 39 h 43"/>
                <a:gd name="T4" fmla="*/ 0 w 9"/>
                <a:gd name="T5" fmla="*/ 4 h 43"/>
                <a:gd name="T6" fmla="*/ 5 w 9"/>
                <a:gd name="T7" fmla="*/ 0 h 43"/>
                <a:gd name="T8" fmla="*/ 9 w 9"/>
                <a:gd name="T9" fmla="*/ 4 h 43"/>
                <a:gd name="T10" fmla="*/ 9 w 9"/>
                <a:gd name="T11" fmla="*/ 39 h 43"/>
                <a:gd name="T12" fmla="*/ 5 w 9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3">
                  <a:moveTo>
                    <a:pt x="5" y="43"/>
                  </a:moveTo>
                  <a:cubicBezTo>
                    <a:pt x="2" y="43"/>
                    <a:pt x="0" y="41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41"/>
                    <a:pt x="7" y="43"/>
                    <a:pt x="5" y="4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2" name="Freeform 1278">
              <a:extLst>
                <a:ext uri="{FF2B5EF4-FFF2-40B4-BE49-F238E27FC236}">
                  <a16:creationId xmlns:a16="http://schemas.microsoft.com/office/drawing/2014/main" id="{1CD713C3-DD46-4681-8B15-A1B94884A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281" y="1332949"/>
              <a:ext cx="13910" cy="78404"/>
            </a:xfrm>
            <a:custGeom>
              <a:avLst/>
              <a:gdLst>
                <a:gd name="T0" fmla="*/ 4 w 8"/>
                <a:gd name="T1" fmla="*/ 43 h 43"/>
                <a:gd name="T2" fmla="*/ 0 w 8"/>
                <a:gd name="T3" fmla="*/ 39 h 43"/>
                <a:gd name="T4" fmla="*/ 0 w 8"/>
                <a:gd name="T5" fmla="*/ 4 h 43"/>
                <a:gd name="T6" fmla="*/ 4 w 8"/>
                <a:gd name="T7" fmla="*/ 0 h 43"/>
                <a:gd name="T8" fmla="*/ 8 w 8"/>
                <a:gd name="T9" fmla="*/ 4 h 43"/>
                <a:gd name="T10" fmla="*/ 8 w 8"/>
                <a:gd name="T11" fmla="*/ 39 h 43"/>
                <a:gd name="T12" fmla="*/ 4 w 8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3">
                  <a:moveTo>
                    <a:pt x="4" y="43"/>
                  </a:moveTo>
                  <a:cubicBezTo>
                    <a:pt x="2" y="43"/>
                    <a:pt x="0" y="41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1"/>
                    <a:pt x="6" y="43"/>
                    <a:pt x="4" y="4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3" name="Freeform 1279">
              <a:extLst>
                <a:ext uri="{FF2B5EF4-FFF2-40B4-BE49-F238E27FC236}">
                  <a16:creationId xmlns:a16="http://schemas.microsoft.com/office/drawing/2014/main" id="{085868BF-B4A0-4E08-862C-2EA3A7D49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4760" y="1164759"/>
              <a:ext cx="249123" cy="250388"/>
            </a:xfrm>
            <a:custGeom>
              <a:avLst/>
              <a:gdLst>
                <a:gd name="T0" fmla="*/ 69 w 138"/>
                <a:gd name="T1" fmla="*/ 138 h 138"/>
                <a:gd name="T2" fmla="*/ 0 w 138"/>
                <a:gd name="T3" fmla="*/ 69 h 138"/>
                <a:gd name="T4" fmla="*/ 69 w 138"/>
                <a:gd name="T5" fmla="*/ 0 h 138"/>
                <a:gd name="T6" fmla="*/ 138 w 138"/>
                <a:gd name="T7" fmla="*/ 69 h 138"/>
                <a:gd name="T8" fmla="*/ 69 w 138"/>
                <a:gd name="T9" fmla="*/ 138 h 138"/>
                <a:gd name="T10" fmla="*/ 69 w 138"/>
                <a:gd name="T11" fmla="*/ 8 h 138"/>
                <a:gd name="T12" fmla="*/ 9 w 138"/>
                <a:gd name="T13" fmla="*/ 69 h 138"/>
                <a:gd name="T14" fmla="*/ 69 w 138"/>
                <a:gd name="T15" fmla="*/ 129 h 138"/>
                <a:gd name="T16" fmla="*/ 130 w 138"/>
                <a:gd name="T17" fmla="*/ 69 h 138"/>
                <a:gd name="T18" fmla="*/ 69 w 138"/>
                <a:gd name="T19" fmla="*/ 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8">
                  <a:moveTo>
                    <a:pt x="69" y="138"/>
                  </a:moveTo>
                  <a:cubicBezTo>
                    <a:pt x="31" y="138"/>
                    <a:pt x="0" y="107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107"/>
                    <a:pt x="107" y="138"/>
                    <a:pt x="69" y="138"/>
                  </a:cubicBezTo>
                  <a:close/>
                  <a:moveTo>
                    <a:pt x="69" y="8"/>
                  </a:moveTo>
                  <a:cubicBezTo>
                    <a:pt x="36" y="8"/>
                    <a:pt x="9" y="35"/>
                    <a:pt x="9" y="69"/>
                  </a:cubicBezTo>
                  <a:cubicBezTo>
                    <a:pt x="9" y="102"/>
                    <a:pt x="36" y="129"/>
                    <a:pt x="69" y="129"/>
                  </a:cubicBezTo>
                  <a:cubicBezTo>
                    <a:pt x="103" y="129"/>
                    <a:pt x="130" y="102"/>
                    <a:pt x="130" y="69"/>
                  </a:cubicBezTo>
                  <a:cubicBezTo>
                    <a:pt x="130" y="35"/>
                    <a:pt x="103" y="8"/>
                    <a:pt x="69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4" name="Freeform 1280">
              <a:extLst>
                <a:ext uri="{FF2B5EF4-FFF2-40B4-BE49-F238E27FC236}">
                  <a16:creationId xmlns:a16="http://schemas.microsoft.com/office/drawing/2014/main" id="{77A306A9-CE4F-44CF-A18A-64C7AD7F3C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4195" y="1222930"/>
              <a:ext cx="132781" cy="134046"/>
            </a:xfrm>
            <a:custGeom>
              <a:avLst/>
              <a:gdLst>
                <a:gd name="T0" fmla="*/ 36 w 73"/>
                <a:gd name="T1" fmla="*/ 74 h 74"/>
                <a:gd name="T2" fmla="*/ 0 w 73"/>
                <a:gd name="T3" fmla="*/ 37 h 74"/>
                <a:gd name="T4" fmla="*/ 36 w 73"/>
                <a:gd name="T5" fmla="*/ 0 h 74"/>
                <a:gd name="T6" fmla="*/ 73 w 73"/>
                <a:gd name="T7" fmla="*/ 37 h 74"/>
                <a:gd name="T8" fmla="*/ 36 w 73"/>
                <a:gd name="T9" fmla="*/ 74 h 74"/>
                <a:gd name="T10" fmla="*/ 36 w 73"/>
                <a:gd name="T11" fmla="*/ 9 h 74"/>
                <a:gd name="T12" fmla="*/ 8 w 73"/>
                <a:gd name="T13" fmla="*/ 37 h 74"/>
                <a:gd name="T14" fmla="*/ 36 w 73"/>
                <a:gd name="T15" fmla="*/ 65 h 74"/>
                <a:gd name="T16" fmla="*/ 64 w 73"/>
                <a:gd name="T17" fmla="*/ 37 h 74"/>
                <a:gd name="T18" fmla="*/ 36 w 73"/>
                <a:gd name="T19" fmla="*/ 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4">
                  <a:moveTo>
                    <a:pt x="36" y="74"/>
                  </a:moveTo>
                  <a:cubicBezTo>
                    <a:pt x="16" y="74"/>
                    <a:pt x="0" y="57"/>
                    <a:pt x="0" y="37"/>
                  </a:cubicBezTo>
                  <a:cubicBezTo>
                    <a:pt x="0" y="17"/>
                    <a:pt x="16" y="0"/>
                    <a:pt x="36" y="0"/>
                  </a:cubicBezTo>
                  <a:cubicBezTo>
                    <a:pt x="57" y="0"/>
                    <a:pt x="73" y="17"/>
                    <a:pt x="73" y="37"/>
                  </a:cubicBezTo>
                  <a:cubicBezTo>
                    <a:pt x="73" y="57"/>
                    <a:pt x="57" y="74"/>
                    <a:pt x="36" y="74"/>
                  </a:cubicBezTo>
                  <a:close/>
                  <a:moveTo>
                    <a:pt x="36" y="9"/>
                  </a:moveTo>
                  <a:cubicBezTo>
                    <a:pt x="21" y="9"/>
                    <a:pt x="8" y="21"/>
                    <a:pt x="8" y="37"/>
                  </a:cubicBezTo>
                  <a:cubicBezTo>
                    <a:pt x="8" y="52"/>
                    <a:pt x="21" y="65"/>
                    <a:pt x="36" y="65"/>
                  </a:cubicBezTo>
                  <a:cubicBezTo>
                    <a:pt x="52" y="65"/>
                    <a:pt x="64" y="52"/>
                    <a:pt x="64" y="37"/>
                  </a:cubicBezTo>
                  <a:cubicBezTo>
                    <a:pt x="64" y="21"/>
                    <a:pt x="52" y="9"/>
                    <a:pt x="3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6" name="Agrupar 1695">
            <a:extLst>
              <a:ext uri="{FF2B5EF4-FFF2-40B4-BE49-F238E27FC236}">
                <a16:creationId xmlns:a16="http://schemas.microsoft.com/office/drawing/2014/main" id="{8B2ABD91-FC6C-4C8B-80BF-17425E6125FB}"/>
              </a:ext>
            </a:extLst>
          </p:cNvPr>
          <p:cNvGrpSpPr/>
          <p:nvPr/>
        </p:nvGrpSpPr>
        <p:grpSpPr>
          <a:xfrm>
            <a:off x="6825943" y="5217756"/>
            <a:ext cx="184629" cy="270621"/>
            <a:chOff x="6825943" y="5217756"/>
            <a:chExt cx="184629" cy="270621"/>
          </a:xfrm>
        </p:grpSpPr>
        <p:sp>
          <p:nvSpPr>
            <p:cNvPr id="1085" name="Freeform 1281">
              <a:extLst>
                <a:ext uri="{FF2B5EF4-FFF2-40B4-BE49-F238E27FC236}">
                  <a16:creationId xmlns:a16="http://schemas.microsoft.com/office/drawing/2014/main" id="{F8F08237-9400-4213-A8D4-E9265694C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028" y="5224079"/>
              <a:ext cx="16440" cy="264298"/>
            </a:xfrm>
            <a:custGeom>
              <a:avLst/>
              <a:gdLst>
                <a:gd name="T0" fmla="*/ 5 w 9"/>
                <a:gd name="T1" fmla="*/ 146 h 146"/>
                <a:gd name="T2" fmla="*/ 0 w 9"/>
                <a:gd name="T3" fmla="*/ 142 h 146"/>
                <a:gd name="T4" fmla="*/ 0 w 9"/>
                <a:gd name="T5" fmla="*/ 4 h 146"/>
                <a:gd name="T6" fmla="*/ 5 w 9"/>
                <a:gd name="T7" fmla="*/ 0 h 146"/>
                <a:gd name="T8" fmla="*/ 9 w 9"/>
                <a:gd name="T9" fmla="*/ 4 h 146"/>
                <a:gd name="T10" fmla="*/ 9 w 9"/>
                <a:gd name="T11" fmla="*/ 142 h 146"/>
                <a:gd name="T12" fmla="*/ 5 w 9"/>
                <a:gd name="T1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46">
                  <a:moveTo>
                    <a:pt x="5" y="146"/>
                  </a:moveTo>
                  <a:cubicBezTo>
                    <a:pt x="2" y="146"/>
                    <a:pt x="0" y="144"/>
                    <a:pt x="0" y="14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44"/>
                    <a:pt x="7" y="146"/>
                    <a:pt x="5" y="14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6" name="Freeform 1282">
              <a:extLst>
                <a:ext uri="{FF2B5EF4-FFF2-40B4-BE49-F238E27FC236}">
                  <a16:creationId xmlns:a16="http://schemas.microsoft.com/office/drawing/2014/main" id="{ED7B92EF-0C7F-4BFC-BB8A-DBFA7AD39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943" y="5224079"/>
              <a:ext cx="74611" cy="110019"/>
            </a:xfrm>
            <a:custGeom>
              <a:avLst/>
              <a:gdLst>
                <a:gd name="T0" fmla="*/ 26 w 41"/>
                <a:gd name="T1" fmla="*/ 61 h 61"/>
                <a:gd name="T2" fmla="*/ 15 w 41"/>
                <a:gd name="T3" fmla="*/ 61 h 61"/>
                <a:gd name="T4" fmla="*/ 0 w 41"/>
                <a:gd name="T5" fmla="*/ 46 h 61"/>
                <a:gd name="T6" fmla="*/ 0 w 41"/>
                <a:gd name="T7" fmla="*/ 4 h 61"/>
                <a:gd name="T8" fmla="*/ 5 w 41"/>
                <a:gd name="T9" fmla="*/ 0 h 61"/>
                <a:gd name="T10" fmla="*/ 9 w 41"/>
                <a:gd name="T11" fmla="*/ 4 h 61"/>
                <a:gd name="T12" fmla="*/ 9 w 41"/>
                <a:gd name="T13" fmla="*/ 46 h 61"/>
                <a:gd name="T14" fmla="*/ 15 w 41"/>
                <a:gd name="T15" fmla="*/ 53 h 61"/>
                <a:gd name="T16" fmla="*/ 26 w 41"/>
                <a:gd name="T17" fmla="*/ 53 h 61"/>
                <a:gd name="T18" fmla="*/ 32 w 41"/>
                <a:gd name="T19" fmla="*/ 46 h 61"/>
                <a:gd name="T20" fmla="*/ 32 w 41"/>
                <a:gd name="T21" fmla="*/ 4 h 61"/>
                <a:gd name="T22" fmla="*/ 37 w 41"/>
                <a:gd name="T23" fmla="*/ 0 h 61"/>
                <a:gd name="T24" fmla="*/ 41 w 41"/>
                <a:gd name="T25" fmla="*/ 4 h 61"/>
                <a:gd name="T26" fmla="*/ 41 w 41"/>
                <a:gd name="T27" fmla="*/ 46 h 61"/>
                <a:gd name="T28" fmla="*/ 26 w 41"/>
                <a:gd name="T2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" h="61">
                  <a:moveTo>
                    <a:pt x="26" y="61"/>
                  </a:moveTo>
                  <a:cubicBezTo>
                    <a:pt x="15" y="61"/>
                    <a:pt x="15" y="61"/>
                    <a:pt x="15" y="61"/>
                  </a:cubicBezTo>
                  <a:cubicBezTo>
                    <a:pt x="7" y="61"/>
                    <a:pt x="0" y="55"/>
                    <a:pt x="0" y="4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50"/>
                    <a:pt x="12" y="53"/>
                    <a:pt x="15" y="53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9" y="53"/>
                    <a:pt x="32" y="50"/>
                    <a:pt x="32" y="46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1"/>
                    <a:pt x="34" y="0"/>
                    <a:pt x="37" y="0"/>
                  </a:cubicBezTo>
                  <a:cubicBezTo>
                    <a:pt x="39" y="0"/>
                    <a:pt x="41" y="1"/>
                    <a:pt x="41" y="4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55"/>
                    <a:pt x="34" y="61"/>
                    <a:pt x="26" y="6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7" name="Freeform 1283">
              <a:extLst>
                <a:ext uri="{FF2B5EF4-FFF2-40B4-BE49-F238E27FC236}">
                  <a16:creationId xmlns:a16="http://schemas.microsoft.com/office/drawing/2014/main" id="{04753D3C-FBFD-49A9-9A87-CAFDF1564D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6195" y="5217756"/>
              <a:ext cx="54377" cy="266828"/>
            </a:xfrm>
            <a:custGeom>
              <a:avLst/>
              <a:gdLst>
                <a:gd name="T0" fmla="*/ 26 w 30"/>
                <a:gd name="T1" fmla="*/ 147 h 147"/>
                <a:gd name="T2" fmla="*/ 21 w 30"/>
                <a:gd name="T3" fmla="*/ 142 h 147"/>
                <a:gd name="T4" fmla="*/ 21 w 30"/>
                <a:gd name="T5" fmla="*/ 94 h 147"/>
                <a:gd name="T6" fmla="*/ 10 w 30"/>
                <a:gd name="T7" fmla="*/ 94 h 147"/>
                <a:gd name="T8" fmla="*/ 0 w 30"/>
                <a:gd name="T9" fmla="*/ 84 h 147"/>
                <a:gd name="T10" fmla="*/ 0 w 30"/>
                <a:gd name="T11" fmla="*/ 26 h 147"/>
                <a:gd name="T12" fmla="*/ 26 w 30"/>
                <a:gd name="T13" fmla="*/ 0 h 147"/>
                <a:gd name="T14" fmla="*/ 30 w 30"/>
                <a:gd name="T15" fmla="*/ 5 h 147"/>
                <a:gd name="T16" fmla="*/ 30 w 30"/>
                <a:gd name="T17" fmla="*/ 142 h 147"/>
                <a:gd name="T18" fmla="*/ 26 w 30"/>
                <a:gd name="T19" fmla="*/ 147 h 147"/>
                <a:gd name="T20" fmla="*/ 21 w 30"/>
                <a:gd name="T21" fmla="*/ 9 h 147"/>
                <a:gd name="T22" fmla="*/ 9 w 30"/>
                <a:gd name="T23" fmla="*/ 26 h 147"/>
                <a:gd name="T24" fmla="*/ 9 w 30"/>
                <a:gd name="T25" fmla="*/ 84 h 147"/>
                <a:gd name="T26" fmla="*/ 10 w 30"/>
                <a:gd name="T27" fmla="*/ 85 h 147"/>
                <a:gd name="T28" fmla="*/ 21 w 30"/>
                <a:gd name="T29" fmla="*/ 85 h 147"/>
                <a:gd name="T30" fmla="*/ 21 w 30"/>
                <a:gd name="T31" fmla="*/ 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147">
                  <a:moveTo>
                    <a:pt x="26" y="147"/>
                  </a:moveTo>
                  <a:cubicBezTo>
                    <a:pt x="23" y="147"/>
                    <a:pt x="21" y="145"/>
                    <a:pt x="21" y="142"/>
                  </a:cubicBezTo>
                  <a:cubicBezTo>
                    <a:pt x="21" y="94"/>
                    <a:pt x="21" y="94"/>
                    <a:pt x="21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5" y="94"/>
                    <a:pt x="0" y="89"/>
                    <a:pt x="0" y="8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28" y="0"/>
                    <a:pt x="30" y="2"/>
                    <a:pt x="30" y="5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30" y="145"/>
                    <a:pt x="28" y="147"/>
                    <a:pt x="26" y="147"/>
                  </a:cubicBezTo>
                  <a:close/>
                  <a:moveTo>
                    <a:pt x="21" y="9"/>
                  </a:moveTo>
                  <a:cubicBezTo>
                    <a:pt x="14" y="11"/>
                    <a:pt x="9" y="18"/>
                    <a:pt x="9" y="26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5"/>
                    <a:pt x="9" y="85"/>
                    <a:pt x="10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86" name="Agrupar 1685">
            <a:extLst>
              <a:ext uri="{FF2B5EF4-FFF2-40B4-BE49-F238E27FC236}">
                <a16:creationId xmlns:a16="http://schemas.microsoft.com/office/drawing/2014/main" id="{3894EA2B-63CB-48E5-BFF2-CBEC6E5FEB53}"/>
              </a:ext>
            </a:extLst>
          </p:cNvPr>
          <p:cNvGrpSpPr/>
          <p:nvPr/>
        </p:nvGrpSpPr>
        <p:grpSpPr>
          <a:xfrm>
            <a:off x="5563886" y="4808030"/>
            <a:ext cx="227625" cy="266828"/>
            <a:chOff x="5563886" y="4808030"/>
            <a:chExt cx="227625" cy="266828"/>
          </a:xfrm>
        </p:grpSpPr>
        <p:sp>
          <p:nvSpPr>
            <p:cNvPr id="1088" name="Freeform 1284">
              <a:extLst>
                <a:ext uri="{FF2B5EF4-FFF2-40B4-BE49-F238E27FC236}">
                  <a16:creationId xmlns:a16="http://schemas.microsoft.com/office/drawing/2014/main" id="{1E3F6760-2A84-4BF4-A270-A54E9F8B6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824" y="5058418"/>
              <a:ext cx="150486" cy="16440"/>
            </a:xfrm>
            <a:custGeom>
              <a:avLst/>
              <a:gdLst>
                <a:gd name="T0" fmla="*/ 79 w 83"/>
                <a:gd name="T1" fmla="*/ 9 h 9"/>
                <a:gd name="T2" fmla="*/ 5 w 83"/>
                <a:gd name="T3" fmla="*/ 9 h 9"/>
                <a:gd name="T4" fmla="*/ 0 w 83"/>
                <a:gd name="T5" fmla="*/ 4 h 9"/>
                <a:gd name="T6" fmla="*/ 5 w 83"/>
                <a:gd name="T7" fmla="*/ 0 h 9"/>
                <a:gd name="T8" fmla="*/ 79 w 83"/>
                <a:gd name="T9" fmla="*/ 0 h 9"/>
                <a:gd name="T10" fmla="*/ 83 w 83"/>
                <a:gd name="T11" fmla="*/ 4 h 9"/>
                <a:gd name="T12" fmla="*/ 79 w 8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9">
                  <a:moveTo>
                    <a:pt x="79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3" y="2"/>
                    <a:pt x="83" y="4"/>
                  </a:cubicBezTo>
                  <a:cubicBezTo>
                    <a:pt x="83" y="7"/>
                    <a:pt x="81" y="9"/>
                    <a:pt x="79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9" name="Freeform 1285">
              <a:extLst>
                <a:ext uri="{FF2B5EF4-FFF2-40B4-BE49-F238E27FC236}">
                  <a16:creationId xmlns:a16="http://schemas.microsoft.com/office/drawing/2014/main" id="{8D8B3AE0-4C4F-4DF7-A069-683DA3E86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112" y="4942076"/>
              <a:ext cx="15175" cy="132781"/>
            </a:xfrm>
            <a:custGeom>
              <a:avLst/>
              <a:gdLst>
                <a:gd name="T0" fmla="*/ 4 w 8"/>
                <a:gd name="T1" fmla="*/ 73 h 73"/>
                <a:gd name="T2" fmla="*/ 0 w 8"/>
                <a:gd name="T3" fmla="*/ 68 h 73"/>
                <a:gd name="T4" fmla="*/ 0 w 8"/>
                <a:gd name="T5" fmla="*/ 5 h 73"/>
                <a:gd name="T6" fmla="*/ 4 w 8"/>
                <a:gd name="T7" fmla="*/ 0 h 73"/>
                <a:gd name="T8" fmla="*/ 8 w 8"/>
                <a:gd name="T9" fmla="*/ 5 h 73"/>
                <a:gd name="T10" fmla="*/ 8 w 8"/>
                <a:gd name="T11" fmla="*/ 68 h 73"/>
                <a:gd name="T12" fmla="*/ 4 w 8"/>
                <a:gd name="T1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3">
                  <a:moveTo>
                    <a:pt x="4" y="73"/>
                  </a:moveTo>
                  <a:cubicBezTo>
                    <a:pt x="1" y="73"/>
                    <a:pt x="0" y="71"/>
                    <a:pt x="0" y="6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71"/>
                    <a:pt x="6" y="73"/>
                    <a:pt x="4" y="7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0" name="Freeform 1286">
              <a:extLst>
                <a:ext uri="{FF2B5EF4-FFF2-40B4-BE49-F238E27FC236}">
                  <a16:creationId xmlns:a16="http://schemas.microsoft.com/office/drawing/2014/main" id="{0F493E19-C1ED-4A3B-B3DE-49156366F0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3886" y="4808030"/>
              <a:ext cx="227625" cy="150486"/>
            </a:xfrm>
            <a:custGeom>
              <a:avLst/>
              <a:gdLst>
                <a:gd name="T0" fmla="*/ 63 w 126"/>
                <a:gd name="T1" fmla="*/ 83 h 83"/>
                <a:gd name="T2" fmla="*/ 59 w 126"/>
                <a:gd name="T3" fmla="*/ 81 h 83"/>
                <a:gd name="T4" fmla="*/ 1 w 126"/>
                <a:gd name="T5" fmla="*/ 7 h 83"/>
                <a:gd name="T6" fmla="*/ 1 w 126"/>
                <a:gd name="T7" fmla="*/ 2 h 83"/>
                <a:gd name="T8" fmla="*/ 4 w 126"/>
                <a:gd name="T9" fmla="*/ 0 h 83"/>
                <a:gd name="T10" fmla="*/ 121 w 126"/>
                <a:gd name="T11" fmla="*/ 0 h 83"/>
                <a:gd name="T12" fmla="*/ 125 w 126"/>
                <a:gd name="T13" fmla="*/ 2 h 83"/>
                <a:gd name="T14" fmla="*/ 125 w 126"/>
                <a:gd name="T15" fmla="*/ 7 h 83"/>
                <a:gd name="T16" fmla="*/ 66 w 126"/>
                <a:gd name="T17" fmla="*/ 81 h 83"/>
                <a:gd name="T18" fmla="*/ 63 w 126"/>
                <a:gd name="T19" fmla="*/ 83 h 83"/>
                <a:gd name="T20" fmla="*/ 13 w 126"/>
                <a:gd name="T21" fmla="*/ 9 h 83"/>
                <a:gd name="T22" fmla="*/ 63 w 126"/>
                <a:gd name="T23" fmla="*/ 72 h 83"/>
                <a:gd name="T24" fmla="*/ 112 w 126"/>
                <a:gd name="T25" fmla="*/ 9 h 83"/>
                <a:gd name="T26" fmla="*/ 13 w 126"/>
                <a:gd name="T27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6" h="83">
                  <a:moveTo>
                    <a:pt x="63" y="83"/>
                  </a:moveTo>
                  <a:cubicBezTo>
                    <a:pt x="62" y="83"/>
                    <a:pt x="60" y="82"/>
                    <a:pt x="59" y="8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3" y="0"/>
                    <a:pt x="124" y="1"/>
                    <a:pt x="125" y="2"/>
                  </a:cubicBezTo>
                  <a:cubicBezTo>
                    <a:pt x="126" y="4"/>
                    <a:pt x="126" y="6"/>
                    <a:pt x="125" y="7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65" y="82"/>
                    <a:pt x="64" y="83"/>
                    <a:pt x="63" y="83"/>
                  </a:cubicBezTo>
                  <a:close/>
                  <a:moveTo>
                    <a:pt x="13" y="9"/>
                  </a:moveTo>
                  <a:cubicBezTo>
                    <a:pt x="63" y="72"/>
                    <a:pt x="63" y="72"/>
                    <a:pt x="63" y="72"/>
                  </a:cubicBezTo>
                  <a:cubicBezTo>
                    <a:pt x="112" y="9"/>
                    <a:pt x="112" y="9"/>
                    <a:pt x="112" y="9"/>
                  </a:cubicBezTo>
                  <a:lnTo>
                    <a:pt x="13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1" name="Freeform 1287">
              <a:extLst>
                <a:ext uri="{FF2B5EF4-FFF2-40B4-BE49-F238E27FC236}">
                  <a16:creationId xmlns:a16="http://schemas.microsoft.com/office/drawing/2014/main" id="{708E57EA-4E23-4BB2-A66E-633D11E9E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236" y="4845968"/>
              <a:ext cx="166925" cy="16440"/>
            </a:xfrm>
            <a:custGeom>
              <a:avLst/>
              <a:gdLst>
                <a:gd name="T0" fmla="*/ 88 w 92"/>
                <a:gd name="T1" fmla="*/ 9 h 9"/>
                <a:gd name="T2" fmla="*/ 4 w 92"/>
                <a:gd name="T3" fmla="*/ 9 h 9"/>
                <a:gd name="T4" fmla="*/ 0 w 92"/>
                <a:gd name="T5" fmla="*/ 5 h 9"/>
                <a:gd name="T6" fmla="*/ 4 w 92"/>
                <a:gd name="T7" fmla="*/ 0 h 9"/>
                <a:gd name="T8" fmla="*/ 88 w 92"/>
                <a:gd name="T9" fmla="*/ 0 h 9"/>
                <a:gd name="T10" fmla="*/ 92 w 92"/>
                <a:gd name="T11" fmla="*/ 5 h 9"/>
                <a:gd name="T12" fmla="*/ 88 w 9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9">
                  <a:moveTo>
                    <a:pt x="8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2" y="2"/>
                    <a:pt x="92" y="5"/>
                  </a:cubicBezTo>
                  <a:cubicBezTo>
                    <a:pt x="92" y="7"/>
                    <a:pt x="90" y="9"/>
                    <a:pt x="88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4" name="Agrupar 1673">
            <a:extLst>
              <a:ext uri="{FF2B5EF4-FFF2-40B4-BE49-F238E27FC236}">
                <a16:creationId xmlns:a16="http://schemas.microsoft.com/office/drawing/2014/main" id="{3A7AE8B5-47BE-4BDC-A66F-914365332D23}"/>
              </a:ext>
            </a:extLst>
          </p:cNvPr>
          <p:cNvGrpSpPr/>
          <p:nvPr/>
        </p:nvGrpSpPr>
        <p:grpSpPr>
          <a:xfrm>
            <a:off x="4429553" y="4348985"/>
            <a:ext cx="207393" cy="265563"/>
            <a:chOff x="4429553" y="4348985"/>
            <a:chExt cx="207393" cy="265563"/>
          </a:xfrm>
        </p:grpSpPr>
        <p:sp>
          <p:nvSpPr>
            <p:cNvPr id="1092" name="Freeform 1288">
              <a:extLst>
                <a:ext uri="{FF2B5EF4-FFF2-40B4-BE49-F238E27FC236}">
                  <a16:creationId xmlns:a16="http://schemas.microsoft.com/office/drawing/2014/main" id="{B49E2235-8D80-4FF8-AC0A-A70644B8ED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8522" y="4445094"/>
              <a:ext cx="150486" cy="131517"/>
            </a:xfrm>
            <a:custGeom>
              <a:avLst/>
              <a:gdLst>
                <a:gd name="T0" fmla="*/ 45 w 83"/>
                <a:gd name="T1" fmla="*/ 72 h 72"/>
                <a:gd name="T2" fmla="*/ 39 w 83"/>
                <a:gd name="T3" fmla="*/ 72 h 72"/>
                <a:gd name="T4" fmla="*/ 0 w 83"/>
                <a:gd name="T5" fmla="*/ 34 h 72"/>
                <a:gd name="T6" fmla="*/ 0 w 83"/>
                <a:gd name="T7" fmla="*/ 4 h 72"/>
                <a:gd name="T8" fmla="*/ 5 w 83"/>
                <a:gd name="T9" fmla="*/ 0 h 72"/>
                <a:gd name="T10" fmla="*/ 79 w 83"/>
                <a:gd name="T11" fmla="*/ 0 h 72"/>
                <a:gd name="T12" fmla="*/ 83 w 83"/>
                <a:gd name="T13" fmla="*/ 4 h 72"/>
                <a:gd name="T14" fmla="*/ 83 w 83"/>
                <a:gd name="T15" fmla="*/ 34 h 72"/>
                <a:gd name="T16" fmla="*/ 45 w 83"/>
                <a:gd name="T17" fmla="*/ 72 h 72"/>
                <a:gd name="T18" fmla="*/ 9 w 83"/>
                <a:gd name="T19" fmla="*/ 8 h 72"/>
                <a:gd name="T20" fmla="*/ 9 w 83"/>
                <a:gd name="T21" fmla="*/ 34 h 72"/>
                <a:gd name="T22" fmla="*/ 39 w 83"/>
                <a:gd name="T23" fmla="*/ 64 h 72"/>
                <a:gd name="T24" fmla="*/ 45 w 83"/>
                <a:gd name="T25" fmla="*/ 64 h 72"/>
                <a:gd name="T26" fmla="*/ 75 w 83"/>
                <a:gd name="T27" fmla="*/ 34 h 72"/>
                <a:gd name="T28" fmla="*/ 75 w 83"/>
                <a:gd name="T29" fmla="*/ 8 h 72"/>
                <a:gd name="T30" fmla="*/ 9 w 83"/>
                <a:gd name="T31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72">
                  <a:moveTo>
                    <a:pt x="45" y="72"/>
                  </a:moveTo>
                  <a:cubicBezTo>
                    <a:pt x="39" y="72"/>
                    <a:pt x="39" y="72"/>
                    <a:pt x="39" y="72"/>
                  </a:cubicBezTo>
                  <a:cubicBezTo>
                    <a:pt x="17" y="72"/>
                    <a:pt x="0" y="55"/>
                    <a:pt x="0" y="3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3" y="2"/>
                    <a:pt x="83" y="4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83" y="55"/>
                    <a:pt x="66" y="72"/>
                    <a:pt x="45" y="72"/>
                  </a:cubicBezTo>
                  <a:close/>
                  <a:moveTo>
                    <a:pt x="9" y="8"/>
                  </a:moveTo>
                  <a:cubicBezTo>
                    <a:pt x="9" y="34"/>
                    <a:pt x="9" y="34"/>
                    <a:pt x="9" y="34"/>
                  </a:cubicBezTo>
                  <a:cubicBezTo>
                    <a:pt x="9" y="50"/>
                    <a:pt x="22" y="64"/>
                    <a:pt x="39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61" y="64"/>
                    <a:pt x="75" y="50"/>
                    <a:pt x="75" y="34"/>
                  </a:cubicBezTo>
                  <a:cubicBezTo>
                    <a:pt x="75" y="8"/>
                    <a:pt x="75" y="8"/>
                    <a:pt x="75" y="8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3" name="Freeform 1289">
              <a:extLst>
                <a:ext uri="{FF2B5EF4-FFF2-40B4-BE49-F238E27FC236}">
                  <a16:creationId xmlns:a16="http://schemas.microsoft.com/office/drawing/2014/main" id="{205D860F-3A9D-4C4C-AE38-2BEA22424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553" y="4599373"/>
              <a:ext cx="188423" cy="15175"/>
            </a:xfrm>
            <a:custGeom>
              <a:avLst/>
              <a:gdLst>
                <a:gd name="T0" fmla="*/ 99 w 104"/>
                <a:gd name="T1" fmla="*/ 8 h 8"/>
                <a:gd name="T2" fmla="*/ 4 w 104"/>
                <a:gd name="T3" fmla="*/ 8 h 8"/>
                <a:gd name="T4" fmla="*/ 0 w 104"/>
                <a:gd name="T5" fmla="*/ 4 h 8"/>
                <a:gd name="T6" fmla="*/ 4 w 104"/>
                <a:gd name="T7" fmla="*/ 0 h 8"/>
                <a:gd name="T8" fmla="*/ 99 w 104"/>
                <a:gd name="T9" fmla="*/ 0 h 8"/>
                <a:gd name="T10" fmla="*/ 104 w 104"/>
                <a:gd name="T11" fmla="*/ 4 h 8"/>
                <a:gd name="T12" fmla="*/ 99 w 10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8">
                  <a:moveTo>
                    <a:pt x="9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02" y="0"/>
                    <a:pt x="104" y="2"/>
                    <a:pt x="104" y="4"/>
                  </a:cubicBezTo>
                  <a:cubicBezTo>
                    <a:pt x="104" y="6"/>
                    <a:pt x="102" y="8"/>
                    <a:pt x="99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4" name="Freeform 1290">
              <a:extLst>
                <a:ext uri="{FF2B5EF4-FFF2-40B4-BE49-F238E27FC236}">
                  <a16:creationId xmlns:a16="http://schemas.microsoft.com/office/drawing/2014/main" id="{2E50B7F7-9F40-4755-9DCD-9ED291AAD3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3833" y="4445094"/>
              <a:ext cx="53113" cy="73346"/>
            </a:xfrm>
            <a:custGeom>
              <a:avLst/>
              <a:gdLst>
                <a:gd name="T0" fmla="*/ 18 w 29"/>
                <a:gd name="T1" fmla="*/ 40 h 40"/>
                <a:gd name="T2" fmla="*/ 4 w 29"/>
                <a:gd name="T3" fmla="*/ 40 h 40"/>
                <a:gd name="T4" fmla="*/ 0 w 29"/>
                <a:gd name="T5" fmla="*/ 36 h 40"/>
                <a:gd name="T6" fmla="*/ 0 w 29"/>
                <a:gd name="T7" fmla="*/ 4 h 40"/>
                <a:gd name="T8" fmla="*/ 4 w 29"/>
                <a:gd name="T9" fmla="*/ 0 h 40"/>
                <a:gd name="T10" fmla="*/ 18 w 29"/>
                <a:gd name="T11" fmla="*/ 0 h 40"/>
                <a:gd name="T12" fmla="*/ 29 w 29"/>
                <a:gd name="T13" fmla="*/ 11 h 40"/>
                <a:gd name="T14" fmla="*/ 29 w 29"/>
                <a:gd name="T15" fmla="*/ 29 h 40"/>
                <a:gd name="T16" fmla="*/ 18 w 29"/>
                <a:gd name="T17" fmla="*/ 40 h 40"/>
                <a:gd name="T18" fmla="*/ 8 w 29"/>
                <a:gd name="T19" fmla="*/ 32 h 40"/>
                <a:gd name="T20" fmla="*/ 18 w 29"/>
                <a:gd name="T21" fmla="*/ 32 h 40"/>
                <a:gd name="T22" fmla="*/ 21 w 29"/>
                <a:gd name="T23" fmla="*/ 29 h 40"/>
                <a:gd name="T24" fmla="*/ 21 w 29"/>
                <a:gd name="T25" fmla="*/ 11 h 40"/>
                <a:gd name="T26" fmla="*/ 18 w 29"/>
                <a:gd name="T27" fmla="*/ 8 h 40"/>
                <a:gd name="T28" fmla="*/ 8 w 29"/>
                <a:gd name="T29" fmla="*/ 8 h 40"/>
                <a:gd name="T30" fmla="*/ 8 w 29"/>
                <a:gd name="T3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40">
                  <a:moveTo>
                    <a:pt x="18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1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4" y="0"/>
                    <a:pt x="29" y="5"/>
                    <a:pt x="29" y="11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5"/>
                    <a:pt x="24" y="40"/>
                    <a:pt x="18" y="40"/>
                  </a:cubicBezTo>
                  <a:close/>
                  <a:moveTo>
                    <a:pt x="8" y="32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20" y="32"/>
                    <a:pt x="21" y="31"/>
                    <a:pt x="21" y="29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0"/>
                    <a:pt x="20" y="8"/>
                    <a:pt x="18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5" name="Freeform 1291">
              <a:extLst>
                <a:ext uri="{FF2B5EF4-FFF2-40B4-BE49-F238E27FC236}">
                  <a16:creationId xmlns:a16="http://schemas.microsoft.com/office/drawing/2014/main" id="{4F865726-4E49-490D-8288-3D486F3F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6226" y="4348985"/>
              <a:ext cx="37938" cy="73346"/>
            </a:xfrm>
            <a:custGeom>
              <a:avLst/>
              <a:gdLst>
                <a:gd name="T0" fmla="*/ 10 w 21"/>
                <a:gd name="T1" fmla="*/ 40 h 40"/>
                <a:gd name="T2" fmla="*/ 3 w 21"/>
                <a:gd name="T3" fmla="*/ 37 h 40"/>
                <a:gd name="T4" fmla="*/ 7 w 21"/>
                <a:gd name="T5" fmla="*/ 18 h 40"/>
                <a:gd name="T6" fmla="*/ 11 w 21"/>
                <a:gd name="T7" fmla="*/ 8 h 40"/>
                <a:gd name="T8" fmla="*/ 10 w 21"/>
                <a:gd name="T9" fmla="*/ 8 h 40"/>
                <a:gd name="T10" fmla="*/ 6 w 21"/>
                <a:gd name="T11" fmla="*/ 4 h 40"/>
                <a:gd name="T12" fmla="*/ 10 w 21"/>
                <a:gd name="T13" fmla="*/ 0 h 40"/>
                <a:gd name="T14" fmla="*/ 18 w 21"/>
                <a:gd name="T15" fmla="*/ 3 h 40"/>
                <a:gd name="T16" fmla="*/ 14 w 21"/>
                <a:gd name="T17" fmla="*/ 22 h 40"/>
                <a:gd name="T18" fmla="*/ 10 w 21"/>
                <a:gd name="T19" fmla="*/ 32 h 40"/>
                <a:gd name="T20" fmla="*/ 10 w 21"/>
                <a:gd name="T21" fmla="*/ 32 h 40"/>
                <a:gd name="T22" fmla="*/ 15 w 21"/>
                <a:gd name="T23" fmla="*/ 36 h 40"/>
                <a:gd name="T24" fmla="*/ 10 w 21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40">
                  <a:moveTo>
                    <a:pt x="10" y="40"/>
                  </a:moveTo>
                  <a:cubicBezTo>
                    <a:pt x="6" y="40"/>
                    <a:pt x="4" y="38"/>
                    <a:pt x="3" y="37"/>
                  </a:cubicBezTo>
                  <a:cubicBezTo>
                    <a:pt x="0" y="32"/>
                    <a:pt x="3" y="25"/>
                    <a:pt x="7" y="18"/>
                  </a:cubicBezTo>
                  <a:cubicBezTo>
                    <a:pt x="8" y="15"/>
                    <a:pt x="10" y="11"/>
                    <a:pt x="11" y="8"/>
                  </a:cubicBezTo>
                  <a:cubicBezTo>
                    <a:pt x="11" y="8"/>
                    <a:pt x="11" y="8"/>
                    <a:pt x="10" y="8"/>
                  </a:cubicBezTo>
                  <a:cubicBezTo>
                    <a:pt x="8" y="8"/>
                    <a:pt x="6" y="6"/>
                    <a:pt x="6" y="4"/>
                  </a:cubicBezTo>
                  <a:cubicBezTo>
                    <a:pt x="6" y="2"/>
                    <a:pt x="8" y="0"/>
                    <a:pt x="10" y="0"/>
                  </a:cubicBezTo>
                  <a:cubicBezTo>
                    <a:pt x="15" y="0"/>
                    <a:pt x="17" y="2"/>
                    <a:pt x="18" y="3"/>
                  </a:cubicBezTo>
                  <a:cubicBezTo>
                    <a:pt x="21" y="8"/>
                    <a:pt x="18" y="15"/>
                    <a:pt x="14" y="22"/>
                  </a:cubicBezTo>
                  <a:cubicBezTo>
                    <a:pt x="13" y="25"/>
                    <a:pt x="10" y="29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3" y="32"/>
                    <a:pt x="15" y="34"/>
                    <a:pt x="15" y="36"/>
                  </a:cubicBezTo>
                  <a:cubicBezTo>
                    <a:pt x="15" y="38"/>
                    <a:pt x="13" y="40"/>
                    <a:pt x="10" y="4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6" name="Freeform 1292">
              <a:extLst>
                <a:ext uri="{FF2B5EF4-FFF2-40B4-BE49-F238E27FC236}">
                  <a16:creationId xmlns:a16="http://schemas.microsoft.com/office/drawing/2014/main" id="{CE53AD78-60DF-4D6C-BB87-863367735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4164" y="4348985"/>
              <a:ext cx="37938" cy="73346"/>
            </a:xfrm>
            <a:custGeom>
              <a:avLst/>
              <a:gdLst>
                <a:gd name="T0" fmla="*/ 11 w 21"/>
                <a:gd name="T1" fmla="*/ 40 h 40"/>
                <a:gd name="T2" fmla="*/ 3 w 21"/>
                <a:gd name="T3" fmla="*/ 37 h 40"/>
                <a:gd name="T4" fmla="*/ 7 w 21"/>
                <a:gd name="T5" fmla="*/ 18 h 40"/>
                <a:gd name="T6" fmla="*/ 11 w 21"/>
                <a:gd name="T7" fmla="*/ 8 h 40"/>
                <a:gd name="T8" fmla="*/ 11 w 21"/>
                <a:gd name="T9" fmla="*/ 8 h 40"/>
                <a:gd name="T10" fmla="*/ 6 w 21"/>
                <a:gd name="T11" fmla="*/ 4 h 40"/>
                <a:gd name="T12" fmla="*/ 11 w 21"/>
                <a:gd name="T13" fmla="*/ 0 h 40"/>
                <a:gd name="T14" fmla="*/ 18 w 21"/>
                <a:gd name="T15" fmla="*/ 3 h 40"/>
                <a:gd name="T16" fmla="*/ 14 w 21"/>
                <a:gd name="T17" fmla="*/ 22 h 40"/>
                <a:gd name="T18" fmla="*/ 10 w 21"/>
                <a:gd name="T19" fmla="*/ 32 h 40"/>
                <a:gd name="T20" fmla="*/ 11 w 21"/>
                <a:gd name="T21" fmla="*/ 32 h 40"/>
                <a:gd name="T22" fmla="*/ 15 w 21"/>
                <a:gd name="T23" fmla="*/ 36 h 40"/>
                <a:gd name="T24" fmla="*/ 11 w 21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40">
                  <a:moveTo>
                    <a:pt x="11" y="40"/>
                  </a:moveTo>
                  <a:cubicBezTo>
                    <a:pt x="6" y="40"/>
                    <a:pt x="4" y="38"/>
                    <a:pt x="3" y="37"/>
                  </a:cubicBezTo>
                  <a:cubicBezTo>
                    <a:pt x="0" y="32"/>
                    <a:pt x="3" y="25"/>
                    <a:pt x="7" y="18"/>
                  </a:cubicBezTo>
                  <a:cubicBezTo>
                    <a:pt x="8" y="15"/>
                    <a:pt x="11" y="11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8" y="8"/>
                    <a:pt x="6" y="6"/>
                    <a:pt x="6" y="4"/>
                  </a:cubicBezTo>
                  <a:cubicBezTo>
                    <a:pt x="6" y="2"/>
                    <a:pt x="8" y="0"/>
                    <a:pt x="11" y="0"/>
                  </a:cubicBezTo>
                  <a:cubicBezTo>
                    <a:pt x="15" y="0"/>
                    <a:pt x="17" y="2"/>
                    <a:pt x="18" y="3"/>
                  </a:cubicBezTo>
                  <a:cubicBezTo>
                    <a:pt x="21" y="8"/>
                    <a:pt x="18" y="15"/>
                    <a:pt x="14" y="22"/>
                  </a:cubicBezTo>
                  <a:cubicBezTo>
                    <a:pt x="13" y="25"/>
                    <a:pt x="11" y="29"/>
                    <a:pt x="10" y="32"/>
                  </a:cubicBezTo>
                  <a:cubicBezTo>
                    <a:pt x="10" y="32"/>
                    <a:pt x="11" y="32"/>
                    <a:pt x="11" y="32"/>
                  </a:cubicBezTo>
                  <a:cubicBezTo>
                    <a:pt x="13" y="32"/>
                    <a:pt x="15" y="34"/>
                    <a:pt x="15" y="36"/>
                  </a:cubicBezTo>
                  <a:cubicBezTo>
                    <a:pt x="15" y="38"/>
                    <a:pt x="13" y="40"/>
                    <a:pt x="11" y="4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7" name="Freeform 1293">
              <a:extLst>
                <a:ext uri="{FF2B5EF4-FFF2-40B4-BE49-F238E27FC236}">
                  <a16:creationId xmlns:a16="http://schemas.microsoft.com/office/drawing/2014/main" id="{3D2EE90B-367C-46CC-B615-25D8BB296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2101" y="4348985"/>
              <a:ext cx="40467" cy="73346"/>
            </a:xfrm>
            <a:custGeom>
              <a:avLst/>
              <a:gdLst>
                <a:gd name="T0" fmla="*/ 11 w 22"/>
                <a:gd name="T1" fmla="*/ 40 h 40"/>
                <a:gd name="T2" fmla="*/ 3 w 22"/>
                <a:gd name="T3" fmla="*/ 37 h 40"/>
                <a:gd name="T4" fmla="*/ 7 w 22"/>
                <a:gd name="T5" fmla="*/ 18 h 40"/>
                <a:gd name="T6" fmla="*/ 11 w 22"/>
                <a:gd name="T7" fmla="*/ 8 h 40"/>
                <a:gd name="T8" fmla="*/ 11 w 22"/>
                <a:gd name="T9" fmla="*/ 8 h 40"/>
                <a:gd name="T10" fmla="*/ 7 w 22"/>
                <a:gd name="T11" fmla="*/ 4 h 40"/>
                <a:gd name="T12" fmla="*/ 11 w 22"/>
                <a:gd name="T13" fmla="*/ 0 h 40"/>
                <a:gd name="T14" fmla="*/ 19 w 22"/>
                <a:gd name="T15" fmla="*/ 3 h 40"/>
                <a:gd name="T16" fmla="*/ 15 w 22"/>
                <a:gd name="T17" fmla="*/ 22 h 40"/>
                <a:gd name="T18" fmla="*/ 11 w 22"/>
                <a:gd name="T19" fmla="*/ 32 h 40"/>
                <a:gd name="T20" fmla="*/ 11 w 22"/>
                <a:gd name="T21" fmla="*/ 32 h 40"/>
                <a:gd name="T22" fmla="*/ 15 w 22"/>
                <a:gd name="T23" fmla="*/ 36 h 40"/>
                <a:gd name="T24" fmla="*/ 11 w 22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40">
                  <a:moveTo>
                    <a:pt x="11" y="40"/>
                  </a:moveTo>
                  <a:cubicBezTo>
                    <a:pt x="6" y="40"/>
                    <a:pt x="4" y="38"/>
                    <a:pt x="3" y="37"/>
                  </a:cubicBezTo>
                  <a:cubicBezTo>
                    <a:pt x="0" y="32"/>
                    <a:pt x="3" y="25"/>
                    <a:pt x="7" y="18"/>
                  </a:cubicBezTo>
                  <a:cubicBezTo>
                    <a:pt x="8" y="15"/>
                    <a:pt x="11" y="11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7" y="6"/>
                    <a:pt x="7" y="4"/>
                  </a:cubicBezTo>
                  <a:cubicBezTo>
                    <a:pt x="7" y="2"/>
                    <a:pt x="9" y="0"/>
                    <a:pt x="11" y="0"/>
                  </a:cubicBezTo>
                  <a:cubicBezTo>
                    <a:pt x="15" y="0"/>
                    <a:pt x="18" y="2"/>
                    <a:pt x="19" y="3"/>
                  </a:cubicBezTo>
                  <a:cubicBezTo>
                    <a:pt x="22" y="8"/>
                    <a:pt x="18" y="15"/>
                    <a:pt x="15" y="22"/>
                  </a:cubicBezTo>
                  <a:cubicBezTo>
                    <a:pt x="13" y="25"/>
                    <a:pt x="11" y="29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3" y="32"/>
                    <a:pt x="15" y="34"/>
                    <a:pt x="15" y="36"/>
                  </a:cubicBezTo>
                  <a:cubicBezTo>
                    <a:pt x="15" y="38"/>
                    <a:pt x="13" y="40"/>
                    <a:pt x="11" y="4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28" name="Agrupar 1627">
            <a:extLst>
              <a:ext uri="{FF2B5EF4-FFF2-40B4-BE49-F238E27FC236}">
                <a16:creationId xmlns:a16="http://schemas.microsoft.com/office/drawing/2014/main" id="{C9EC9781-290D-4F22-93ED-56F030BA8C90}"/>
              </a:ext>
            </a:extLst>
          </p:cNvPr>
          <p:cNvGrpSpPr/>
          <p:nvPr/>
        </p:nvGrpSpPr>
        <p:grpSpPr>
          <a:xfrm>
            <a:off x="5541124" y="723419"/>
            <a:ext cx="270621" cy="270621"/>
            <a:chOff x="5541124" y="723419"/>
            <a:chExt cx="270621" cy="270621"/>
          </a:xfrm>
        </p:grpSpPr>
        <p:sp>
          <p:nvSpPr>
            <p:cNvPr id="1098" name="Freeform 1294">
              <a:extLst>
                <a:ext uri="{FF2B5EF4-FFF2-40B4-BE49-F238E27FC236}">
                  <a16:creationId xmlns:a16="http://schemas.microsoft.com/office/drawing/2014/main" id="{0F988F4F-B522-4DA5-8F04-9EA154B3C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1824" y="781590"/>
              <a:ext cx="151750" cy="15301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9 h 84"/>
                <a:gd name="T12" fmla="*/ 8 w 84"/>
                <a:gd name="T13" fmla="*/ 42 h 84"/>
                <a:gd name="T14" fmla="*/ 42 w 84"/>
                <a:gd name="T15" fmla="*/ 76 h 84"/>
                <a:gd name="T16" fmla="*/ 75 w 84"/>
                <a:gd name="T17" fmla="*/ 42 h 84"/>
                <a:gd name="T18" fmla="*/ 42 w 84"/>
                <a:gd name="T19" fmla="*/ 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9"/>
                  </a:moveTo>
                  <a:cubicBezTo>
                    <a:pt x="23" y="9"/>
                    <a:pt x="8" y="24"/>
                    <a:pt x="8" y="42"/>
                  </a:cubicBezTo>
                  <a:cubicBezTo>
                    <a:pt x="8" y="61"/>
                    <a:pt x="23" y="76"/>
                    <a:pt x="42" y="76"/>
                  </a:cubicBezTo>
                  <a:cubicBezTo>
                    <a:pt x="60" y="76"/>
                    <a:pt x="75" y="61"/>
                    <a:pt x="75" y="42"/>
                  </a:cubicBezTo>
                  <a:cubicBezTo>
                    <a:pt x="75" y="24"/>
                    <a:pt x="60" y="9"/>
                    <a:pt x="42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9" name="Freeform 1295">
              <a:extLst>
                <a:ext uri="{FF2B5EF4-FFF2-40B4-BE49-F238E27FC236}">
                  <a16:creationId xmlns:a16="http://schemas.microsoft.com/office/drawing/2014/main" id="{1D7F7721-771D-46CC-B38A-8260EF6A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1124" y="851142"/>
              <a:ext cx="36673" cy="13910"/>
            </a:xfrm>
            <a:custGeom>
              <a:avLst/>
              <a:gdLst>
                <a:gd name="T0" fmla="*/ 15 w 20"/>
                <a:gd name="T1" fmla="*/ 8 h 8"/>
                <a:gd name="T2" fmla="*/ 5 w 20"/>
                <a:gd name="T3" fmla="*/ 8 h 8"/>
                <a:gd name="T4" fmla="*/ 0 w 20"/>
                <a:gd name="T5" fmla="*/ 4 h 8"/>
                <a:gd name="T6" fmla="*/ 5 w 20"/>
                <a:gd name="T7" fmla="*/ 0 h 8"/>
                <a:gd name="T8" fmla="*/ 15 w 20"/>
                <a:gd name="T9" fmla="*/ 0 h 8"/>
                <a:gd name="T10" fmla="*/ 20 w 20"/>
                <a:gd name="T11" fmla="*/ 4 h 8"/>
                <a:gd name="T12" fmla="*/ 15 w 2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8">
                  <a:moveTo>
                    <a:pt x="1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"/>
                    <a:pt x="18" y="8"/>
                    <a:pt x="1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0" name="Freeform 1296">
              <a:extLst>
                <a:ext uri="{FF2B5EF4-FFF2-40B4-BE49-F238E27FC236}">
                  <a16:creationId xmlns:a16="http://schemas.microsoft.com/office/drawing/2014/main" id="{CCCF0444-DCE5-4E71-81BD-CB45557FB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797" y="927017"/>
              <a:ext cx="30350" cy="29085"/>
            </a:xfrm>
            <a:custGeom>
              <a:avLst/>
              <a:gdLst>
                <a:gd name="T0" fmla="*/ 5 w 17"/>
                <a:gd name="T1" fmla="*/ 16 h 16"/>
                <a:gd name="T2" fmla="*/ 2 w 17"/>
                <a:gd name="T3" fmla="*/ 15 h 16"/>
                <a:gd name="T4" fmla="*/ 2 w 17"/>
                <a:gd name="T5" fmla="*/ 9 h 16"/>
                <a:gd name="T6" fmla="*/ 10 w 17"/>
                <a:gd name="T7" fmla="*/ 1 h 16"/>
                <a:gd name="T8" fmla="*/ 16 w 17"/>
                <a:gd name="T9" fmla="*/ 1 h 16"/>
                <a:gd name="T10" fmla="*/ 16 w 17"/>
                <a:gd name="T11" fmla="*/ 7 h 16"/>
                <a:gd name="T12" fmla="*/ 8 w 17"/>
                <a:gd name="T13" fmla="*/ 15 h 16"/>
                <a:gd name="T14" fmla="*/ 5 w 17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6">
                  <a:moveTo>
                    <a:pt x="5" y="16"/>
                  </a:moveTo>
                  <a:cubicBezTo>
                    <a:pt x="4" y="16"/>
                    <a:pt x="3" y="16"/>
                    <a:pt x="2" y="15"/>
                  </a:cubicBezTo>
                  <a:cubicBezTo>
                    <a:pt x="0" y="13"/>
                    <a:pt x="0" y="11"/>
                    <a:pt x="2" y="9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4" y="0"/>
                    <a:pt x="16" y="1"/>
                  </a:cubicBezTo>
                  <a:cubicBezTo>
                    <a:pt x="17" y="3"/>
                    <a:pt x="17" y="6"/>
                    <a:pt x="16" y="7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6"/>
                    <a:pt x="6" y="16"/>
                    <a:pt x="5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1" name="Freeform 1297">
              <a:extLst>
                <a:ext uri="{FF2B5EF4-FFF2-40B4-BE49-F238E27FC236}">
                  <a16:creationId xmlns:a16="http://schemas.microsoft.com/office/drawing/2014/main" id="{76707ECD-54B2-42E8-A513-D72EE0E2A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112" y="957367"/>
              <a:ext cx="15175" cy="36673"/>
            </a:xfrm>
            <a:custGeom>
              <a:avLst/>
              <a:gdLst>
                <a:gd name="T0" fmla="*/ 4 w 8"/>
                <a:gd name="T1" fmla="*/ 20 h 20"/>
                <a:gd name="T2" fmla="*/ 0 w 8"/>
                <a:gd name="T3" fmla="*/ 15 h 20"/>
                <a:gd name="T4" fmla="*/ 0 w 8"/>
                <a:gd name="T5" fmla="*/ 5 h 20"/>
                <a:gd name="T6" fmla="*/ 4 w 8"/>
                <a:gd name="T7" fmla="*/ 0 h 20"/>
                <a:gd name="T8" fmla="*/ 8 w 8"/>
                <a:gd name="T9" fmla="*/ 5 h 20"/>
                <a:gd name="T10" fmla="*/ 8 w 8"/>
                <a:gd name="T11" fmla="*/ 15 h 20"/>
                <a:gd name="T12" fmla="*/ 4 w 8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0">
                  <a:moveTo>
                    <a:pt x="4" y="20"/>
                  </a:moveTo>
                  <a:cubicBezTo>
                    <a:pt x="1" y="20"/>
                    <a:pt x="0" y="18"/>
                    <a:pt x="0" y="1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8"/>
                    <a:pt x="6" y="20"/>
                    <a:pt x="4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2" name="Freeform 1298">
              <a:extLst>
                <a:ext uri="{FF2B5EF4-FFF2-40B4-BE49-F238E27FC236}">
                  <a16:creationId xmlns:a16="http://schemas.microsoft.com/office/drawing/2014/main" id="{2527F03B-C47C-4042-BB42-57A8CCFDD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4722" y="927017"/>
              <a:ext cx="30350" cy="29085"/>
            </a:xfrm>
            <a:custGeom>
              <a:avLst/>
              <a:gdLst>
                <a:gd name="T0" fmla="*/ 13 w 17"/>
                <a:gd name="T1" fmla="*/ 16 h 16"/>
                <a:gd name="T2" fmla="*/ 10 w 17"/>
                <a:gd name="T3" fmla="*/ 15 h 16"/>
                <a:gd name="T4" fmla="*/ 2 w 17"/>
                <a:gd name="T5" fmla="*/ 7 h 16"/>
                <a:gd name="T6" fmla="*/ 2 w 17"/>
                <a:gd name="T7" fmla="*/ 1 h 16"/>
                <a:gd name="T8" fmla="*/ 8 w 17"/>
                <a:gd name="T9" fmla="*/ 1 h 16"/>
                <a:gd name="T10" fmla="*/ 16 w 17"/>
                <a:gd name="T11" fmla="*/ 9 h 16"/>
                <a:gd name="T12" fmla="*/ 16 w 17"/>
                <a:gd name="T13" fmla="*/ 15 h 16"/>
                <a:gd name="T14" fmla="*/ 13 w 17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6">
                  <a:moveTo>
                    <a:pt x="13" y="16"/>
                  </a:moveTo>
                  <a:cubicBezTo>
                    <a:pt x="11" y="16"/>
                    <a:pt x="10" y="16"/>
                    <a:pt x="10" y="15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3"/>
                    <a:pt x="2" y="1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11"/>
                    <a:pt x="17" y="13"/>
                    <a:pt x="16" y="15"/>
                  </a:cubicBezTo>
                  <a:cubicBezTo>
                    <a:pt x="15" y="16"/>
                    <a:pt x="14" y="16"/>
                    <a:pt x="13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3" name="Freeform 1299">
              <a:extLst>
                <a:ext uri="{FF2B5EF4-FFF2-40B4-BE49-F238E27FC236}">
                  <a16:creationId xmlns:a16="http://schemas.microsoft.com/office/drawing/2014/main" id="{81906504-52A9-4307-8873-DEF2C4429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7601" y="851142"/>
              <a:ext cx="34144" cy="13910"/>
            </a:xfrm>
            <a:custGeom>
              <a:avLst/>
              <a:gdLst>
                <a:gd name="T0" fmla="*/ 15 w 19"/>
                <a:gd name="T1" fmla="*/ 8 h 8"/>
                <a:gd name="T2" fmla="*/ 4 w 19"/>
                <a:gd name="T3" fmla="*/ 8 h 8"/>
                <a:gd name="T4" fmla="*/ 0 w 19"/>
                <a:gd name="T5" fmla="*/ 4 h 8"/>
                <a:gd name="T6" fmla="*/ 4 w 19"/>
                <a:gd name="T7" fmla="*/ 0 h 8"/>
                <a:gd name="T8" fmla="*/ 15 w 19"/>
                <a:gd name="T9" fmla="*/ 0 h 8"/>
                <a:gd name="T10" fmla="*/ 19 w 19"/>
                <a:gd name="T11" fmla="*/ 4 h 8"/>
                <a:gd name="T12" fmla="*/ 15 w 1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8">
                  <a:moveTo>
                    <a:pt x="1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2"/>
                    <a:pt x="19" y="4"/>
                  </a:cubicBezTo>
                  <a:cubicBezTo>
                    <a:pt x="19" y="7"/>
                    <a:pt x="17" y="8"/>
                    <a:pt x="1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4" name="Freeform 1300">
              <a:extLst>
                <a:ext uri="{FF2B5EF4-FFF2-40B4-BE49-F238E27FC236}">
                  <a16:creationId xmlns:a16="http://schemas.microsoft.com/office/drawing/2014/main" id="{B3F43339-D8B2-4114-8762-2F50B2E88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4722" y="760092"/>
              <a:ext cx="30350" cy="29085"/>
            </a:xfrm>
            <a:custGeom>
              <a:avLst/>
              <a:gdLst>
                <a:gd name="T0" fmla="*/ 5 w 17"/>
                <a:gd name="T1" fmla="*/ 16 h 16"/>
                <a:gd name="T2" fmla="*/ 2 w 17"/>
                <a:gd name="T3" fmla="*/ 15 h 16"/>
                <a:gd name="T4" fmla="*/ 2 w 17"/>
                <a:gd name="T5" fmla="*/ 9 h 16"/>
                <a:gd name="T6" fmla="*/ 10 w 17"/>
                <a:gd name="T7" fmla="*/ 1 h 16"/>
                <a:gd name="T8" fmla="*/ 16 w 17"/>
                <a:gd name="T9" fmla="*/ 1 h 16"/>
                <a:gd name="T10" fmla="*/ 16 w 17"/>
                <a:gd name="T11" fmla="*/ 8 h 16"/>
                <a:gd name="T12" fmla="*/ 8 w 17"/>
                <a:gd name="T13" fmla="*/ 15 h 16"/>
                <a:gd name="T14" fmla="*/ 5 w 17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6">
                  <a:moveTo>
                    <a:pt x="5" y="16"/>
                  </a:moveTo>
                  <a:cubicBezTo>
                    <a:pt x="4" y="16"/>
                    <a:pt x="3" y="16"/>
                    <a:pt x="2" y="15"/>
                  </a:cubicBezTo>
                  <a:cubicBezTo>
                    <a:pt x="0" y="13"/>
                    <a:pt x="0" y="11"/>
                    <a:pt x="2" y="9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4" y="0"/>
                    <a:pt x="16" y="1"/>
                  </a:cubicBezTo>
                  <a:cubicBezTo>
                    <a:pt x="17" y="3"/>
                    <a:pt x="17" y="6"/>
                    <a:pt x="16" y="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6"/>
                    <a:pt x="6" y="16"/>
                    <a:pt x="5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5" name="Freeform 1301">
              <a:extLst>
                <a:ext uri="{FF2B5EF4-FFF2-40B4-BE49-F238E27FC236}">
                  <a16:creationId xmlns:a16="http://schemas.microsoft.com/office/drawing/2014/main" id="{E78EB17F-1045-4427-837C-239453AD6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112" y="723419"/>
              <a:ext cx="15175" cy="34144"/>
            </a:xfrm>
            <a:custGeom>
              <a:avLst/>
              <a:gdLst>
                <a:gd name="T0" fmla="*/ 4 w 8"/>
                <a:gd name="T1" fmla="*/ 19 h 19"/>
                <a:gd name="T2" fmla="*/ 0 w 8"/>
                <a:gd name="T3" fmla="*/ 15 h 19"/>
                <a:gd name="T4" fmla="*/ 0 w 8"/>
                <a:gd name="T5" fmla="*/ 4 h 19"/>
                <a:gd name="T6" fmla="*/ 4 w 8"/>
                <a:gd name="T7" fmla="*/ 0 h 19"/>
                <a:gd name="T8" fmla="*/ 8 w 8"/>
                <a:gd name="T9" fmla="*/ 4 h 19"/>
                <a:gd name="T10" fmla="*/ 8 w 8"/>
                <a:gd name="T11" fmla="*/ 15 h 19"/>
                <a:gd name="T12" fmla="*/ 4 w 8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9">
                  <a:moveTo>
                    <a:pt x="4" y="19"/>
                  </a:moveTo>
                  <a:cubicBezTo>
                    <a:pt x="1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7"/>
                    <a:pt x="6" y="19"/>
                    <a:pt x="4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6" name="Freeform 1302">
              <a:extLst>
                <a:ext uri="{FF2B5EF4-FFF2-40B4-BE49-F238E27FC236}">
                  <a16:creationId xmlns:a16="http://schemas.microsoft.com/office/drawing/2014/main" id="{318BACC9-02C2-49AA-B8FA-74265F8C4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797" y="760092"/>
              <a:ext cx="30350" cy="29085"/>
            </a:xfrm>
            <a:custGeom>
              <a:avLst/>
              <a:gdLst>
                <a:gd name="T0" fmla="*/ 13 w 17"/>
                <a:gd name="T1" fmla="*/ 16 h 16"/>
                <a:gd name="T2" fmla="*/ 10 w 17"/>
                <a:gd name="T3" fmla="*/ 15 h 16"/>
                <a:gd name="T4" fmla="*/ 2 w 17"/>
                <a:gd name="T5" fmla="*/ 8 h 16"/>
                <a:gd name="T6" fmla="*/ 2 w 17"/>
                <a:gd name="T7" fmla="*/ 1 h 16"/>
                <a:gd name="T8" fmla="*/ 8 w 17"/>
                <a:gd name="T9" fmla="*/ 1 h 16"/>
                <a:gd name="T10" fmla="*/ 16 w 17"/>
                <a:gd name="T11" fmla="*/ 9 h 16"/>
                <a:gd name="T12" fmla="*/ 16 w 17"/>
                <a:gd name="T13" fmla="*/ 15 h 16"/>
                <a:gd name="T14" fmla="*/ 13 w 17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6">
                  <a:moveTo>
                    <a:pt x="13" y="16"/>
                  </a:moveTo>
                  <a:cubicBezTo>
                    <a:pt x="12" y="16"/>
                    <a:pt x="11" y="16"/>
                    <a:pt x="10" y="15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3"/>
                    <a:pt x="2" y="1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11"/>
                    <a:pt x="17" y="13"/>
                    <a:pt x="16" y="15"/>
                  </a:cubicBezTo>
                  <a:cubicBezTo>
                    <a:pt x="15" y="16"/>
                    <a:pt x="14" y="16"/>
                    <a:pt x="13" y="1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1" name="Agrupar 1640">
            <a:extLst>
              <a:ext uri="{FF2B5EF4-FFF2-40B4-BE49-F238E27FC236}">
                <a16:creationId xmlns:a16="http://schemas.microsoft.com/office/drawing/2014/main" id="{82FF35F3-29BE-4921-85DB-8F6812161A07}"/>
              </a:ext>
            </a:extLst>
          </p:cNvPr>
          <p:cNvGrpSpPr/>
          <p:nvPr/>
        </p:nvGrpSpPr>
        <p:grpSpPr>
          <a:xfrm>
            <a:off x="4797548" y="1905806"/>
            <a:ext cx="252917" cy="183365"/>
            <a:chOff x="4797548" y="1905806"/>
            <a:chExt cx="252917" cy="183365"/>
          </a:xfrm>
        </p:grpSpPr>
        <p:sp>
          <p:nvSpPr>
            <p:cNvPr id="1107" name="Freeform 1303">
              <a:extLst>
                <a:ext uri="{FF2B5EF4-FFF2-40B4-BE49-F238E27FC236}">
                  <a16:creationId xmlns:a16="http://schemas.microsoft.com/office/drawing/2014/main" id="{BC4CC70E-34F8-4DA3-A72A-E716AB67E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7548" y="1905806"/>
              <a:ext cx="252917" cy="183365"/>
            </a:xfrm>
            <a:custGeom>
              <a:avLst/>
              <a:gdLst>
                <a:gd name="T0" fmla="*/ 118 w 139"/>
                <a:gd name="T1" fmla="*/ 101 h 101"/>
                <a:gd name="T2" fmla="*/ 21 w 139"/>
                <a:gd name="T3" fmla="*/ 101 h 101"/>
                <a:gd name="T4" fmla="*/ 0 w 139"/>
                <a:gd name="T5" fmla="*/ 80 h 101"/>
                <a:gd name="T6" fmla="*/ 0 w 139"/>
                <a:gd name="T7" fmla="*/ 21 h 101"/>
                <a:gd name="T8" fmla="*/ 21 w 139"/>
                <a:gd name="T9" fmla="*/ 0 h 101"/>
                <a:gd name="T10" fmla="*/ 118 w 139"/>
                <a:gd name="T11" fmla="*/ 0 h 101"/>
                <a:gd name="T12" fmla="*/ 139 w 139"/>
                <a:gd name="T13" fmla="*/ 21 h 101"/>
                <a:gd name="T14" fmla="*/ 139 w 139"/>
                <a:gd name="T15" fmla="*/ 80 h 101"/>
                <a:gd name="T16" fmla="*/ 118 w 139"/>
                <a:gd name="T17" fmla="*/ 101 h 101"/>
                <a:gd name="T18" fmla="*/ 21 w 139"/>
                <a:gd name="T19" fmla="*/ 8 h 101"/>
                <a:gd name="T20" fmla="*/ 9 w 139"/>
                <a:gd name="T21" fmla="*/ 21 h 101"/>
                <a:gd name="T22" fmla="*/ 9 w 139"/>
                <a:gd name="T23" fmla="*/ 80 h 101"/>
                <a:gd name="T24" fmla="*/ 21 w 139"/>
                <a:gd name="T25" fmla="*/ 93 h 101"/>
                <a:gd name="T26" fmla="*/ 118 w 139"/>
                <a:gd name="T27" fmla="*/ 93 h 101"/>
                <a:gd name="T28" fmla="*/ 131 w 139"/>
                <a:gd name="T29" fmla="*/ 80 h 101"/>
                <a:gd name="T30" fmla="*/ 131 w 139"/>
                <a:gd name="T31" fmla="*/ 21 h 101"/>
                <a:gd name="T32" fmla="*/ 118 w 139"/>
                <a:gd name="T33" fmla="*/ 8 h 101"/>
                <a:gd name="T34" fmla="*/ 21 w 139"/>
                <a:gd name="T35" fmla="*/ 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101">
                  <a:moveTo>
                    <a:pt x="118" y="101"/>
                  </a:moveTo>
                  <a:cubicBezTo>
                    <a:pt x="21" y="101"/>
                    <a:pt x="21" y="101"/>
                    <a:pt x="21" y="101"/>
                  </a:cubicBezTo>
                  <a:cubicBezTo>
                    <a:pt x="9" y="101"/>
                    <a:pt x="0" y="92"/>
                    <a:pt x="0" y="8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30" y="0"/>
                    <a:pt x="139" y="9"/>
                    <a:pt x="139" y="21"/>
                  </a:cubicBezTo>
                  <a:cubicBezTo>
                    <a:pt x="139" y="80"/>
                    <a:pt x="139" y="80"/>
                    <a:pt x="139" y="80"/>
                  </a:cubicBezTo>
                  <a:cubicBezTo>
                    <a:pt x="139" y="92"/>
                    <a:pt x="130" y="101"/>
                    <a:pt x="118" y="101"/>
                  </a:cubicBezTo>
                  <a:close/>
                  <a:moveTo>
                    <a:pt x="21" y="8"/>
                  </a:moveTo>
                  <a:cubicBezTo>
                    <a:pt x="14" y="8"/>
                    <a:pt x="9" y="14"/>
                    <a:pt x="9" y="2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87"/>
                    <a:pt x="14" y="93"/>
                    <a:pt x="21" y="93"/>
                  </a:cubicBezTo>
                  <a:cubicBezTo>
                    <a:pt x="118" y="93"/>
                    <a:pt x="118" y="93"/>
                    <a:pt x="118" y="93"/>
                  </a:cubicBezTo>
                  <a:cubicBezTo>
                    <a:pt x="125" y="93"/>
                    <a:pt x="131" y="87"/>
                    <a:pt x="131" y="80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14"/>
                    <a:pt x="125" y="8"/>
                    <a:pt x="118" y="8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8" name="Freeform 1304">
              <a:extLst>
                <a:ext uri="{FF2B5EF4-FFF2-40B4-BE49-F238E27FC236}">
                  <a16:creationId xmlns:a16="http://schemas.microsoft.com/office/drawing/2014/main" id="{BC02C893-651F-4C04-83B5-A788371FC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9765" y="1927304"/>
              <a:ext cx="41731" cy="32879"/>
            </a:xfrm>
            <a:custGeom>
              <a:avLst/>
              <a:gdLst>
                <a:gd name="T0" fmla="*/ 4 w 23"/>
                <a:gd name="T1" fmla="*/ 18 h 18"/>
                <a:gd name="T2" fmla="*/ 1 w 23"/>
                <a:gd name="T3" fmla="*/ 16 h 18"/>
                <a:gd name="T4" fmla="*/ 2 w 23"/>
                <a:gd name="T5" fmla="*/ 10 h 18"/>
                <a:gd name="T6" fmla="*/ 16 w 23"/>
                <a:gd name="T7" fmla="*/ 1 h 18"/>
                <a:gd name="T8" fmla="*/ 22 w 23"/>
                <a:gd name="T9" fmla="*/ 3 h 18"/>
                <a:gd name="T10" fmla="*/ 20 w 23"/>
                <a:gd name="T11" fmla="*/ 9 h 18"/>
                <a:gd name="T12" fmla="*/ 7 w 23"/>
                <a:gd name="T13" fmla="*/ 17 h 18"/>
                <a:gd name="T14" fmla="*/ 4 w 2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8">
                  <a:moveTo>
                    <a:pt x="4" y="18"/>
                  </a:moveTo>
                  <a:cubicBezTo>
                    <a:pt x="3" y="18"/>
                    <a:pt x="2" y="17"/>
                    <a:pt x="1" y="16"/>
                  </a:cubicBezTo>
                  <a:cubicBezTo>
                    <a:pt x="0" y="14"/>
                    <a:pt x="0" y="11"/>
                    <a:pt x="2" y="1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8" y="0"/>
                    <a:pt x="20" y="1"/>
                    <a:pt x="22" y="3"/>
                  </a:cubicBezTo>
                  <a:cubicBezTo>
                    <a:pt x="23" y="5"/>
                    <a:pt x="22" y="7"/>
                    <a:pt x="20" y="9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7"/>
                    <a:pt x="5" y="18"/>
                    <a:pt x="4" y="1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09" name="Freeform 1305">
              <a:extLst>
                <a:ext uri="{FF2B5EF4-FFF2-40B4-BE49-F238E27FC236}">
                  <a16:creationId xmlns:a16="http://schemas.microsoft.com/office/drawing/2014/main" id="{C137D45A-7E61-41DB-9420-3B77AE8D6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0310" y="2034794"/>
              <a:ext cx="37938" cy="30350"/>
            </a:xfrm>
            <a:custGeom>
              <a:avLst/>
              <a:gdLst>
                <a:gd name="T0" fmla="*/ 4 w 21"/>
                <a:gd name="T1" fmla="*/ 17 h 17"/>
                <a:gd name="T2" fmla="*/ 1 w 21"/>
                <a:gd name="T3" fmla="*/ 15 h 17"/>
                <a:gd name="T4" fmla="*/ 2 w 21"/>
                <a:gd name="T5" fmla="*/ 9 h 17"/>
                <a:gd name="T6" fmla="*/ 14 w 21"/>
                <a:gd name="T7" fmla="*/ 1 h 17"/>
                <a:gd name="T8" fmla="*/ 20 w 21"/>
                <a:gd name="T9" fmla="*/ 3 h 17"/>
                <a:gd name="T10" fmla="*/ 19 w 21"/>
                <a:gd name="T11" fmla="*/ 9 h 17"/>
                <a:gd name="T12" fmla="*/ 7 w 21"/>
                <a:gd name="T13" fmla="*/ 16 h 17"/>
                <a:gd name="T14" fmla="*/ 4 w 21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7">
                  <a:moveTo>
                    <a:pt x="4" y="17"/>
                  </a:moveTo>
                  <a:cubicBezTo>
                    <a:pt x="3" y="17"/>
                    <a:pt x="2" y="16"/>
                    <a:pt x="1" y="15"/>
                  </a:cubicBezTo>
                  <a:cubicBezTo>
                    <a:pt x="0" y="13"/>
                    <a:pt x="0" y="10"/>
                    <a:pt x="2" y="9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9" y="1"/>
                    <a:pt x="20" y="3"/>
                  </a:cubicBezTo>
                  <a:cubicBezTo>
                    <a:pt x="21" y="5"/>
                    <a:pt x="21" y="7"/>
                    <a:pt x="19" y="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7"/>
                    <a:pt x="5" y="17"/>
                    <a:pt x="4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0" name="Freeform 1306">
              <a:extLst>
                <a:ext uri="{FF2B5EF4-FFF2-40B4-BE49-F238E27FC236}">
                  <a16:creationId xmlns:a16="http://schemas.microsoft.com/office/drawing/2014/main" id="{81B4AFE2-0734-4A02-99D1-1EBE2B496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19" y="2020883"/>
              <a:ext cx="15175" cy="35408"/>
            </a:xfrm>
            <a:custGeom>
              <a:avLst/>
              <a:gdLst>
                <a:gd name="T0" fmla="*/ 5 w 9"/>
                <a:gd name="T1" fmla="*/ 20 h 20"/>
                <a:gd name="T2" fmla="*/ 0 w 9"/>
                <a:gd name="T3" fmla="*/ 15 h 20"/>
                <a:gd name="T4" fmla="*/ 0 w 9"/>
                <a:gd name="T5" fmla="*/ 4 h 20"/>
                <a:gd name="T6" fmla="*/ 5 w 9"/>
                <a:gd name="T7" fmla="*/ 0 h 20"/>
                <a:gd name="T8" fmla="*/ 9 w 9"/>
                <a:gd name="T9" fmla="*/ 4 h 20"/>
                <a:gd name="T10" fmla="*/ 9 w 9"/>
                <a:gd name="T11" fmla="*/ 15 h 20"/>
                <a:gd name="T12" fmla="*/ 5 w 9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0">
                  <a:moveTo>
                    <a:pt x="5" y="20"/>
                  </a:moveTo>
                  <a:cubicBezTo>
                    <a:pt x="2" y="20"/>
                    <a:pt x="0" y="18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8"/>
                    <a:pt x="7" y="20"/>
                    <a:pt x="5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1" name="Freeform 1307">
              <a:extLst>
                <a:ext uri="{FF2B5EF4-FFF2-40B4-BE49-F238E27FC236}">
                  <a16:creationId xmlns:a16="http://schemas.microsoft.com/office/drawing/2014/main" id="{10F4BBD3-E4A5-4FD8-8BF4-075DDC3FA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19" y="1941214"/>
              <a:ext cx="15175" cy="31615"/>
            </a:xfrm>
            <a:custGeom>
              <a:avLst/>
              <a:gdLst>
                <a:gd name="T0" fmla="*/ 5 w 9"/>
                <a:gd name="T1" fmla="*/ 18 h 18"/>
                <a:gd name="T2" fmla="*/ 0 w 9"/>
                <a:gd name="T3" fmla="*/ 14 h 18"/>
                <a:gd name="T4" fmla="*/ 0 w 9"/>
                <a:gd name="T5" fmla="*/ 4 h 18"/>
                <a:gd name="T6" fmla="*/ 5 w 9"/>
                <a:gd name="T7" fmla="*/ 0 h 18"/>
                <a:gd name="T8" fmla="*/ 9 w 9"/>
                <a:gd name="T9" fmla="*/ 4 h 18"/>
                <a:gd name="T10" fmla="*/ 9 w 9"/>
                <a:gd name="T11" fmla="*/ 14 h 18"/>
                <a:gd name="T12" fmla="*/ 5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5" y="18"/>
                  </a:moveTo>
                  <a:cubicBezTo>
                    <a:pt x="2" y="18"/>
                    <a:pt x="0" y="16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6"/>
                    <a:pt x="7" y="18"/>
                    <a:pt x="5" y="1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2" name="Freeform 1308">
              <a:extLst>
                <a:ext uri="{FF2B5EF4-FFF2-40B4-BE49-F238E27FC236}">
                  <a16:creationId xmlns:a16="http://schemas.microsoft.com/office/drawing/2014/main" id="{4BD1528B-6AA8-431C-9093-6507EB93E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7450" y="1958919"/>
              <a:ext cx="53113" cy="78404"/>
            </a:xfrm>
            <a:custGeom>
              <a:avLst/>
              <a:gdLst>
                <a:gd name="T0" fmla="*/ 16 w 29"/>
                <a:gd name="T1" fmla="*/ 43 h 43"/>
                <a:gd name="T2" fmla="*/ 5 w 29"/>
                <a:gd name="T3" fmla="*/ 43 h 43"/>
                <a:gd name="T4" fmla="*/ 0 w 29"/>
                <a:gd name="T5" fmla="*/ 38 h 43"/>
                <a:gd name="T6" fmla="*/ 5 w 29"/>
                <a:gd name="T7" fmla="*/ 34 h 43"/>
                <a:gd name="T8" fmla="*/ 16 w 29"/>
                <a:gd name="T9" fmla="*/ 34 h 43"/>
                <a:gd name="T10" fmla="*/ 21 w 29"/>
                <a:gd name="T11" fmla="*/ 30 h 43"/>
                <a:gd name="T12" fmla="*/ 16 w 29"/>
                <a:gd name="T13" fmla="*/ 26 h 43"/>
                <a:gd name="T14" fmla="*/ 13 w 29"/>
                <a:gd name="T15" fmla="*/ 26 h 43"/>
                <a:gd name="T16" fmla="*/ 0 w 29"/>
                <a:gd name="T17" fmla="*/ 13 h 43"/>
                <a:gd name="T18" fmla="*/ 13 w 29"/>
                <a:gd name="T19" fmla="*/ 0 h 43"/>
                <a:gd name="T20" fmla="*/ 25 w 29"/>
                <a:gd name="T21" fmla="*/ 0 h 43"/>
                <a:gd name="T22" fmla="*/ 29 w 29"/>
                <a:gd name="T23" fmla="*/ 4 h 43"/>
                <a:gd name="T24" fmla="*/ 25 w 29"/>
                <a:gd name="T25" fmla="*/ 9 h 43"/>
                <a:gd name="T26" fmla="*/ 13 w 29"/>
                <a:gd name="T27" fmla="*/ 9 h 43"/>
                <a:gd name="T28" fmla="*/ 9 w 29"/>
                <a:gd name="T29" fmla="*/ 13 h 43"/>
                <a:gd name="T30" fmla="*/ 13 w 29"/>
                <a:gd name="T31" fmla="*/ 17 h 43"/>
                <a:gd name="T32" fmla="*/ 16 w 29"/>
                <a:gd name="T33" fmla="*/ 17 h 43"/>
                <a:gd name="T34" fmla="*/ 29 w 29"/>
                <a:gd name="T35" fmla="*/ 30 h 43"/>
                <a:gd name="T36" fmla="*/ 16 w 29"/>
                <a:gd name="T3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43">
                  <a:moveTo>
                    <a:pt x="16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2" y="43"/>
                    <a:pt x="0" y="41"/>
                    <a:pt x="0" y="38"/>
                  </a:cubicBezTo>
                  <a:cubicBezTo>
                    <a:pt x="0" y="36"/>
                    <a:pt x="2" y="34"/>
                    <a:pt x="5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9" y="34"/>
                    <a:pt x="21" y="32"/>
                    <a:pt x="21" y="30"/>
                  </a:cubicBezTo>
                  <a:cubicBezTo>
                    <a:pt x="21" y="28"/>
                    <a:pt x="19" y="26"/>
                    <a:pt x="16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7"/>
                    <a:pt x="27" y="9"/>
                    <a:pt x="25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1" y="9"/>
                    <a:pt x="9" y="11"/>
                    <a:pt x="9" y="13"/>
                  </a:cubicBezTo>
                  <a:cubicBezTo>
                    <a:pt x="9" y="15"/>
                    <a:pt x="11" y="17"/>
                    <a:pt x="13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23" y="17"/>
                    <a:pt x="29" y="23"/>
                    <a:pt x="29" y="30"/>
                  </a:cubicBezTo>
                  <a:cubicBezTo>
                    <a:pt x="29" y="37"/>
                    <a:pt x="23" y="43"/>
                    <a:pt x="16" y="4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0" name="Agrupar 1639">
            <a:extLst>
              <a:ext uri="{FF2B5EF4-FFF2-40B4-BE49-F238E27FC236}">
                <a16:creationId xmlns:a16="http://schemas.microsoft.com/office/drawing/2014/main" id="{B669F150-C33A-470D-BC5D-3727B4821E5A}"/>
              </a:ext>
            </a:extLst>
          </p:cNvPr>
          <p:cNvGrpSpPr/>
          <p:nvPr/>
        </p:nvGrpSpPr>
        <p:grpSpPr>
          <a:xfrm>
            <a:off x="4406791" y="1902012"/>
            <a:ext cx="252917" cy="190952"/>
            <a:chOff x="4406791" y="1902012"/>
            <a:chExt cx="252917" cy="190952"/>
          </a:xfrm>
        </p:grpSpPr>
        <p:sp>
          <p:nvSpPr>
            <p:cNvPr id="1113" name="Freeform 1309">
              <a:extLst>
                <a:ext uri="{FF2B5EF4-FFF2-40B4-BE49-F238E27FC236}">
                  <a16:creationId xmlns:a16="http://schemas.microsoft.com/office/drawing/2014/main" id="{DC7E5269-24C9-4BA3-A67B-53A802DD8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6791" y="1902012"/>
              <a:ext cx="252917" cy="190952"/>
            </a:xfrm>
            <a:custGeom>
              <a:avLst/>
              <a:gdLst>
                <a:gd name="T0" fmla="*/ 119 w 140"/>
                <a:gd name="T1" fmla="*/ 105 h 105"/>
                <a:gd name="T2" fmla="*/ 21 w 140"/>
                <a:gd name="T3" fmla="*/ 105 h 105"/>
                <a:gd name="T4" fmla="*/ 0 w 140"/>
                <a:gd name="T5" fmla="*/ 84 h 105"/>
                <a:gd name="T6" fmla="*/ 0 w 140"/>
                <a:gd name="T7" fmla="*/ 21 h 105"/>
                <a:gd name="T8" fmla="*/ 21 w 140"/>
                <a:gd name="T9" fmla="*/ 0 h 105"/>
                <a:gd name="T10" fmla="*/ 119 w 140"/>
                <a:gd name="T11" fmla="*/ 0 h 105"/>
                <a:gd name="T12" fmla="*/ 140 w 140"/>
                <a:gd name="T13" fmla="*/ 21 h 105"/>
                <a:gd name="T14" fmla="*/ 140 w 140"/>
                <a:gd name="T15" fmla="*/ 84 h 105"/>
                <a:gd name="T16" fmla="*/ 119 w 140"/>
                <a:gd name="T17" fmla="*/ 105 h 105"/>
                <a:gd name="T18" fmla="*/ 21 w 140"/>
                <a:gd name="T19" fmla="*/ 8 h 105"/>
                <a:gd name="T20" fmla="*/ 9 w 140"/>
                <a:gd name="T21" fmla="*/ 21 h 105"/>
                <a:gd name="T22" fmla="*/ 9 w 140"/>
                <a:gd name="T23" fmla="*/ 84 h 105"/>
                <a:gd name="T24" fmla="*/ 21 w 140"/>
                <a:gd name="T25" fmla="*/ 97 h 105"/>
                <a:gd name="T26" fmla="*/ 119 w 140"/>
                <a:gd name="T27" fmla="*/ 97 h 105"/>
                <a:gd name="T28" fmla="*/ 131 w 140"/>
                <a:gd name="T29" fmla="*/ 84 h 105"/>
                <a:gd name="T30" fmla="*/ 131 w 140"/>
                <a:gd name="T31" fmla="*/ 21 h 105"/>
                <a:gd name="T32" fmla="*/ 119 w 140"/>
                <a:gd name="T33" fmla="*/ 8 h 105"/>
                <a:gd name="T34" fmla="*/ 21 w 140"/>
                <a:gd name="T35" fmla="*/ 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0" h="105">
                  <a:moveTo>
                    <a:pt x="119" y="105"/>
                  </a:moveTo>
                  <a:cubicBezTo>
                    <a:pt x="21" y="105"/>
                    <a:pt x="21" y="105"/>
                    <a:pt x="21" y="105"/>
                  </a:cubicBezTo>
                  <a:cubicBezTo>
                    <a:pt x="10" y="105"/>
                    <a:pt x="0" y="96"/>
                    <a:pt x="0" y="8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30" y="0"/>
                    <a:pt x="140" y="9"/>
                    <a:pt x="140" y="21"/>
                  </a:cubicBezTo>
                  <a:cubicBezTo>
                    <a:pt x="140" y="84"/>
                    <a:pt x="140" y="84"/>
                    <a:pt x="140" y="84"/>
                  </a:cubicBezTo>
                  <a:cubicBezTo>
                    <a:pt x="140" y="96"/>
                    <a:pt x="130" y="105"/>
                    <a:pt x="119" y="105"/>
                  </a:cubicBezTo>
                  <a:close/>
                  <a:moveTo>
                    <a:pt x="21" y="8"/>
                  </a:moveTo>
                  <a:cubicBezTo>
                    <a:pt x="14" y="8"/>
                    <a:pt x="9" y="14"/>
                    <a:pt x="9" y="21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91"/>
                    <a:pt x="14" y="97"/>
                    <a:pt x="21" y="97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25" y="97"/>
                    <a:pt x="131" y="91"/>
                    <a:pt x="131" y="84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14"/>
                    <a:pt x="125" y="8"/>
                    <a:pt x="119" y="8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4" name="Rectangle 1310">
              <a:extLst>
                <a:ext uri="{FF2B5EF4-FFF2-40B4-BE49-F238E27FC236}">
                  <a16:creationId xmlns:a16="http://schemas.microsoft.com/office/drawing/2014/main" id="{DDB6A5CE-F1EC-4DB5-94F4-DA524A91AD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9320" y="1963977"/>
              <a:ext cx="250388" cy="31615"/>
            </a:xfrm>
            <a:prstGeom prst="rect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5" name="Freeform 1311">
              <a:extLst>
                <a:ext uri="{FF2B5EF4-FFF2-40B4-BE49-F238E27FC236}">
                  <a16:creationId xmlns:a16="http://schemas.microsoft.com/office/drawing/2014/main" id="{58F31739-44EA-4DE3-BD9B-D890162B5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4728" y="2037323"/>
              <a:ext cx="45525" cy="15175"/>
            </a:xfrm>
            <a:custGeom>
              <a:avLst/>
              <a:gdLst>
                <a:gd name="T0" fmla="*/ 21 w 25"/>
                <a:gd name="T1" fmla="*/ 9 h 9"/>
                <a:gd name="T2" fmla="*/ 5 w 25"/>
                <a:gd name="T3" fmla="*/ 9 h 9"/>
                <a:gd name="T4" fmla="*/ 0 w 25"/>
                <a:gd name="T5" fmla="*/ 5 h 9"/>
                <a:gd name="T6" fmla="*/ 5 w 25"/>
                <a:gd name="T7" fmla="*/ 0 h 9"/>
                <a:gd name="T8" fmla="*/ 21 w 25"/>
                <a:gd name="T9" fmla="*/ 0 h 9"/>
                <a:gd name="T10" fmla="*/ 25 w 25"/>
                <a:gd name="T11" fmla="*/ 5 h 9"/>
                <a:gd name="T12" fmla="*/ 21 w 2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9">
                  <a:moveTo>
                    <a:pt x="21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5" y="2"/>
                    <a:pt x="25" y="5"/>
                  </a:cubicBezTo>
                  <a:cubicBezTo>
                    <a:pt x="25" y="7"/>
                    <a:pt x="23" y="9"/>
                    <a:pt x="21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9" name="Agrupar 1638">
            <a:extLst>
              <a:ext uri="{FF2B5EF4-FFF2-40B4-BE49-F238E27FC236}">
                <a16:creationId xmlns:a16="http://schemas.microsoft.com/office/drawing/2014/main" id="{84B0A371-6E83-4055-9006-C2DB7B1A89AD}"/>
              </a:ext>
            </a:extLst>
          </p:cNvPr>
          <p:cNvGrpSpPr/>
          <p:nvPr/>
        </p:nvGrpSpPr>
        <p:grpSpPr>
          <a:xfrm>
            <a:off x="4420701" y="1181199"/>
            <a:ext cx="222567" cy="214979"/>
            <a:chOff x="4420701" y="1181199"/>
            <a:chExt cx="222567" cy="214979"/>
          </a:xfrm>
        </p:grpSpPr>
        <p:sp>
          <p:nvSpPr>
            <p:cNvPr id="1116" name="Freeform 1312">
              <a:extLst>
                <a:ext uri="{FF2B5EF4-FFF2-40B4-BE49-F238E27FC236}">
                  <a16:creationId xmlns:a16="http://schemas.microsoft.com/office/drawing/2014/main" id="{8159CF25-F157-4960-8BFF-4D3528544D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0701" y="1216607"/>
              <a:ext cx="222567" cy="179571"/>
            </a:xfrm>
            <a:custGeom>
              <a:avLst/>
              <a:gdLst>
                <a:gd name="T0" fmla="*/ 108 w 123"/>
                <a:gd name="T1" fmla="*/ 99 h 99"/>
                <a:gd name="T2" fmla="*/ 16 w 123"/>
                <a:gd name="T3" fmla="*/ 99 h 99"/>
                <a:gd name="T4" fmla="*/ 0 w 123"/>
                <a:gd name="T5" fmla="*/ 83 h 99"/>
                <a:gd name="T6" fmla="*/ 0 w 123"/>
                <a:gd name="T7" fmla="*/ 16 h 99"/>
                <a:gd name="T8" fmla="*/ 16 w 123"/>
                <a:gd name="T9" fmla="*/ 0 h 99"/>
                <a:gd name="T10" fmla="*/ 108 w 123"/>
                <a:gd name="T11" fmla="*/ 0 h 99"/>
                <a:gd name="T12" fmla="*/ 123 w 123"/>
                <a:gd name="T13" fmla="*/ 16 h 99"/>
                <a:gd name="T14" fmla="*/ 123 w 123"/>
                <a:gd name="T15" fmla="*/ 83 h 99"/>
                <a:gd name="T16" fmla="*/ 108 w 123"/>
                <a:gd name="T17" fmla="*/ 99 h 99"/>
                <a:gd name="T18" fmla="*/ 16 w 123"/>
                <a:gd name="T19" fmla="*/ 9 h 99"/>
                <a:gd name="T20" fmla="*/ 9 w 123"/>
                <a:gd name="T21" fmla="*/ 16 h 99"/>
                <a:gd name="T22" fmla="*/ 9 w 123"/>
                <a:gd name="T23" fmla="*/ 83 h 99"/>
                <a:gd name="T24" fmla="*/ 16 w 123"/>
                <a:gd name="T25" fmla="*/ 91 h 99"/>
                <a:gd name="T26" fmla="*/ 108 w 123"/>
                <a:gd name="T27" fmla="*/ 91 h 99"/>
                <a:gd name="T28" fmla="*/ 115 w 123"/>
                <a:gd name="T29" fmla="*/ 83 h 99"/>
                <a:gd name="T30" fmla="*/ 115 w 123"/>
                <a:gd name="T31" fmla="*/ 16 h 99"/>
                <a:gd name="T32" fmla="*/ 108 w 123"/>
                <a:gd name="T33" fmla="*/ 9 h 99"/>
                <a:gd name="T34" fmla="*/ 16 w 123"/>
                <a:gd name="T35" fmla="*/ 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99">
                  <a:moveTo>
                    <a:pt x="108" y="99"/>
                  </a:moveTo>
                  <a:cubicBezTo>
                    <a:pt x="16" y="99"/>
                    <a:pt x="16" y="99"/>
                    <a:pt x="16" y="99"/>
                  </a:cubicBezTo>
                  <a:cubicBezTo>
                    <a:pt x="8" y="99"/>
                    <a:pt x="0" y="92"/>
                    <a:pt x="0" y="8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6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6" y="0"/>
                    <a:pt x="123" y="7"/>
                    <a:pt x="123" y="16"/>
                  </a:cubicBezTo>
                  <a:cubicBezTo>
                    <a:pt x="123" y="83"/>
                    <a:pt x="123" y="83"/>
                    <a:pt x="123" y="83"/>
                  </a:cubicBezTo>
                  <a:cubicBezTo>
                    <a:pt x="123" y="92"/>
                    <a:pt x="116" y="99"/>
                    <a:pt x="108" y="99"/>
                  </a:cubicBezTo>
                  <a:close/>
                  <a:moveTo>
                    <a:pt x="16" y="9"/>
                  </a:moveTo>
                  <a:cubicBezTo>
                    <a:pt x="12" y="9"/>
                    <a:pt x="9" y="12"/>
                    <a:pt x="9" y="16"/>
                  </a:cubicBezTo>
                  <a:cubicBezTo>
                    <a:pt x="9" y="83"/>
                    <a:pt x="9" y="83"/>
                    <a:pt x="9" y="83"/>
                  </a:cubicBezTo>
                  <a:cubicBezTo>
                    <a:pt x="9" y="88"/>
                    <a:pt x="12" y="91"/>
                    <a:pt x="16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12" y="91"/>
                    <a:pt x="115" y="88"/>
                    <a:pt x="115" y="83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15" y="12"/>
                    <a:pt x="112" y="9"/>
                    <a:pt x="108" y="9"/>
                  </a:cubicBezTo>
                  <a:lnTo>
                    <a:pt x="16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7" name="Freeform 1313">
              <a:extLst>
                <a:ext uri="{FF2B5EF4-FFF2-40B4-BE49-F238E27FC236}">
                  <a16:creationId xmlns:a16="http://schemas.microsoft.com/office/drawing/2014/main" id="{DF8EE57F-8582-44A1-8FF2-EECCDD121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2783" y="1181199"/>
              <a:ext cx="80933" cy="15175"/>
            </a:xfrm>
            <a:custGeom>
              <a:avLst/>
              <a:gdLst>
                <a:gd name="T0" fmla="*/ 40 w 44"/>
                <a:gd name="T1" fmla="*/ 9 h 9"/>
                <a:gd name="T2" fmla="*/ 5 w 44"/>
                <a:gd name="T3" fmla="*/ 9 h 9"/>
                <a:gd name="T4" fmla="*/ 0 w 44"/>
                <a:gd name="T5" fmla="*/ 5 h 9"/>
                <a:gd name="T6" fmla="*/ 5 w 44"/>
                <a:gd name="T7" fmla="*/ 0 h 9"/>
                <a:gd name="T8" fmla="*/ 40 w 44"/>
                <a:gd name="T9" fmla="*/ 0 h 9"/>
                <a:gd name="T10" fmla="*/ 44 w 44"/>
                <a:gd name="T11" fmla="*/ 5 h 9"/>
                <a:gd name="T12" fmla="*/ 40 w 4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9">
                  <a:moveTo>
                    <a:pt x="40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2"/>
                    <a:pt x="44" y="5"/>
                  </a:cubicBezTo>
                  <a:cubicBezTo>
                    <a:pt x="44" y="7"/>
                    <a:pt x="42" y="9"/>
                    <a:pt x="40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8" name="Freeform 1314">
              <a:extLst>
                <a:ext uri="{FF2B5EF4-FFF2-40B4-BE49-F238E27FC236}">
                  <a16:creationId xmlns:a16="http://schemas.microsoft.com/office/drawing/2014/main" id="{6F6D89C5-12BA-4AFD-BA8E-24F90AC5CE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2666" y="1257074"/>
              <a:ext cx="101167" cy="101167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9 h 56"/>
                <a:gd name="T12" fmla="*/ 9 w 56"/>
                <a:gd name="T13" fmla="*/ 28 h 56"/>
                <a:gd name="T14" fmla="*/ 28 w 56"/>
                <a:gd name="T15" fmla="*/ 48 h 56"/>
                <a:gd name="T16" fmla="*/ 47 w 56"/>
                <a:gd name="T17" fmla="*/ 28 h 56"/>
                <a:gd name="T18" fmla="*/ 28 w 56"/>
                <a:gd name="T19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3" y="56"/>
                    <a:pt x="0" y="44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4"/>
                    <a:pt x="43" y="56"/>
                    <a:pt x="28" y="56"/>
                  </a:cubicBezTo>
                  <a:close/>
                  <a:moveTo>
                    <a:pt x="28" y="9"/>
                  </a:moveTo>
                  <a:cubicBezTo>
                    <a:pt x="17" y="9"/>
                    <a:pt x="9" y="17"/>
                    <a:pt x="9" y="28"/>
                  </a:cubicBezTo>
                  <a:cubicBezTo>
                    <a:pt x="9" y="39"/>
                    <a:pt x="17" y="48"/>
                    <a:pt x="28" y="48"/>
                  </a:cubicBezTo>
                  <a:cubicBezTo>
                    <a:pt x="39" y="48"/>
                    <a:pt x="47" y="39"/>
                    <a:pt x="47" y="28"/>
                  </a:cubicBezTo>
                  <a:cubicBezTo>
                    <a:pt x="47" y="17"/>
                    <a:pt x="39" y="9"/>
                    <a:pt x="28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9" name="Freeform 1315">
              <a:extLst>
                <a:ext uri="{FF2B5EF4-FFF2-40B4-BE49-F238E27FC236}">
                  <a16:creationId xmlns:a16="http://schemas.microsoft.com/office/drawing/2014/main" id="{28786263-A098-4007-B944-B0548C0771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3833" y="1241899"/>
              <a:ext cx="37938" cy="37938"/>
            </a:xfrm>
            <a:custGeom>
              <a:avLst/>
              <a:gdLst>
                <a:gd name="T0" fmla="*/ 11 w 21"/>
                <a:gd name="T1" fmla="*/ 21 h 21"/>
                <a:gd name="T2" fmla="*/ 0 w 21"/>
                <a:gd name="T3" fmla="*/ 10 h 21"/>
                <a:gd name="T4" fmla="*/ 11 w 21"/>
                <a:gd name="T5" fmla="*/ 0 h 21"/>
                <a:gd name="T6" fmla="*/ 21 w 21"/>
                <a:gd name="T7" fmla="*/ 10 h 21"/>
                <a:gd name="T8" fmla="*/ 11 w 21"/>
                <a:gd name="T9" fmla="*/ 21 h 21"/>
                <a:gd name="T10" fmla="*/ 11 w 21"/>
                <a:gd name="T11" fmla="*/ 8 h 21"/>
                <a:gd name="T12" fmla="*/ 8 w 21"/>
                <a:gd name="T13" fmla="*/ 10 h 21"/>
                <a:gd name="T14" fmla="*/ 11 w 21"/>
                <a:gd name="T15" fmla="*/ 12 h 21"/>
                <a:gd name="T16" fmla="*/ 13 w 21"/>
                <a:gd name="T17" fmla="*/ 10 h 21"/>
                <a:gd name="T18" fmla="*/ 11 w 21"/>
                <a:gd name="T1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1">
                  <a:moveTo>
                    <a:pt x="11" y="21"/>
                  </a:moveTo>
                  <a:cubicBezTo>
                    <a:pt x="5" y="21"/>
                    <a:pt x="0" y="16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7" y="0"/>
                    <a:pt x="21" y="4"/>
                    <a:pt x="21" y="10"/>
                  </a:cubicBezTo>
                  <a:cubicBezTo>
                    <a:pt x="21" y="16"/>
                    <a:pt x="17" y="21"/>
                    <a:pt x="11" y="21"/>
                  </a:cubicBezTo>
                  <a:close/>
                  <a:moveTo>
                    <a:pt x="11" y="8"/>
                  </a:moveTo>
                  <a:cubicBezTo>
                    <a:pt x="9" y="8"/>
                    <a:pt x="8" y="9"/>
                    <a:pt x="8" y="10"/>
                  </a:cubicBezTo>
                  <a:cubicBezTo>
                    <a:pt x="8" y="12"/>
                    <a:pt x="9" y="12"/>
                    <a:pt x="11" y="12"/>
                  </a:cubicBezTo>
                  <a:cubicBezTo>
                    <a:pt x="12" y="12"/>
                    <a:pt x="13" y="12"/>
                    <a:pt x="13" y="10"/>
                  </a:cubicBezTo>
                  <a:cubicBezTo>
                    <a:pt x="13" y="9"/>
                    <a:pt x="12" y="8"/>
                    <a:pt x="11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24" name="Agrupar 1623">
            <a:extLst>
              <a:ext uri="{FF2B5EF4-FFF2-40B4-BE49-F238E27FC236}">
                <a16:creationId xmlns:a16="http://schemas.microsoft.com/office/drawing/2014/main" id="{33363962-70BC-4392-872E-F0F62A415D39}"/>
              </a:ext>
            </a:extLst>
          </p:cNvPr>
          <p:cNvGrpSpPr/>
          <p:nvPr/>
        </p:nvGrpSpPr>
        <p:grpSpPr>
          <a:xfrm>
            <a:off x="4387822" y="727212"/>
            <a:ext cx="271885" cy="261770"/>
            <a:chOff x="4387822" y="727212"/>
            <a:chExt cx="271885" cy="261770"/>
          </a:xfrm>
        </p:grpSpPr>
        <p:sp>
          <p:nvSpPr>
            <p:cNvPr id="1120" name="Freeform 1316">
              <a:extLst>
                <a:ext uri="{FF2B5EF4-FFF2-40B4-BE49-F238E27FC236}">
                  <a16:creationId xmlns:a16="http://schemas.microsoft.com/office/drawing/2014/main" id="{5E0CFCBE-3392-4879-83A1-653C3A188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078" y="973807"/>
              <a:ext cx="184629" cy="15175"/>
            </a:xfrm>
            <a:custGeom>
              <a:avLst/>
              <a:gdLst>
                <a:gd name="T0" fmla="*/ 98 w 102"/>
                <a:gd name="T1" fmla="*/ 8 h 8"/>
                <a:gd name="T2" fmla="*/ 4 w 102"/>
                <a:gd name="T3" fmla="*/ 8 h 8"/>
                <a:gd name="T4" fmla="*/ 0 w 102"/>
                <a:gd name="T5" fmla="*/ 4 h 8"/>
                <a:gd name="T6" fmla="*/ 4 w 102"/>
                <a:gd name="T7" fmla="*/ 0 h 8"/>
                <a:gd name="T8" fmla="*/ 98 w 102"/>
                <a:gd name="T9" fmla="*/ 0 h 8"/>
                <a:gd name="T10" fmla="*/ 102 w 102"/>
                <a:gd name="T11" fmla="*/ 4 h 8"/>
                <a:gd name="T12" fmla="*/ 98 w 10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">
                  <a:moveTo>
                    <a:pt x="9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0"/>
                    <a:pt x="102" y="2"/>
                    <a:pt x="102" y="4"/>
                  </a:cubicBezTo>
                  <a:cubicBezTo>
                    <a:pt x="102" y="7"/>
                    <a:pt x="100" y="8"/>
                    <a:pt x="98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1" name="Freeform 1317">
              <a:extLst>
                <a:ext uri="{FF2B5EF4-FFF2-40B4-BE49-F238E27FC236}">
                  <a16:creationId xmlns:a16="http://schemas.microsoft.com/office/drawing/2014/main" id="{0B14C9CD-E719-461A-9531-545088D24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553" y="973807"/>
              <a:ext cx="40467" cy="15175"/>
            </a:xfrm>
            <a:custGeom>
              <a:avLst/>
              <a:gdLst>
                <a:gd name="T0" fmla="*/ 18 w 22"/>
                <a:gd name="T1" fmla="*/ 8 h 8"/>
                <a:gd name="T2" fmla="*/ 4 w 22"/>
                <a:gd name="T3" fmla="*/ 8 h 8"/>
                <a:gd name="T4" fmla="*/ 0 w 22"/>
                <a:gd name="T5" fmla="*/ 4 h 8"/>
                <a:gd name="T6" fmla="*/ 4 w 22"/>
                <a:gd name="T7" fmla="*/ 0 h 8"/>
                <a:gd name="T8" fmla="*/ 18 w 22"/>
                <a:gd name="T9" fmla="*/ 0 h 8"/>
                <a:gd name="T10" fmla="*/ 22 w 22"/>
                <a:gd name="T11" fmla="*/ 4 h 8"/>
                <a:gd name="T12" fmla="*/ 18 w 2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8">
                  <a:moveTo>
                    <a:pt x="1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2" y="2"/>
                    <a:pt x="22" y="4"/>
                  </a:cubicBezTo>
                  <a:cubicBezTo>
                    <a:pt x="22" y="7"/>
                    <a:pt x="20" y="8"/>
                    <a:pt x="18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2" name="Freeform 1318">
              <a:extLst>
                <a:ext uri="{FF2B5EF4-FFF2-40B4-BE49-F238E27FC236}">
                  <a16:creationId xmlns:a16="http://schemas.microsoft.com/office/drawing/2014/main" id="{6849C83C-3C28-4F9A-A2A4-D1AAA7A56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6576" y="824585"/>
              <a:ext cx="58171" cy="160602"/>
            </a:xfrm>
            <a:custGeom>
              <a:avLst/>
              <a:gdLst>
                <a:gd name="T0" fmla="*/ 27 w 32"/>
                <a:gd name="T1" fmla="*/ 88 h 88"/>
                <a:gd name="T2" fmla="*/ 23 w 32"/>
                <a:gd name="T3" fmla="*/ 85 h 88"/>
                <a:gd name="T4" fmla="*/ 0 w 32"/>
                <a:gd name="T5" fmla="*/ 6 h 88"/>
                <a:gd name="T6" fmla="*/ 3 w 32"/>
                <a:gd name="T7" fmla="*/ 0 h 88"/>
                <a:gd name="T8" fmla="*/ 9 w 32"/>
                <a:gd name="T9" fmla="*/ 3 h 88"/>
                <a:gd name="T10" fmla="*/ 31 w 32"/>
                <a:gd name="T11" fmla="*/ 82 h 88"/>
                <a:gd name="T12" fmla="*/ 28 w 32"/>
                <a:gd name="T13" fmla="*/ 88 h 88"/>
                <a:gd name="T14" fmla="*/ 27 w 32"/>
                <a:gd name="T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88">
                  <a:moveTo>
                    <a:pt x="27" y="88"/>
                  </a:moveTo>
                  <a:cubicBezTo>
                    <a:pt x="25" y="88"/>
                    <a:pt x="23" y="87"/>
                    <a:pt x="23" y="8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6" y="0"/>
                    <a:pt x="8" y="1"/>
                    <a:pt x="9" y="3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2" y="85"/>
                    <a:pt x="30" y="87"/>
                    <a:pt x="28" y="88"/>
                  </a:cubicBezTo>
                  <a:cubicBezTo>
                    <a:pt x="28" y="88"/>
                    <a:pt x="27" y="88"/>
                    <a:pt x="27" y="8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3" name="Freeform 1319">
              <a:extLst>
                <a:ext uri="{FF2B5EF4-FFF2-40B4-BE49-F238E27FC236}">
                  <a16:creationId xmlns:a16="http://schemas.microsoft.com/office/drawing/2014/main" id="{410D11CC-5EF9-4387-A3FA-F713D9F83F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7822" y="727212"/>
              <a:ext cx="213715" cy="134046"/>
            </a:xfrm>
            <a:custGeom>
              <a:avLst/>
              <a:gdLst>
                <a:gd name="T0" fmla="*/ 15 w 118"/>
                <a:gd name="T1" fmla="*/ 74 h 74"/>
                <a:gd name="T2" fmla="*/ 13 w 118"/>
                <a:gd name="T3" fmla="*/ 74 h 74"/>
                <a:gd name="T4" fmla="*/ 11 w 118"/>
                <a:gd name="T5" fmla="*/ 71 h 74"/>
                <a:gd name="T6" fmla="*/ 48 w 118"/>
                <a:gd name="T7" fmla="*/ 3 h 74"/>
                <a:gd name="T8" fmla="*/ 66 w 118"/>
                <a:gd name="T9" fmla="*/ 0 h 74"/>
                <a:gd name="T10" fmla="*/ 118 w 118"/>
                <a:gd name="T11" fmla="*/ 41 h 74"/>
                <a:gd name="T12" fmla="*/ 118 w 118"/>
                <a:gd name="T13" fmla="*/ 44 h 74"/>
                <a:gd name="T14" fmla="*/ 115 w 118"/>
                <a:gd name="T15" fmla="*/ 46 h 74"/>
                <a:gd name="T16" fmla="*/ 16 w 118"/>
                <a:gd name="T17" fmla="*/ 74 h 74"/>
                <a:gd name="T18" fmla="*/ 15 w 118"/>
                <a:gd name="T19" fmla="*/ 74 h 74"/>
                <a:gd name="T20" fmla="*/ 66 w 118"/>
                <a:gd name="T21" fmla="*/ 9 h 74"/>
                <a:gd name="T22" fmla="*/ 50 w 118"/>
                <a:gd name="T23" fmla="*/ 11 h 74"/>
                <a:gd name="T24" fmla="*/ 19 w 118"/>
                <a:gd name="T25" fmla="*/ 65 h 74"/>
                <a:gd name="T26" fmla="*/ 108 w 118"/>
                <a:gd name="T27" fmla="*/ 39 h 74"/>
                <a:gd name="T28" fmla="*/ 66 w 118"/>
                <a:gd name="T29" fmla="*/ 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74">
                  <a:moveTo>
                    <a:pt x="15" y="74"/>
                  </a:moveTo>
                  <a:cubicBezTo>
                    <a:pt x="14" y="74"/>
                    <a:pt x="14" y="74"/>
                    <a:pt x="13" y="74"/>
                  </a:cubicBezTo>
                  <a:cubicBezTo>
                    <a:pt x="12" y="73"/>
                    <a:pt x="11" y="72"/>
                    <a:pt x="11" y="71"/>
                  </a:cubicBezTo>
                  <a:cubicBezTo>
                    <a:pt x="11" y="70"/>
                    <a:pt x="0" y="16"/>
                    <a:pt x="48" y="3"/>
                  </a:cubicBezTo>
                  <a:cubicBezTo>
                    <a:pt x="54" y="1"/>
                    <a:pt x="60" y="0"/>
                    <a:pt x="66" y="0"/>
                  </a:cubicBezTo>
                  <a:cubicBezTo>
                    <a:pt x="105" y="0"/>
                    <a:pt x="118" y="40"/>
                    <a:pt x="118" y="41"/>
                  </a:cubicBezTo>
                  <a:cubicBezTo>
                    <a:pt x="118" y="42"/>
                    <a:pt x="118" y="43"/>
                    <a:pt x="118" y="44"/>
                  </a:cubicBezTo>
                  <a:cubicBezTo>
                    <a:pt x="117" y="45"/>
                    <a:pt x="116" y="46"/>
                    <a:pt x="115" y="46"/>
                  </a:cubicBezTo>
                  <a:cubicBezTo>
                    <a:pt x="16" y="74"/>
                    <a:pt x="16" y="74"/>
                    <a:pt x="16" y="74"/>
                  </a:cubicBezTo>
                  <a:cubicBezTo>
                    <a:pt x="16" y="74"/>
                    <a:pt x="16" y="74"/>
                    <a:pt x="15" y="74"/>
                  </a:cubicBezTo>
                  <a:close/>
                  <a:moveTo>
                    <a:pt x="66" y="9"/>
                  </a:moveTo>
                  <a:cubicBezTo>
                    <a:pt x="61" y="9"/>
                    <a:pt x="56" y="9"/>
                    <a:pt x="50" y="11"/>
                  </a:cubicBezTo>
                  <a:cubicBezTo>
                    <a:pt x="17" y="20"/>
                    <a:pt x="17" y="52"/>
                    <a:pt x="19" y="65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4" y="30"/>
                    <a:pt x="92" y="9"/>
                    <a:pt x="6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4" name="Freeform 1320">
              <a:extLst>
                <a:ext uri="{FF2B5EF4-FFF2-40B4-BE49-F238E27FC236}">
                  <a16:creationId xmlns:a16="http://schemas.microsoft.com/office/drawing/2014/main" id="{A563A5D8-FBD8-425F-9337-A4F9FED8C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553" y="731006"/>
              <a:ext cx="56906" cy="116342"/>
            </a:xfrm>
            <a:custGeom>
              <a:avLst/>
              <a:gdLst>
                <a:gd name="T0" fmla="*/ 18 w 31"/>
                <a:gd name="T1" fmla="*/ 64 h 64"/>
                <a:gd name="T2" fmla="*/ 14 w 31"/>
                <a:gd name="T3" fmla="*/ 61 h 64"/>
                <a:gd name="T4" fmla="*/ 24 w 31"/>
                <a:gd name="T5" fmla="*/ 1 h 64"/>
                <a:gd name="T6" fmla="*/ 30 w 31"/>
                <a:gd name="T7" fmla="*/ 2 h 64"/>
                <a:gd name="T8" fmla="*/ 29 w 31"/>
                <a:gd name="T9" fmla="*/ 8 h 64"/>
                <a:gd name="T10" fmla="*/ 22 w 31"/>
                <a:gd name="T11" fmla="*/ 58 h 64"/>
                <a:gd name="T12" fmla="*/ 20 w 31"/>
                <a:gd name="T13" fmla="*/ 63 h 64"/>
                <a:gd name="T14" fmla="*/ 18 w 31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64">
                  <a:moveTo>
                    <a:pt x="18" y="64"/>
                  </a:moveTo>
                  <a:cubicBezTo>
                    <a:pt x="17" y="64"/>
                    <a:pt x="15" y="62"/>
                    <a:pt x="14" y="61"/>
                  </a:cubicBezTo>
                  <a:cubicBezTo>
                    <a:pt x="14" y="59"/>
                    <a:pt x="0" y="19"/>
                    <a:pt x="24" y="1"/>
                  </a:cubicBezTo>
                  <a:cubicBezTo>
                    <a:pt x="26" y="0"/>
                    <a:pt x="29" y="0"/>
                    <a:pt x="30" y="2"/>
                  </a:cubicBezTo>
                  <a:cubicBezTo>
                    <a:pt x="31" y="4"/>
                    <a:pt x="31" y="7"/>
                    <a:pt x="29" y="8"/>
                  </a:cubicBezTo>
                  <a:cubicBezTo>
                    <a:pt x="10" y="22"/>
                    <a:pt x="22" y="58"/>
                    <a:pt x="22" y="58"/>
                  </a:cubicBezTo>
                  <a:cubicBezTo>
                    <a:pt x="23" y="60"/>
                    <a:pt x="22" y="63"/>
                    <a:pt x="20" y="63"/>
                  </a:cubicBezTo>
                  <a:cubicBezTo>
                    <a:pt x="19" y="64"/>
                    <a:pt x="19" y="64"/>
                    <a:pt x="18" y="6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5" name="Freeform 1321">
              <a:extLst>
                <a:ext uri="{FF2B5EF4-FFF2-40B4-BE49-F238E27FC236}">
                  <a16:creationId xmlns:a16="http://schemas.microsoft.com/office/drawing/2014/main" id="{B36E9E55-950A-452C-9C65-7647D76E9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285" y="731006"/>
              <a:ext cx="83463" cy="92315"/>
            </a:xfrm>
            <a:custGeom>
              <a:avLst/>
              <a:gdLst>
                <a:gd name="T0" fmla="*/ 41 w 46"/>
                <a:gd name="T1" fmla="*/ 51 h 51"/>
                <a:gd name="T2" fmla="*/ 37 w 46"/>
                <a:gd name="T3" fmla="*/ 48 h 51"/>
                <a:gd name="T4" fmla="*/ 4 w 46"/>
                <a:gd name="T5" fmla="*/ 9 h 51"/>
                <a:gd name="T6" fmla="*/ 0 w 46"/>
                <a:gd name="T7" fmla="*/ 4 h 51"/>
                <a:gd name="T8" fmla="*/ 4 w 46"/>
                <a:gd name="T9" fmla="*/ 0 h 51"/>
                <a:gd name="T10" fmla="*/ 46 w 46"/>
                <a:gd name="T11" fmla="*/ 46 h 51"/>
                <a:gd name="T12" fmla="*/ 43 w 46"/>
                <a:gd name="T13" fmla="*/ 51 h 51"/>
                <a:gd name="T14" fmla="*/ 41 w 46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51">
                  <a:moveTo>
                    <a:pt x="41" y="51"/>
                  </a:moveTo>
                  <a:cubicBezTo>
                    <a:pt x="40" y="51"/>
                    <a:pt x="38" y="50"/>
                    <a:pt x="37" y="48"/>
                  </a:cubicBezTo>
                  <a:cubicBezTo>
                    <a:pt x="37" y="48"/>
                    <a:pt x="27" y="11"/>
                    <a:pt x="4" y="9"/>
                  </a:cubicBezTo>
                  <a:cubicBezTo>
                    <a:pt x="1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4" y="3"/>
                    <a:pt x="45" y="44"/>
                    <a:pt x="46" y="46"/>
                  </a:cubicBezTo>
                  <a:cubicBezTo>
                    <a:pt x="46" y="48"/>
                    <a:pt x="45" y="50"/>
                    <a:pt x="43" y="51"/>
                  </a:cubicBezTo>
                  <a:cubicBezTo>
                    <a:pt x="42" y="51"/>
                    <a:pt x="42" y="51"/>
                    <a:pt x="41" y="5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27" name="Agrupar 1626">
            <a:extLst>
              <a:ext uri="{FF2B5EF4-FFF2-40B4-BE49-F238E27FC236}">
                <a16:creationId xmlns:a16="http://schemas.microsoft.com/office/drawing/2014/main" id="{BCD093AC-2CD6-4E37-8B21-D97ECB6C0E33}"/>
              </a:ext>
            </a:extLst>
          </p:cNvPr>
          <p:cNvGrpSpPr/>
          <p:nvPr/>
        </p:nvGrpSpPr>
        <p:grpSpPr>
          <a:xfrm>
            <a:off x="5185775" y="725948"/>
            <a:ext cx="232684" cy="263034"/>
            <a:chOff x="5185775" y="725948"/>
            <a:chExt cx="232684" cy="263034"/>
          </a:xfrm>
        </p:grpSpPr>
        <p:sp>
          <p:nvSpPr>
            <p:cNvPr id="1126" name="Freeform 1322">
              <a:extLst>
                <a:ext uri="{FF2B5EF4-FFF2-40B4-BE49-F238E27FC236}">
                  <a16:creationId xmlns:a16="http://schemas.microsoft.com/office/drawing/2014/main" id="{FADF2073-3104-4CF0-BF6D-AE1F46ED5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300" y="973807"/>
              <a:ext cx="187159" cy="15175"/>
            </a:xfrm>
            <a:custGeom>
              <a:avLst/>
              <a:gdLst>
                <a:gd name="T0" fmla="*/ 98 w 103"/>
                <a:gd name="T1" fmla="*/ 8 h 8"/>
                <a:gd name="T2" fmla="*/ 5 w 103"/>
                <a:gd name="T3" fmla="*/ 8 h 8"/>
                <a:gd name="T4" fmla="*/ 0 w 103"/>
                <a:gd name="T5" fmla="*/ 4 h 8"/>
                <a:gd name="T6" fmla="*/ 5 w 103"/>
                <a:gd name="T7" fmla="*/ 0 h 8"/>
                <a:gd name="T8" fmla="*/ 98 w 103"/>
                <a:gd name="T9" fmla="*/ 0 h 8"/>
                <a:gd name="T10" fmla="*/ 103 w 103"/>
                <a:gd name="T11" fmla="*/ 4 h 8"/>
                <a:gd name="T12" fmla="*/ 98 w 10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8">
                  <a:moveTo>
                    <a:pt x="98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1" y="0"/>
                    <a:pt x="103" y="2"/>
                    <a:pt x="103" y="4"/>
                  </a:cubicBezTo>
                  <a:cubicBezTo>
                    <a:pt x="103" y="6"/>
                    <a:pt x="101" y="8"/>
                    <a:pt x="98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7" name="Freeform 1323">
              <a:extLst>
                <a:ext uri="{FF2B5EF4-FFF2-40B4-BE49-F238E27FC236}">
                  <a16:creationId xmlns:a16="http://schemas.microsoft.com/office/drawing/2014/main" id="{313F522C-A6AA-4644-9D28-CF160D4FF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5775" y="973807"/>
              <a:ext cx="41731" cy="15175"/>
            </a:xfrm>
            <a:custGeom>
              <a:avLst/>
              <a:gdLst>
                <a:gd name="T0" fmla="*/ 18 w 23"/>
                <a:gd name="T1" fmla="*/ 8 h 8"/>
                <a:gd name="T2" fmla="*/ 4 w 23"/>
                <a:gd name="T3" fmla="*/ 8 h 8"/>
                <a:gd name="T4" fmla="*/ 0 w 23"/>
                <a:gd name="T5" fmla="*/ 4 h 8"/>
                <a:gd name="T6" fmla="*/ 4 w 23"/>
                <a:gd name="T7" fmla="*/ 0 h 8"/>
                <a:gd name="T8" fmla="*/ 18 w 23"/>
                <a:gd name="T9" fmla="*/ 0 h 8"/>
                <a:gd name="T10" fmla="*/ 23 w 23"/>
                <a:gd name="T11" fmla="*/ 4 h 8"/>
                <a:gd name="T12" fmla="*/ 18 w 2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8">
                  <a:moveTo>
                    <a:pt x="1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3" y="2"/>
                    <a:pt x="23" y="4"/>
                  </a:cubicBezTo>
                  <a:cubicBezTo>
                    <a:pt x="23" y="6"/>
                    <a:pt x="21" y="8"/>
                    <a:pt x="18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8" name="Freeform 1324">
              <a:extLst>
                <a:ext uri="{FF2B5EF4-FFF2-40B4-BE49-F238E27FC236}">
                  <a16:creationId xmlns:a16="http://schemas.microsoft.com/office/drawing/2014/main" id="{E4387EE3-3D30-4ECF-B28E-87823AD38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1184" y="725948"/>
              <a:ext cx="98638" cy="263034"/>
            </a:xfrm>
            <a:custGeom>
              <a:avLst/>
              <a:gdLst>
                <a:gd name="T0" fmla="*/ 44 w 55"/>
                <a:gd name="T1" fmla="*/ 145 h 145"/>
                <a:gd name="T2" fmla="*/ 40 w 55"/>
                <a:gd name="T3" fmla="*/ 143 h 145"/>
                <a:gd name="T4" fmla="*/ 47 w 55"/>
                <a:gd name="T5" fmla="*/ 3 h 145"/>
                <a:gd name="T6" fmla="*/ 53 w 55"/>
                <a:gd name="T7" fmla="*/ 2 h 145"/>
                <a:gd name="T8" fmla="*/ 53 w 55"/>
                <a:gd name="T9" fmla="*/ 8 h 145"/>
                <a:gd name="T10" fmla="*/ 48 w 55"/>
                <a:gd name="T11" fmla="*/ 139 h 145"/>
                <a:gd name="T12" fmla="*/ 46 w 55"/>
                <a:gd name="T13" fmla="*/ 145 h 145"/>
                <a:gd name="T14" fmla="*/ 44 w 55"/>
                <a:gd name="T1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145">
                  <a:moveTo>
                    <a:pt x="44" y="145"/>
                  </a:moveTo>
                  <a:cubicBezTo>
                    <a:pt x="43" y="145"/>
                    <a:pt x="41" y="145"/>
                    <a:pt x="40" y="143"/>
                  </a:cubicBezTo>
                  <a:cubicBezTo>
                    <a:pt x="0" y="66"/>
                    <a:pt x="46" y="3"/>
                    <a:pt x="47" y="3"/>
                  </a:cubicBezTo>
                  <a:cubicBezTo>
                    <a:pt x="48" y="1"/>
                    <a:pt x="51" y="0"/>
                    <a:pt x="53" y="2"/>
                  </a:cubicBezTo>
                  <a:cubicBezTo>
                    <a:pt x="55" y="3"/>
                    <a:pt x="55" y="6"/>
                    <a:pt x="53" y="8"/>
                  </a:cubicBezTo>
                  <a:cubicBezTo>
                    <a:pt x="53" y="8"/>
                    <a:pt x="10" y="67"/>
                    <a:pt x="48" y="139"/>
                  </a:cubicBezTo>
                  <a:cubicBezTo>
                    <a:pt x="49" y="141"/>
                    <a:pt x="48" y="144"/>
                    <a:pt x="46" y="145"/>
                  </a:cubicBezTo>
                  <a:cubicBezTo>
                    <a:pt x="45" y="145"/>
                    <a:pt x="45" y="145"/>
                    <a:pt x="44" y="14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9" name="Freeform 1325">
              <a:extLst>
                <a:ext uri="{FF2B5EF4-FFF2-40B4-BE49-F238E27FC236}">
                  <a16:creationId xmlns:a16="http://schemas.microsoft.com/office/drawing/2014/main" id="{4CFDA3DB-A8B0-41B9-B373-178438018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8421" y="741123"/>
              <a:ext cx="91050" cy="122665"/>
            </a:xfrm>
            <a:custGeom>
              <a:avLst/>
              <a:gdLst>
                <a:gd name="T0" fmla="*/ 6 w 50"/>
                <a:gd name="T1" fmla="*/ 67 h 67"/>
                <a:gd name="T2" fmla="*/ 4 w 50"/>
                <a:gd name="T3" fmla="*/ 67 h 67"/>
                <a:gd name="T4" fmla="*/ 2 w 50"/>
                <a:gd name="T5" fmla="*/ 62 h 67"/>
                <a:gd name="T6" fmla="*/ 38 w 50"/>
                <a:gd name="T7" fmla="*/ 29 h 67"/>
                <a:gd name="T8" fmla="*/ 5 w 50"/>
                <a:gd name="T9" fmla="*/ 10 h 67"/>
                <a:gd name="T10" fmla="*/ 0 w 50"/>
                <a:gd name="T11" fmla="*/ 6 h 67"/>
                <a:gd name="T12" fmla="*/ 4 w 50"/>
                <a:gd name="T13" fmla="*/ 2 h 67"/>
                <a:gd name="T14" fmla="*/ 49 w 50"/>
                <a:gd name="T15" fmla="*/ 31 h 67"/>
                <a:gd name="T16" fmla="*/ 49 w 50"/>
                <a:gd name="T17" fmla="*/ 35 h 67"/>
                <a:gd name="T18" fmla="*/ 45 w 50"/>
                <a:gd name="T19" fmla="*/ 37 h 67"/>
                <a:gd name="T20" fmla="*/ 45 w 50"/>
                <a:gd name="T21" fmla="*/ 37 h 67"/>
                <a:gd name="T22" fmla="*/ 10 w 50"/>
                <a:gd name="T23" fmla="*/ 64 h 67"/>
                <a:gd name="T24" fmla="*/ 6 w 50"/>
                <a:gd name="T2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67">
                  <a:moveTo>
                    <a:pt x="6" y="67"/>
                  </a:moveTo>
                  <a:cubicBezTo>
                    <a:pt x="5" y="67"/>
                    <a:pt x="5" y="67"/>
                    <a:pt x="4" y="67"/>
                  </a:cubicBezTo>
                  <a:cubicBezTo>
                    <a:pt x="2" y="66"/>
                    <a:pt x="1" y="64"/>
                    <a:pt x="2" y="62"/>
                  </a:cubicBezTo>
                  <a:cubicBezTo>
                    <a:pt x="2" y="61"/>
                    <a:pt x="11" y="33"/>
                    <a:pt x="38" y="29"/>
                  </a:cubicBezTo>
                  <a:cubicBezTo>
                    <a:pt x="34" y="21"/>
                    <a:pt x="23" y="9"/>
                    <a:pt x="5" y="10"/>
                  </a:cubicBezTo>
                  <a:cubicBezTo>
                    <a:pt x="2" y="10"/>
                    <a:pt x="0" y="8"/>
                    <a:pt x="0" y="6"/>
                  </a:cubicBezTo>
                  <a:cubicBezTo>
                    <a:pt x="0" y="4"/>
                    <a:pt x="2" y="2"/>
                    <a:pt x="4" y="2"/>
                  </a:cubicBezTo>
                  <a:cubicBezTo>
                    <a:pt x="36" y="0"/>
                    <a:pt x="49" y="31"/>
                    <a:pt x="49" y="31"/>
                  </a:cubicBezTo>
                  <a:cubicBezTo>
                    <a:pt x="50" y="32"/>
                    <a:pt x="50" y="34"/>
                    <a:pt x="49" y="35"/>
                  </a:cubicBezTo>
                  <a:cubicBezTo>
                    <a:pt x="48" y="36"/>
                    <a:pt x="47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19" y="37"/>
                    <a:pt x="10" y="63"/>
                    <a:pt x="10" y="64"/>
                  </a:cubicBezTo>
                  <a:cubicBezTo>
                    <a:pt x="9" y="66"/>
                    <a:pt x="8" y="67"/>
                    <a:pt x="6" y="6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30" name="Freeform 1326">
              <a:extLst>
                <a:ext uri="{FF2B5EF4-FFF2-40B4-BE49-F238E27FC236}">
                  <a16:creationId xmlns:a16="http://schemas.microsoft.com/office/drawing/2014/main" id="{5237EA18-82E9-4DF5-8BF4-B48BB5D5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032" y="761356"/>
              <a:ext cx="107490" cy="132781"/>
            </a:xfrm>
            <a:custGeom>
              <a:avLst/>
              <a:gdLst>
                <a:gd name="T0" fmla="*/ 24 w 59"/>
                <a:gd name="T1" fmla="*/ 73 h 73"/>
                <a:gd name="T2" fmla="*/ 24 w 59"/>
                <a:gd name="T3" fmla="*/ 73 h 73"/>
                <a:gd name="T4" fmla="*/ 20 w 59"/>
                <a:gd name="T5" fmla="*/ 68 h 73"/>
                <a:gd name="T6" fmla="*/ 3 w 59"/>
                <a:gd name="T7" fmla="*/ 25 h 73"/>
                <a:gd name="T8" fmla="*/ 0 w 59"/>
                <a:gd name="T9" fmla="*/ 22 h 73"/>
                <a:gd name="T10" fmla="*/ 2 w 59"/>
                <a:gd name="T11" fmla="*/ 18 h 73"/>
                <a:gd name="T12" fmla="*/ 57 w 59"/>
                <a:gd name="T13" fmla="*/ 23 h 73"/>
                <a:gd name="T14" fmla="*/ 57 w 59"/>
                <a:gd name="T15" fmla="*/ 29 h 73"/>
                <a:gd name="T16" fmla="*/ 51 w 59"/>
                <a:gd name="T17" fmla="*/ 29 h 73"/>
                <a:gd name="T18" fmla="*/ 14 w 59"/>
                <a:gd name="T19" fmla="*/ 22 h 73"/>
                <a:gd name="T20" fmla="*/ 29 w 59"/>
                <a:gd name="T21" fmla="*/ 70 h 73"/>
                <a:gd name="T22" fmla="*/ 24 w 59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73">
                  <a:moveTo>
                    <a:pt x="24" y="73"/>
                  </a:moveTo>
                  <a:cubicBezTo>
                    <a:pt x="24" y="73"/>
                    <a:pt x="24" y="73"/>
                    <a:pt x="24" y="73"/>
                  </a:cubicBezTo>
                  <a:cubicBezTo>
                    <a:pt x="21" y="73"/>
                    <a:pt x="20" y="71"/>
                    <a:pt x="20" y="68"/>
                  </a:cubicBezTo>
                  <a:cubicBezTo>
                    <a:pt x="20" y="67"/>
                    <a:pt x="26" y="35"/>
                    <a:pt x="3" y="25"/>
                  </a:cubicBezTo>
                  <a:cubicBezTo>
                    <a:pt x="1" y="25"/>
                    <a:pt x="0" y="23"/>
                    <a:pt x="0" y="22"/>
                  </a:cubicBezTo>
                  <a:cubicBezTo>
                    <a:pt x="0" y="20"/>
                    <a:pt x="1" y="19"/>
                    <a:pt x="2" y="18"/>
                  </a:cubicBezTo>
                  <a:cubicBezTo>
                    <a:pt x="2" y="18"/>
                    <a:pt x="34" y="0"/>
                    <a:pt x="57" y="23"/>
                  </a:cubicBezTo>
                  <a:cubicBezTo>
                    <a:pt x="59" y="25"/>
                    <a:pt x="59" y="28"/>
                    <a:pt x="57" y="29"/>
                  </a:cubicBezTo>
                  <a:cubicBezTo>
                    <a:pt x="56" y="31"/>
                    <a:pt x="53" y="31"/>
                    <a:pt x="51" y="29"/>
                  </a:cubicBezTo>
                  <a:cubicBezTo>
                    <a:pt x="39" y="16"/>
                    <a:pt x="23" y="19"/>
                    <a:pt x="14" y="22"/>
                  </a:cubicBezTo>
                  <a:cubicBezTo>
                    <a:pt x="30" y="34"/>
                    <a:pt x="31" y="58"/>
                    <a:pt x="29" y="70"/>
                  </a:cubicBezTo>
                  <a:cubicBezTo>
                    <a:pt x="28" y="72"/>
                    <a:pt x="26" y="73"/>
                    <a:pt x="24" y="7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3" name="Agrupar 1642">
            <a:extLst>
              <a:ext uri="{FF2B5EF4-FFF2-40B4-BE49-F238E27FC236}">
                <a16:creationId xmlns:a16="http://schemas.microsoft.com/office/drawing/2014/main" id="{D0BAB8B1-E297-4E2C-92D5-C9B77067DE20}"/>
              </a:ext>
            </a:extLst>
          </p:cNvPr>
          <p:cNvGrpSpPr/>
          <p:nvPr/>
        </p:nvGrpSpPr>
        <p:grpSpPr>
          <a:xfrm>
            <a:off x="5551241" y="1914658"/>
            <a:ext cx="252917" cy="183365"/>
            <a:chOff x="5551241" y="1914658"/>
            <a:chExt cx="252917" cy="183365"/>
          </a:xfrm>
        </p:grpSpPr>
        <p:sp>
          <p:nvSpPr>
            <p:cNvPr id="1131" name="Freeform 1327">
              <a:extLst>
                <a:ext uri="{FF2B5EF4-FFF2-40B4-BE49-F238E27FC236}">
                  <a16:creationId xmlns:a16="http://schemas.microsoft.com/office/drawing/2014/main" id="{96833EBC-8614-4115-8CCB-36B29EF5A9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1241" y="1914658"/>
              <a:ext cx="252917" cy="183365"/>
            </a:xfrm>
            <a:custGeom>
              <a:avLst/>
              <a:gdLst>
                <a:gd name="T0" fmla="*/ 121 w 140"/>
                <a:gd name="T1" fmla="*/ 101 h 101"/>
                <a:gd name="T2" fmla="*/ 18 w 140"/>
                <a:gd name="T3" fmla="*/ 101 h 101"/>
                <a:gd name="T4" fmla="*/ 0 w 140"/>
                <a:gd name="T5" fmla="*/ 83 h 101"/>
                <a:gd name="T6" fmla="*/ 0 w 140"/>
                <a:gd name="T7" fmla="*/ 74 h 101"/>
                <a:gd name="T8" fmla="*/ 4 w 140"/>
                <a:gd name="T9" fmla="*/ 70 h 101"/>
                <a:gd name="T10" fmla="*/ 21 w 140"/>
                <a:gd name="T11" fmla="*/ 51 h 101"/>
                <a:gd name="T12" fmla="*/ 4 w 140"/>
                <a:gd name="T13" fmla="*/ 32 h 101"/>
                <a:gd name="T14" fmla="*/ 0 w 140"/>
                <a:gd name="T15" fmla="*/ 27 h 101"/>
                <a:gd name="T16" fmla="*/ 0 w 140"/>
                <a:gd name="T17" fmla="*/ 18 h 101"/>
                <a:gd name="T18" fmla="*/ 18 w 140"/>
                <a:gd name="T19" fmla="*/ 0 h 101"/>
                <a:gd name="T20" fmla="*/ 121 w 140"/>
                <a:gd name="T21" fmla="*/ 0 h 101"/>
                <a:gd name="T22" fmla="*/ 140 w 140"/>
                <a:gd name="T23" fmla="*/ 18 h 101"/>
                <a:gd name="T24" fmla="*/ 140 w 140"/>
                <a:gd name="T25" fmla="*/ 83 h 101"/>
                <a:gd name="T26" fmla="*/ 121 w 140"/>
                <a:gd name="T27" fmla="*/ 101 h 101"/>
                <a:gd name="T28" fmla="*/ 9 w 140"/>
                <a:gd name="T29" fmla="*/ 78 h 101"/>
                <a:gd name="T30" fmla="*/ 9 w 140"/>
                <a:gd name="T31" fmla="*/ 83 h 101"/>
                <a:gd name="T32" fmla="*/ 18 w 140"/>
                <a:gd name="T33" fmla="*/ 93 h 101"/>
                <a:gd name="T34" fmla="*/ 121 w 140"/>
                <a:gd name="T35" fmla="*/ 93 h 101"/>
                <a:gd name="T36" fmla="*/ 131 w 140"/>
                <a:gd name="T37" fmla="*/ 83 h 101"/>
                <a:gd name="T38" fmla="*/ 131 w 140"/>
                <a:gd name="T39" fmla="*/ 18 h 101"/>
                <a:gd name="T40" fmla="*/ 121 w 140"/>
                <a:gd name="T41" fmla="*/ 9 h 101"/>
                <a:gd name="T42" fmla="*/ 18 w 140"/>
                <a:gd name="T43" fmla="*/ 9 h 101"/>
                <a:gd name="T44" fmla="*/ 9 w 140"/>
                <a:gd name="T45" fmla="*/ 18 h 101"/>
                <a:gd name="T46" fmla="*/ 9 w 140"/>
                <a:gd name="T47" fmla="*/ 24 h 101"/>
                <a:gd name="T48" fmla="*/ 30 w 140"/>
                <a:gd name="T49" fmla="*/ 51 h 101"/>
                <a:gd name="T50" fmla="*/ 9 w 140"/>
                <a:gd name="T51" fmla="*/ 7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0" h="101">
                  <a:moveTo>
                    <a:pt x="121" y="101"/>
                  </a:moveTo>
                  <a:cubicBezTo>
                    <a:pt x="18" y="101"/>
                    <a:pt x="18" y="101"/>
                    <a:pt x="18" y="101"/>
                  </a:cubicBezTo>
                  <a:cubicBezTo>
                    <a:pt x="8" y="101"/>
                    <a:pt x="0" y="93"/>
                    <a:pt x="0" y="8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2"/>
                    <a:pt x="2" y="70"/>
                    <a:pt x="4" y="70"/>
                  </a:cubicBezTo>
                  <a:cubicBezTo>
                    <a:pt x="14" y="69"/>
                    <a:pt x="21" y="60"/>
                    <a:pt x="21" y="51"/>
                  </a:cubicBezTo>
                  <a:cubicBezTo>
                    <a:pt x="21" y="41"/>
                    <a:pt x="14" y="33"/>
                    <a:pt x="4" y="32"/>
                  </a:cubicBezTo>
                  <a:cubicBezTo>
                    <a:pt x="2" y="32"/>
                    <a:pt x="0" y="30"/>
                    <a:pt x="0" y="2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1" y="0"/>
                    <a:pt x="140" y="8"/>
                    <a:pt x="140" y="18"/>
                  </a:cubicBezTo>
                  <a:cubicBezTo>
                    <a:pt x="140" y="83"/>
                    <a:pt x="140" y="83"/>
                    <a:pt x="140" y="83"/>
                  </a:cubicBezTo>
                  <a:cubicBezTo>
                    <a:pt x="140" y="93"/>
                    <a:pt x="131" y="101"/>
                    <a:pt x="121" y="101"/>
                  </a:cubicBezTo>
                  <a:close/>
                  <a:moveTo>
                    <a:pt x="9" y="78"/>
                  </a:moveTo>
                  <a:cubicBezTo>
                    <a:pt x="9" y="83"/>
                    <a:pt x="9" y="83"/>
                    <a:pt x="9" y="83"/>
                  </a:cubicBezTo>
                  <a:cubicBezTo>
                    <a:pt x="9" y="88"/>
                    <a:pt x="13" y="93"/>
                    <a:pt x="18" y="93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7" y="93"/>
                    <a:pt x="131" y="88"/>
                    <a:pt x="131" y="83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13"/>
                    <a:pt x="127" y="9"/>
                    <a:pt x="121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3" y="9"/>
                    <a:pt x="9" y="13"/>
                    <a:pt x="9" y="18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21" y="27"/>
                    <a:pt x="30" y="38"/>
                    <a:pt x="30" y="51"/>
                  </a:cubicBezTo>
                  <a:cubicBezTo>
                    <a:pt x="30" y="64"/>
                    <a:pt x="21" y="75"/>
                    <a:pt x="9" y="7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32" name="Freeform 1328">
              <a:extLst>
                <a:ext uri="{FF2B5EF4-FFF2-40B4-BE49-F238E27FC236}">
                  <a16:creationId xmlns:a16="http://schemas.microsoft.com/office/drawing/2014/main" id="{6BE522A7-CFB0-4EA1-8D47-A796690ED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641" y="1958919"/>
              <a:ext cx="84727" cy="96109"/>
            </a:xfrm>
            <a:custGeom>
              <a:avLst/>
              <a:gdLst>
                <a:gd name="T0" fmla="*/ 5 w 47"/>
                <a:gd name="T1" fmla="*/ 53 h 53"/>
                <a:gd name="T2" fmla="*/ 2 w 47"/>
                <a:gd name="T3" fmla="*/ 51 h 53"/>
                <a:gd name="T4" fmla="*/ 2 w 47"/>
                <a:gd name="T5" fmla="*/ 45 h 53"/>
                <a:gd name="T6" fmla="*/ 39 w 47"/>
                <a:gd name="T7" fmla="*/ 2 h 53"/>
                <a:gd name="T8" fmla="*/ 45 w 47"/>
                <a:gd name="T9" fmla="*/ 2 h 53"/>
                <a:gd name="T10" fmla="*/ 46 w 47"/>
                <a:gd name="T11" fmla="*/ 8 h 53"/>
                <a:gd name="T12" fmla="*/ 8 w 47"/>
                <a:gd name="T13" fmla="*/ 51 h 53"/>
                <a:gd name="T14" fmla="*/ 5 w 47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53">
                  <a:moveTo>
                    <a:pt x="5" y="53"/>
                  </a:moveTo>
                  <a:cubicBezTo>
                    <a:pt x="4" y="53"/>
                    <a:pt x="3" y="52"/>
                    <a:pt x="2" y="51"/>
                  </a:cubicBezTo>
                  <a:cubicBezTo>
                    <a:pt x="0" y="50"/>
                    <a:pt x="0" y="47"/>
                    <a:pt x="2" y="45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1" y="1"/>
                    <a:pt x="44" y="0"/>
                    <a:pt x="45" y="2"/>
                  </a:cubicBezTo>
                  <a:cubicBezTo>
                    <a:pt x="47" y="4"/>
                    <a:pt x="47" y="6"/>
                    <a:pt x="46" y="8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2"/>
                    <a:pt x="6" y="53"/>
                    <a:pt x="5" y="5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33" name="Freeform 1329">
              <a:extLst>
                <a:ext uri="{FF2B5EF4-FFF2-40B4-BE49-F238E27FC236}">
                  <a16:creationId xmlns:a16="http://schemas.microsoft.com/office/drawing/2014/main" id="{074B11CC-3683-4EF8-A689-70D84DE45C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7466" y="1951331"/>
              <a:ext cx="50583" cy="50583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9 h 28"/>
                <a:gd name="T12" fmla="*/ 8 w 28"/>
                <a:gd name="T13" fmla="*/ 14 h 28"/>
                <a:gd name="T14" fmla="*/ 14 w 28"/>
                <a:gd name="T15" fmla="*/ 20 h 28"/>
                <a:gd name="T16" fmla="*/ 19 w 28"/>
                <a:gd name="T17" fmla="*/ 14 h 28"/>
                <a:gd name="T18" fmla="*/ 14 w 28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1" y="0"/>
                    <a:pt x="28" y="7"/>
                    <a:pt x="28" y="14"/>
                  </a:cubicBezTo>
                  <a:cubicBezTo>
                    <a:pt x="28" y="22"/>
                    <a:pt x="21" y="28"/>
                    <a:pt x="14" y="28"/>
                  </a:cubicBezTo>
                  <a:close/>
                  <a:moveTo>
                    <a:pt x="14" y="9"/>
                  </a:moveTo>
                  <a:cubicBezTo>
                    <a:pt x="11" y="9"/>
                    <a:pt x="8" y="11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19" y="17"/>
                    <a:pt x="19" y="14"/>
                  </a:cubicBezTo>
                  <a:cubicBezTo>
                    <a:pt x="19" y="11"/>
                    <a:pt x="17" y="9"/>
                    <a:pt x="14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34" name="Freeform 1330">
              <a:extLst>
                <a:ext uri="{FF2B5EF4-FFF2-40B4-BE49-F238E27FC236}">
                  <a16:creationId xmlns:a16="http://schemas.microsoft.com/office/drawing/2014/main" id="{79F6E5B1-055F-4BCA-97CC-94D7B88A49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166" y="2013296"/>
              <a:ext cx="50583" cy="50583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8 h 28"/>
                <a:gd name="T12" fmla="*/ 8 w 28"/>
                <a:gd name="T13" fmla="*/ 14 h 28"/>
                <a:gd name="T14" fmla="*/ 14 w 28"/>
                <a:gd name="T15" fmla="*/ 19 h 28"/>
                <a:gd name="T16" fmla="*/ 19 w 28"/>
                <a:gd name="T17" fmla="*/ 14 h 28"/>
                <a:gd name="T18" fmla="*/ 14 w 28"/>
                <a:gd name="T19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8" y="6"/>
                    <a:pt x="28" y="14"/>
                  </a:cubicBezTo>
                  <a:cubicBezTo>
                    <a:pt x="28" y="22"/>
                    <a:pt x="21" y="28"/>
                    <a:pt x="14" y="28"/>
                  </a:cubicBezTo>
                  <a:close/>
                  <a:moveTo>
                    <a:pt x="14" y="8"/>
                  </a:moveTo>
                  <a:cubicBezTo>
                    <a:pt x="11" y="8"/>
                    <a:pt x="8" y="11"/>
                    <a:pt x="8" y="14"/>
                  </a:cubicBezTo>
                  <a:cubicBezTo>
                    <a:pt x="8" y="17"/>
                    <a:pt x="11" y="19"/>
                    <a:pt x="14" y="19"/>
                  </a:cubicBezTo>
                  <a:cubicBezTo>
                    <a:pt x="17" y="19"/>
                    <a:pt x="19" y="17"/>
                    <a:pt x="19" y="14"/>
                  </a:cubicBezTo>
                  <a:cubicBezTo>
                    <a:pt x="19" y="11"/>
                    <a:pt x="17" y="8"/>
                    <a:pt x="14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35" name="Freeform 1331">
              <a:extLst>
                <a:ext uri="{FF2B5EF4-FFF2-40B4-BE49-F238E27FC236}">
                  <a16:creationId xmlns:a16="http://schemas.microsoft.com/office/drawing/2014/main" id="{A45A64FF-2C36-48BB-B404-F8AE4680D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9528" y="1966506"/>
              <a:ext cx="16440" cy="34144"/>
            </a:xfrm>
            <a:custGeom>
              <a:avLst/>
              <a:gdLst>
                <a:gd name="T0" fmla="*/ 5 w 9"/>
                <a:gd name="T1" fmla="*/ 19 h 19"/>
                <a:gd name="T2" fmla="*/ 0 w 9"/>
                <a:gd name="T3" fmla="*/ 15 h 19"/>
                <a:gd name="T4" fmla="*/ 0 w 9"/>
                <a:gd name="T5" fmla="*/ 4 h 19"/>
                <a:gd name="T6" fmla="*/ 5 w 9"/>
                <a:gd name="T7" fmla="*/ 0 h 19"/>
                <a:gd name="T8" fmla="*/ 9 w 9"/>
                <a:gd name="T9" fmla="*/ 4 h 19"/>
                <a:gd name="T10" fmla="*/ 9 w 9"/>
                <a:gd name="T11" fmla="*/ 15 h 19"/>
                <a:gd name="T12" fmla="*/ 5 w 9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">
                  <a:moveTo>
                    <a:pt x="5" y="19"/>
                  </a:moveTo>
                  <a:cubicBezTo>
                    <a:pt x="2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7"/>
                    <a:pt x="7" y="19"/>
                    <a:pt x="5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36" name="Freeform 1332">
              <a:extLst>
                <a:ext uri="{FF2B5EF4-FFF2-40B4-BE49-F238E27FC236}">
                  <a16:creationId xmlns:a16="http://schemas.microsoft.com/office/drawing/2014/main" id="{74453B8D-3E08-4DB2-98F1-499AC579A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9528" y="2013296"/>
              <a:ext cx="16440" cy="34144"/>
            </a:xfrm>
            <a:custGeom>
              <a:avLst/>
              <a:gdLst>
                <a:gd name="T0" fmla="*/ 5 w 9"/>
                <a:gd name="T1" fmla="*/ 19 h 19"/>
                <a:gd name="T2" fmla="*/ 0 w 9"/>
                <a:gd name="T3" fmla="*/ 15 h 19"/>
                <a:gd name="T4" fmla="*/ 0 w 9"/>
                <a:gd name="T5" fmla="*/ 4 h 19"/>
                <a:gd name="T6" fmla="*/ 5 w 9"/>
                <a:gd name="T7" fmla="*/ 0 h 19"/>
                <a:gd name="T8" fmla="*/ 9 w 9"/>
                <a:gd name="T9" fmla="*/ 4 h 19"/>
                <a:gd name="T10" fmla="*/ 9 w 9"/>
                <a:gd name="T11" fmla="*/ 15 h 19"/>
                <a:gd name="T12" fmla="*/ 5 w 9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">
                  <a:moveTo>
                    <a:pt x="5" y="19"/>
                  </a:moveTo>
                  <a:cubicBezTo>
                    <a:pt x="2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7"/>
                    <a:pt x="7" y="19"/>
                    <a:pt x="5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37" name="Freeform 1333">
              <a:extLst>
                <a:ext uri="{FF2B5EF4-FFF2-40B4-BE49-F238E27FC236}">
                  <a16:creationId xmlns:a16="http://schemas.microsoft.com/office/drawing/2014/main" id="{52AD6719-E384-4D6A-8187-0E790179A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9528" y="2056292"/>
              <a:ext cx="16440" cy="24027"/>
            </a:xfrm>
            <a:custGeom>
              <a:avLst/>
              <a:gdLst>
                <a:gd name="T0" fmla="*/ 5 w 9"/>
                <a:gd name="T1" fmla="*/ 13 h 13"/>
                <a:gd name="T2" fmla="*/ 0 w 9"/>
                <a:gd name="T3" fmla="*/ 9 h 13"/>
                <a:gd name="T4" fmla="*/ 0 w 9"/>
                <a:gd name="T5" fmla="*/ 5 h 13"/>
                <a:gd name="T6" fmla="*/ 5 w 9"/>
                <a:gd name="T7" fmla="*/ 0 h 13"/>
                <a:gd name="T8" fmla="*/ 9 w 9"/>
                <a:gd name="T9" fmla="*/ 5 h 13"/>
                <a:gd name="T10" fmla="*/ 9 w 9"/>
                <a:gd name="T11" fmla="*/ 9 h 13"/>
                <a:gd name="T12" fmla="*/ 5 w 9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3">
                  <a:moveTo>
                    <a:pt x="5" y="13"/>
                  </a:moveTo>
                  <a:cubicBezTo>
                    <a:pt x="2" y="13"/>
                    <a:pt x="0" y="11"/>
                    <a:pt x="0" y="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1"/>
                    <a:pt x="7" y="13"/>
                    <a:pt x="5" y="1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38" name="Freeform 1334">
              <a:extLst>
                <a:ext uri="{FF2B5EF4-FFF2-40B4-BE49-F238E27FC236}">
                  <a16:creationId xmlns:a16="http://schemas.microsoft.com/office/drawing/2014/main" id="{3F737FC1-5161-47A3-B7A0-1A72C732B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9528" y="1933627"/>
              <a:ext cx="16440" cy="22763"/>
            </a:xfrm>
            <a:custGeom>
              <a:avLst/>
              <a:gdLst>
                <a:gd name="T0" fmla="*/ 5 w 9"/>
                <a:gd name="T1" fmla="*/ 13 h 13"/>
                <a:gd name="T2" fmla="*/ 0 w 9"/>
                <a:gd name="T3" fmla="*/ 9 h 13"/>
                <a:gd name="T4" fmla="*/ 0 w 9"/>
                <a:gd name="T5" fmla="*/ 5 h 13"/>
                <a:gd name="T6" fmla="*/ 5 w 9"/>
                <a:gd name="T7" fmla="*/ 0 h 13"/>
                <a:gd name="T8" fmla="*/ 9 w 9"/>
                <a:gd name="T9" fmla="*/ 5 h 13"/>
                <a:gd name="T10" fmla="*/ 9 w 9"/>
                <a:gd name="T11" fmla="*/ 9 h 13"/>
                <a:gd name="T12" fmla="*/ 5 w 9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3">
                  <a:moveTo>
                    <a:pt x="5" y="13"/>
                  </a:moveTo>
                  <a:cubicBezTo>
                    <a:pt x="2" y="13"/>
                    <a:pt x="0" y="11"/>
                    <a:pt x="0" y="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1"/>
                    <a:pt x="7" y="13"/>
                    <a:pt x="5" y="1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6" name="Agrupar 1645">
            <a:extLst>
              <a:ext uri="{FF2B5EF4-FFF2-40B4-BE49-F238E27FC236}">
                <a16:creationId xmlns:a16="http://schemas.microsoft.com/office/drawing/2014/main" id="{3ADDAE0A-713F-4BDA-94F5-40EF5A381AC1}"/>
              </a:ext>
            </a:extLst>
          </p:cNvPr>
          <p:cNvGrpSpPr/>
          <p:nvPr/>
        </p:nvGrpSpPr>
        <p:grpSpPr>
          <a:xfrm>
            <a:off x="6789270" y="1871662"/>
            <a:ext cx="257975" cy="235213"/>
            <a:chOff x="6789270" y="1871662"/>
            <a:chExt cx="257975" cy="235213"/>
          </a:xfrm>
        </p:grpSpPr>
        <p:sp>
          <p:nvSpPr>
            <p:cNvPr id="1139" name="Freeform 1335">
              <a:extLst>
                <a:ext uri="{FF2B5EF4-FFF2-40B4-BE49-F238E27FC236}">
                  <a16:creationId xmlns:a16="http://schemas.microsoft.com/office/drawing/2014/main" id="{0727C38E-60D9-4BE3-A361-58D5D709E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297" y="1975358"/>
              <a:ext cx="209921" cy="131517"/>
            </a:xfrm>
            <a:custGeom>
              <a:avLst/>
              <a:gdLst>
                <a:gd name="T0" fmla="*/ 10 w 116"/>
                <a:gd name="T1" fmla="*/ 73 h 73"/>
                <a:gd name="T2" fmla="*/ 0 w 116"/>
                <a:gd name="T3" fmla="*/ 64 h 73"/>
                <a:gd name="T4" fmla="*/ 0 w 116"/>
                <a:gd name="T5" fmla="*/ 19 h 73"/>
                <a:gd name="T6" fmla="*/ 4 w 116"/>
                <a:gd name="T7" fmla="*/ 15 h 73"/>
                <a:gd name="T8" fmla="*/ 9 w 116"/>
                <a:gd name="T9" fmla="*/ 19 h 73"/>
                <a:gd name="T10" fmla="*/ 9 w 116"/>
                <a:gd name="T11" fmla="*/ 64 h 73"/>
                <a:gd name="T12" fmla="*/ 10 w 116"/>
                <a:gd name="T13" fmla="*/ 65 h 73"/>
                <a:gd name="T14" fmla="*/ 106 w 116"/>
                <a:gd name="T15" fmla="*/ 64 h 73"/>
                <a:gd name="T16" fmla="*/ 107 w 116"/>
                <a:gd name="T17" fmla="*/ 63 h 73"/>
                <a:gd name="T18" fmla="*/ 107 w 116"/>
                <a:gd name="T19" fmla="*/ 5 h 73"/>
                <a:gd name="T20" fmla="*/ 111 w 116"/>
                <a:gd name="T21" fmla="*/ 0 h 73"/>
                <a:gd name="T22" fmla="*/ 116 w 116"/>
                <a:gd name="T23" fmla="*/ 5 h 73"/>
                <a:gd name="T24" fmla="*/ 116 w 116"/>
                <a:gd name="T25" fmla="*/ 63 h 73"/>
                <a:gd name="T26" fmla="*/ 106 w 116"/>
                <a:gd name="T27" fmla="*/ 72 h 73"/>
                <a:gd name="T28" fmla="*/ 10 w 116"/>
                <a:gd name="T2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" h="73">
                  <a:moveTo>
                    <a:pt x="10" y="73"/>
                  </a:moveTo>
                  <a:cubicBezTo>
                    <a:pt x="4" y="73"/>
                    <a:pt x="0" y="69"/>
                    <a:pt x="0" y="6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6"/>
                    <a:pt x="2" y="15"/>
                    <a:pt x="4" y="15"/>
                  </a:cubicBezTo>
                  <a:cubicBezTo>
                    <a:pt x="7" y="15"/>
                    <a:pt x="9" y="16"/>
                    <a:pt x="9" y="19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4"/>
                    <a:pt x="9" y="65"/>
                    <a:pt x="10" y="65"/>
                  </a:cubicBezTo>
                  <a:cubicBezTo>
                    <a:pt x="106" y="64"/>
                    <a:pt x="106" y="64"/>
                    <a:pt x="106" y="64"/>
                  </a:cubicBezTo>
                  <a:cubicBezTo>
                    <a:pt x="107" y="64"/>
                    <a:pt x="107" y="63"/>
                    <a:pt x="107" y="63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2"/>
                    <a:pt x="109" y="0"/>
                    <a:pt x="111" y="0"/>
                  </a:cubicBezTo>
                  <a:cubicBezTo>
                    <a:pt x="114" y="0"/>
                    <a:pt x="116" y="2"/>
                    <a:pt x="116" y="5"/>
                  </a:cubicBezTo>
                  <a:cubicBezTo>
                    <a:pt x="116" y="63"/>
                    <a:pt x="116" y="63"/>
                    <a:pt x="116" y="63"/>
                  </a:cubicBezTo>
                  <a:cubicBezTo>
                    <a:pt x="116" y="68"/>
                    <a:pt x="111" y="72"/>
                    <a:pt x="106" y="72"/>
                  </a:cubicBezTo>
                  <a:lnTo>
                    <a:pt x="10" y="7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40" name="Freeform 1336">
              <a:extLst>
                <a:ext uri="{FF2B5EF4-FFF2-40B4-BE49-F238E27FC236}">
                  <a16:creationId xmlns:a16="http://schemas.microsoft.com/office/drawing/2014/main" id="{620C4B5E-0D0B-4A68-8386-CECF732D65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9270" y="1920981"/>
              <a:ext cx="257975" cy="68288"/>
            </a:xfrm>
            <a:custGeom>
              <a:avLst/>
              <a:gdLst>
                <a:gd name="T0" fmla="*/ 126 w 142"/>
                <a:gd name="T1" fmla="*/ 38 h 38"/>
                <a:gd name="T2" fmla="*/ 16 w 142"/>
                <a:gd name="T3" fmla="*/ 38 h 38"/>
                <a:gd name="T4" fmla="*/ 0 w 142"/>
                <a:gd name="T5" fmla="*/ 22 h 38"/>
                <a:gd name="T6" fmla="*/ 0 w 142"/>
                <a:gd name="T7" fmla="*/ 16 h 38"/>
                <a:gd name="T8" fmla="*/ 16 w 142"/>
                <a:gd name="T9" fmla="*/ 0 h 38"/>
                <a:gd name="T10" fmla="*/ 126 w 142"/>
                <a:gd name="T11" fmla="*/ 0 h 38"/>
                <a:gd name="T12" fmla="*/ 142 w 142"/>
                <a:gd name="T13" fmla="*/ 16 h 38"/>
                <a:gd name="T14" fmla="*/ 142 w 142"/>
                <a:gd name="T15" fmla="*/ 22 h 38"/>
                <a:gd name="T16" fmla="*/ 126 w 142"/>
                <a:gd name="T17" fmla="*/ 38 h 38"/>
                <a:gd name="T18" fmla="*/ 16 w 142"/>
                <a:gd name="T19" fmla="*/ 9 h 38"/>
                <a:gd name="T20" fmla="*/ 9 w 142"/>
                <a:gd name="T21" fmla="*/ 16 h 38"/>
                <a:gd name="T22" fmla="*/ 9 w 142"/>
                <a:gd name="T23" fmla="*/ 22 h 38"/>
                <a:gd name="T24" fmla="*/ 16 w 142"/>
                <a:gd name="T25" fmla="*/ 30 h 38"/>
                <a:gd name="T26" fmla="*/ 126 w 142"/>
                <a:gd name="T27" fmla="*/ 30 h 38"/>
                <a:gd name="T28" fmla="*/ 134 w 142"/>
                <a:gd name="T29" fmla="*/ 22 h 38"/>
                <a:gd name="T30" fmla="*/ 134 w 142"/>
                <a:gd name="T31" fmla="*/ 16 h 38"/>
                <a:gd name="T32" fmla="*/ 126 w 142"/>
                <a:gd name="T33" fmla="*/ 9 h 38"/>
                <a:gd name="T34" fmla="*/ 16 w 142"/>
                <a:gd name="T35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2" h="38">
                  <a:moveTo>
                    <a:pt x="126" y="38"/>
                  </a:moveTo>
                  <a:cubicBezTo>
                    <a:pt x="16" y="38"/>
                    <a:pt x="16" y="38"/>
                    <a:pt x="16" y="38"/>
                  </a:cubicBezTo>
                  <a:cubicBezTo>
                    <a:pt x="7" y="38"/>
                    <a:pt x="0" y="31"/>
                    <a:pt x="0" y="2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5" y="0"/>
                    <a:pt x="142" y="7"/>
                    <a:pt x="142" y="16"/>
                  </a:cubicBezTo>
                  <a:cubicBezTo>
                    <a:pt x="142" y="22"/>
                    <a:pt x="142" y="22"/>
                    <a:pt x="142" y="22"/>
                  </a:cubicBezTo>
                  <a:cubicBezTo>
                    <a:pt x="142" y="31"/>
                    <a:pt x="135" y="38"/>
                    <a:pt x="126" y="38"/>
                  </a:cubicBezTo>
                  <a:close/>
                  <a:moveTo>
                    <a:pt x="16" y="9"/>
                  </a:moveTo>
                  <a:cubicBezTo>
                    <a:pt x="12" y="9"/>
                    <a:pt x="9" y="12"/>
                    <a:pt x="9" y="1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6"/>
                    <a:pt x="12" y="30"/>
                    <a:pt x="16" y="30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30" y="30"/>
                    <a:pt x="134" y="26"/>
                    <a:pt x="134" y="22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4" y="12"/>
                    <a:pt x="130" y="9"/>
                    <a:pt x="126" y="9"/>
                  </a:cubicBezTo>
                  <a:lnTo>
                    <a:pt x="16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41" name="Freeform 1337">
              <a:extLst>
                <a:ext uri="{FF2B5EF4-FFF2-40B4-BE49-F238E27FC236}">
                  <a16:creationId xmlns:a16="http://schemas.microsoft.com/office/drawing/2014/main" id="{3F9AB8F3-239E-4A66-8095-8C3E31B03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6876" y="2004444"/>
              <a:ext cx="15175" cy="101167"/>
            </a:xfrm>
            <a:custGeom>
              <a:avLst/>
              <a:gdLst>
                <a:gd name="T0" fmla="*/ 4 w 8"/>
                <a:gd name="T1" fmla="*/ 56 h 56"/>
                <a:gd name="T2" fmla="*/ 0 w 8"/>
                <a:gd name="T3" fmla="*/ 51 h 56"/>
                <a:gd name="T4" fmla="*/ 0 w 8"/>
                <a:gd name="T5" fmla="*/ 4 h 56"/>
                <a:gd name="T6" fmla="*/ 4 w 8"/>
                <a:gd name="T7" fmla="*/ 0 h 56"/>
                <a:gd name="T8" fmla="*/ 8 w 8"/>
                <a:gd name="T9" fmla="*/ 4 h 56"/>
                <a:gd name="T10" fmla="*/ 8 w 8"/>
                <a:gd name="T11" fmla="*/ 51 h 56"/>
                <a:gd name="T12" fmla="*/ 4 w 8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6">
                  <a:moveTo>
                    <a:pt x="4" y="56"/>
                  </a:moveTo>
                  <a:cubicBezTo>
                    <a:pt x="2" y="56"/>
                    <a:pt x="0" y="54"/>
                    <a:pt x="0" y="5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4"/>
                    <a:pt x="7" y="56"/>
                    <a:pt x="4" y="5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42" name="Freeform 1338">
              <a:extLst>
                <a:ext uri="{FF2B5EF4-FFF2-40B4-BE49-F238E27FC236}">
                  <a16:creationId xmlns:a16="http://schemas.microsoft.com/office/drawing/2014/main" id="{00907E1F-DF10-4DFD-9E8C-8C7882B28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9405" y="1920981"/>
              <a:ext cx="13910" cy="68288"/>
            </a:xfrm>
            <a:custGeom>
              <a:avLst/>
              <a:gdLst>
                <a:gd name="T0" fmla="*/ 4 w 8"/>
                <a:gd name="T1" fmla="*/ 38 h 38"/>
                <a:gd name="T2" fmla="*/ 0 w 8"/>
                <a:gd name="T3" fmla="*/ 33 h 38"/>
                <a:gd name="T4" fmla="*/ 0 w 8"/>
                <a:gd name="T5" fmla="*/ 4 h 38"/>
                <a:gd name="T6" fmla="*/ 4 w 8"/>
                <a:gd name="T7" fmla="*/ 0 h 38"/>
                <a:gd name="T8" fmla="*/ 8 w 8"/>
                <a:gd name="T9" fmla="*/ 4 h 38"/>
                <a:gd name="T10" fmla="*/ 8 w 8"/>
                <a:gd name="T11" fmla="*/ 33 h 38"/>
                <a:gd name="T12" fmla="*/ 4 w 8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8">
                  <a:moveTo>
                    <a:pt x="4" y="38"/>
                  </a:moveTo>
                  <a:cubicBezTo>
                    <a:pt x="2" y="38"/>
                    <a:pt x="0" y="36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6"/>
                    <a:pt x="6" y="38"/>
                    <a:pt x="4" y="3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43" name="Freeform 1339">
              <a:extLst>
                <a:ext uri="{FF2B5EF4-FFF2-40B4-BE49-F238E27FC236}">
                  <a16:creationId xmlns:a16="http://schemas.microsoft.com/office/drawing/2014/main" id="{A93520F4-4EA4-405C-A500-D6CA5D215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8822" y="1871662"/>
              <a:ext cx="56906" cy="65758"/>
            </a:xfrm>
            <a:custGeom>
              <a:avLst/>
              <a:gdLst>
                <a:gd name="T0" fmla="*/ 13 w 32"/>
                <a:gd name="T1" fmla="*/ 36 h 36"/>
                <a:gd name="T2" fmla="*/ 12 w 32"/>
                <a:gd name="T3" fmla="*/ 36 h 36"/>
                <a:gd name="T4" fmla="*/ 0 w 32"/>
                <a:gd name="T5" fmla="*/ 17 h 36"/>
                <a:gd name="T6" fmla="*/ 5 w 32"/>
                <a:gd name="T7" fmla="*/ 5 h 36"/>
                <a:gd name="T8" fmla="*/ 18 w 32"/>
                <a:gd name="T9" fmla="*/ 1 h 36"/>
                <a:gd name="T10" fmla="*/ 32 w 32"/>
                <a:gd name="T11" fmla="*/ 15 h 36"/>
                <a:gd name="T12" fmla="*/ 32 w 32"/>
                <a:gd name="T13" fmla="*/ 31 h 36"/>
                <a:gd name="T14" fmla="*/ 28 w 32"/>
                <a:gd name="T15" fmla="*/ 36 h 36"/>
                <a:gd name="T16" fmla="*/ 24 w 32"/>
                <a:gd name="T17" fmla="*/ 31 h 36"/>
                <a:gd name="T18" fmla="*/ 24 w 32"/>
                <a:gd name="T19" fmla="*/ 15 h 36"/>
                <a:gd name="T20" fmla="*/ 18 w 32"/>
                <a:gd name="T21" fmla="*/ 9 h 36"/>
                <a:gd name="T22" fmla="*/ 11 w 32"/>
                <a:gd name="T23" fmla="*/ 11 h 36"/>
                <a:gd name="T24" fmla="*/ 9 w 32"/>
                <a:gd name="T25" fmla="*/ 17 h 36"/>
                <a:gd name="T26" fmla="*/ 14 w 32"/>
                <a:gd name="T27" fmla="*/ 27 h 36"/>
                <a:gd name="T28" fmla="*/ 17 w 32"/>
                <a:gd name="T29" fmla="*/ 32 h 36"/>
                <a:gd name="T30" fmla="*/ 13 w 32"/>
                <a:gd name="T3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" h="36">
                  <a:moveTo>
                    <a:pt x="13" y="36"/>
                  </a:moveTo>
                  <a:cubicBezTo>
                    <a:pt x="13" y="36"/>
                    <a:pt x="13" y="36"/>
                    <a:pt x="12" y="36"/>
                  </a:cubicBezTo>
                  <a:cubicBezTo>
                    <a:pt x="3" y="34"/>
                    <a:pt x="0" y="25"/>
                    <a:pt x="0" y="17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3"/>
                    <a:pt x="12" y="0"/>
                    <a:pt x="18" y="1"/>
                  </a:cubicBezTo>
                  <a:cubicBezTo>
                    <a:pt x="28" y="1"/>
                    <a:pt x="32" y="10"/>
                    <a:pt x="32" y="15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4"/>
                    <a:pt x="30" y="36"/>
                    <a:pt x="28" y="36"/>
                  </a:cubicBezTo>
                  <a:cubicBezTo>
                    <a:pt x="25" y="36"/>
                    <a:pt x="24" y="34"/>
                    <a:pt x="24" y="31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3" y="14"/>
                    <a:pt x="23" y="10"/>
                    <a:pt x="18" y="9"/>
                  </a:cubicBezTo>
                  <a:cubicBezTo>
                    <a:pt x="15" y="9"/>
                    <a:pt x="13" y="10"/>
                    <a:pt x="11" y="11"/>
                  </a:cubicBezTo>
                  <a:cubicBezTo>
                    <a:pt x="9" y="13"/>
                    <a:pt x="9" y="16"/>
                    <a:pt x="9" y="17"/>
                  </a:cubicBezTo>
                  <a:cubicBezTo>
                    <a:pt x="8" y="21"/>
                    <a:pt x="10" y="26"/>
                    <a:pt x="14" y="27"/>
                  </a:cubicBezTo>
                  <a:cubicBezTo>
                    <a:pt x="16" y="28"/>
                    <a:pt x="18" y="30"/>
                    <a:pt x="17" y="32"/>
                  </a:cubicBezTo>
                  <a:cubicBezTo>
                    <a:pt x="17" y="34"/>
                    <a:pt x="15" y="36"/>
                    <a:pt x="13" y="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44" name="Freeform 1340">
              <a:extLst>
                <a:ext uri="{FF2B5EF4-FFF2-40B4-BE49-F238E27FC236}">
                  <a16:creationId xmlns:a16="http://schemas.microsoft.com/office/drawing/2014/main" id="{97F39702-77A8-42D2-95AB-9CE3E64BB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9522" y="1871662"/>
              <a:ext cx="58171" cy="65758"/>
            </a:xfrm>
            <a:custGeom>
              <a:avLst/>
              <a:gdLst>
                <a:gd name="T0" fmla="*/ 19 w 32"/>
                <a:gd name="T1" fmla="*/ 36 h 36"/>
                <a:gd name="T2" fmla="*/ 15 w 32"/>
                <a:gd name="T3" fmla="*/ 32 h 36"/>
                <a:gd name="T4" fmla="*/ 18 w 32"/>
                <a:gd name="T5" fmla="*/ 27 h 36"/>
                <a:gd name="T6" fmla="*/ 23 w 32"/>
                <a:gd name="T7" fmla="*/ 17 h 36"/>
                <a:gd name="T8" fmla="*/ 21 w 32"/>
                <a:gd name="T9" fmla="*/ 11 h 36"/>
                <a:gd name="T10" fmla="*/ 14 w 32"/>
                <a:gd name="T11" fmla="*/ 9 h 36"/>
                <a:gd name="T12" fmla="*/ 9 w 32"/>
                <a:gd name="T13" fmla="*/ 15 h 36"/>
                <a:gd name="T14" fmla="*/ 9 w 32"/>
                <a:gd name="T15" fmla="*/ 31 h 36"/>
                <a:gd name="T16" fmla="*/ 4 w 32"/>
                <a:gd name="T17" fmla="*/ 36 h 36"/>
                <a:gd name="T18" fmla="*/ 0 w 32"/>
                <a:gd name="T19" fmla="*/ 31 h 36"/>
                <a:gd name="T20" fmla="*/ 0 w 32"/>
                <a:gd name="T21" fmla="*/ 15 h 36"/>
                <a:gd name="T22" fmla="*/ 14 w 32"/>
                <a:gd name="T23" fmla="*/ 1 h 36"/>
                <a:gd name="T24" fmla="*/ 27 w 32"/>
                <a:gd name="T25" fmla="*/ 5 h 36"/>
                <a:gd name="T26" fmla="*/ 32 w 32"/>
                <a:gd name="T27" fmla="*/ 17 h 36"/>
                <a:gd name="T28" fmla="*/ 20 w 32"/>
                <a:gd name="T29" fmla="*/ 36 h 36"/>
                <a:gd name="T30" fmla="*/ 19 w 32"/>
                <a:gd name="T3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" h="36">
                  <a:moveTo>
                    <a:pt x="19" y="36"/>
                  </a:moveTo>
                  <a:cubicBezTo>
                    <a:pt x="17" y="36"/>
                    <a:pt x="15" y="34"/>
                    <a:pt x="15" y="32"/>
                  </a:cubicBezTo>
                  <a:cubicBezTo>
                    <a:pt x="14" y="30"/>
                    <a:pt x="16" y="28"/>
                    <a:pt x="18" y="27"/>
                  </a:cubicBezTo>
                  <a:cubicBezTo>
                    <a:pt x="22" y="26"/>
                    <a:pt x="24" y="21"/>
                    <a:pt x="23" y="17"/>
                  </a:cubicBezTo>
                  <a:cubicBezTo>
                    <a:pt x="23" y="16"/>
                    <a:pt x="23" y="13"/>
                    <a:pt x="21" y="11"/>
                  </a:cubicBezTo>
                  <a:cubicBezTo>
                    <a:pt x="19" y="10"/>
                    <a:pt x="17" y="9"/>
                    <a:pt x="14" y="9"/>
                  </a:cubicBezTo>
                  <a:cubicBezTo>
                    <a:pt x="9" y="10"/>
                    <a:pt x="9" y="14"/>
                    <a:pt x="9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4"/>
                    <a:pt x="7" y="36"/>
                    <a:pt x="4" y="36"/>
                  </a:cubicBezTo>
                  <a:cubicBezTo>
                    <a:pt x="2" y="36"/>
                    <a:pt x="0" y="34"/>
                    <a:pt x="0" y="3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0"/>
                    <a:pt x="4" y="1"/>
                    <a:pt x="14" y="1"/>
                  </a:cubicBezTo>
                  <a:cubicBezTo>
                    <a:pt x="20" y="0"/>
                    <a:pt x="24" y="3"/>
                    <a:pt x="27" y="5"/>
                  </a:cubicBezTo>
                  <a:cubicBezTo>
                    <a:pt x="30" y="8"/>
                    <a:pt x="32" y="12"/>
                    <a:pt x="32" y="17"/>
                  </a:cubicBezTo>
                  <a:cubicBezTo>
                    <a:pt x="32" y="25"/>
                    <a:pt x="29" y="34"/>
                    <a:pt x="20" y="36"/>
                  </a:cubicBezTo>
                  <a:cubicBezTo>
                    <a:pt x="19" y="36"/>
                    <a:pt x="19" y="36"/>
                    <a:pt x="19" y="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2" name="Agrupar 1641">
            <a:extLst>
              <a:ext uri="{FF2B5EF4-FFF2-40B4-BE49-F238E27FC236}">
                <a16:creationId xmlns:a16="http://schemas.microsoft.com/office/drawing/2014/main" id="{8219D72E-EDA3-40B2-9D31-0DF3FEB3EB06}"/>
              </a:ext>
            </a:extLst>
          </p:cNvPr>
          <p:cNvGrpSpPr/>
          <p:nvPr/>
        </p:nvGrpSpPr>
        <p:grpSpPr>
          <a:xfrm>
            <a:off x="5188305" y="1885573"/>
            <a:ext cx="227625" cy="223832"/>
            <a:chOff x="5188305" y="1885573"/>
            <a:chExt cx="227625" cy="223832"/>
          </a:xfrm>
        </p:grpSpPr>
        <p:sp>
          <p:nvSpPr>
            <p:cNvPr id="1145" name="Freeform 1341">
              <a:extLst>
                <a:ext uri="{FF2B5EF4-FFF2-40B4-BE49-F238E27FC236}">
                  <a16:creationId xmlns:a16="http://schemas.microsoft.com/office/drawing/2014/main" id="{B8E4AD34-04B7-4317-9EAD-039D2A7E99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8305" y="1885573"/>
              <a:ext cx="227625" cy="223832"/>
            </a:xfrm>
            <a:custGeom>
              <a:avLst/>
              <a:gdLst>
                <a:gd name="T0" fmla="*/ 108 w 126"/>
                <a:gd name="T1" fmla="*/ 123 h 123"/>
                <a:gd name="T2" fmla="*/ 18 w 126"/>
                <a:gd name="T3" fmla="*/ 123 h 123"/>
                <a:gd name="T4" fmla="*/ 0 w 126"/>
                <a:gd name="T5" fmla="*/ 105 h 123"/>
                <a:gd name="T6" fmla="*/ 0 w 126"/>
                <a:gd name="T7" fmla="*/ 18 h 123"/>
                <a:gd name="T8" fmla="*/ 18 w 126"/>
                <a:gd name="T9" fmla="*/ 0 h 123"/>
                <a:gd name="T10" fmla="*/ 97 w 126"/>
                <a:gd name="T11" fmla="*/ 0 h 123"/>
                <a:gd name="T12" fmla="*/ 114 w 126"/>
                <a:gd name="T13" fmla="*/ 17 h 123"/>
                <a:gd name="T14" fmla="*/ 114 w 126"/>
                <a:gd name="T15" fmla="*/ 21 h 123"/>
                <a:gd name="T16" fmla="*/ 110 w 126"/>
                <a:gd name="T17" fmla="*/ 25 h 123"/>
                <a:gd name="T18" fmla="*/ 105 w 126"/>
                <a:gd name="T19" fmla="*/ 21 h 123"/>
                <a:gd name="T20" fmla="*/ 105 w 126"/>
                <a:gd name="T21" fmla="*/ 17 h 123"/>
                <a:gd name="T22" fmla="*/ 97 w 126"/>
                <a:gd name="T23" fmla="*/ 9 h 123"/>
                <a:gd name="T24" fmla="*/ 18 w 126"/>
                <a:gd name="T25" fmla="*/ 9 h 123"/>
                <a:gd name="T26" fmla="*/ 8 w 126"/>
                <a:gd name="T27" fmla="*/ 18 h 123"/>
                <a:gd name="T28" fmla="*/ 8 w 126"/>
                <a:gd name="T29" fmla="*/ 22 h 123"/>
                <a:gd name="T30" fmla="*/ 18 w 126"/>
                <a:gd name="T31" fmla="*/ 32 h 123"/>
                <a:gd name="T32" fmla="*/ 108 w 126"/>
                <a:gd name="T33" fmla="*/ 32 h 123"/>
                <a:gd name="T34" fmla="*/ 126 w 126"/>
                <a:gd name="T35" fmla="*/ 50 h 123"/>
                <a:gd name="T36" fmla="*/ 126 w 126"/>
                <a:gd name="T37" fmla="*/ 105 h 123"/>
                <a:gd name="T38" fmla="*/ 108 w 126"/>
                <a:gd name="T39" fmla="*/ 123 h 123"/>
                <a:gd name="T40" fmla="*/ 8 w 126"/>
                <a:gd name="T41" fmla="*/ 37 h 123"/>
                <a:gd name="T42" fmla="*/ 8 w 126"/>
                <a:gd name="T43" fmla="*/ 105 h 123"/>
                <a:gd name="T44" fmla="*/ 18 w 126"/>
                <a:gd name="T45" fmla="*/ 114 h 123"/>
                <a:gd name="T46" fmla="*/ 108 w 126"/>
                <a:gd name="T47" fmla="*/ 114 h 123"/>
                <a:gd name="T48" fmla="*/ 117 w 126"/>
                <a:gd name="T49" fmla="*/ 105 h 123"/>
                <a:gd name="T50" fmla="*/ 117 w 126"/>
                <a:gd name="T51" fmla="*/ 50 h 123"/>
                <a:gd name="T52" fmla="*/ 108 w 126"/>
                <a:gd name="T53" fmla="*/ 40 h 123"/>
                <a:gd name="T54" fmla="*/ 18 w 126"/>
                <a:gd name="T55" fmla="*/ 40 h 123"/>
                <a:gd name="T56" fmla="*/ 8 w 126"/>
                <a:gd name="T57" fmla="*/ 3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6" h="123">
                  <a:moveTo>
                    <a:pt x="108" y="123"/>
                  </a:moveTo>
                  <a:cubicBezTo>
                    <a:pt x="18" y="123"/>
                    <a:pt x="18" y="123"/>
                    <a:pt x="18" y="123"/>
                  </a:cubicBezTo>
                  <a:cubicBezTo>
                    <a:pt x="8" y="123"/>
                    <a:pt x="0" y="115"/>
                    <a:pt x="0" y="10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6" y="0"/>
                    <a:pt x="114" y="8"/>
                    <a:pt x="114" y="17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23"/>
                    <a:pt x="112" y="25"/>
                    <a:pt x="110" y="25"/>
                  </a:cubicBezTo>
                  <a:cubicBezTo>
                    <a:pt x="107" y="25"/>
                    <a:pt x="105" y="23"/>
                    <a:pt x="105" y="21"/>
                  </a:cubicBezTo>
                  <a:cubicBezTo>
                    <a:pt x="105" y="17"/>
                    <a:pt x="105" y="17"/>
                    <a:pt x="105" y="17"/>
                  </a:cubicBezTo>
                  <a:cubicBezTo>
                    <a:pt x="105" y="12"/>
                    <a:pt x="102" y="9"/>
                    <a:pt x="9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3" y="9"/>
                    <a:pt x="8" y="13"/>
                    <a:pt x="8" y="18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13" y="32"/>
                    <a:pt x="18" y="32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18" y="32"/>
                    <a:pt x="126" y="40"/>
                    <a:pt x="126" y="50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6" y="115"/>
                    <a:pt x="118" y="123"/>
                    <a:pt x="108" y="123"/>
                  </a:cubicBezTo>
                  <a:close/>
                  <a:moveTo>
                    <a:pt x="8" y="37"/>
                  </a:moveTo>
                  <a:cubicBezTo>
                    <a:pt x="8" y="105"/>
                    <a:pt x="8" y="105"/>
                    <a:pt x="8" y="105"/>
                  </a:cubicBezTo>
                  <a:cubicBezTo>
                    <a:pt x="8" y="110"/>
                    <a:pt x="13" y="114"/>
                    <a:pt x="18" y="114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13" y="114"/>
                    <a:pt x="117" y="110"/>
                    <a:pt x="117" y="105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7" y="45"/>
                    <a:pt x="113" y="40"/>
                    <a:pt x="10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5" y="40"/>
                    <a:pt x="11" y="39"/>
                    <a:pt x="8" y="3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46" name="Freeform 1342">
              <a:extLst>
                <a:ext uri="{FF2B5EF4-FFF2-40B4-BE49-F238E27FC236}">
                  <a16:creationId xmlns:a16="http://schemas.microsoft.com/office/drawing/2014/main" id="{830323D5-BC6A-40DE-A078-C755A46DA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9024" y="1998121"/>
              <a:ext cx="56906" cy="56906"/>
            </a:xfrm>
            <a:custGeom>
              <a:avLst/>
              <a:gdLst>
                <a:gd name="T0" fmla="*/ 28 w 32"/>
                <a:gd name="T1" fmla="*/ 31 h 31"/>
                <a:gd name="T2" fmla="*/ 10 w 32"/>
                <a:gd name="T3" fmla="*/ 31 h 31"/>
                <a:gd name="T4" fmla="*/ 0 w 32"/>
                <a:gd name="T5" fmla="*/ 22 h 31"/>
                <a:gd name="T6" fmla="*/ 0 w 32"/>
                <a:gd name="T7" fmla="*/ 10 h 31"/>
                <a:gd name="T8" fmla="*/ 10 w 32"/>
                <a:gd name="T9" fmla="*/ 0 h 31"/>
                <a:gd name="T10" fmla="*/ 28 w 32"/>
                <a:gd name="T11" fmla="*/ 0 h 31"/>
                <a:gd name="T12" fmla="*/ 32 w 32"/>
                <a:gd name="T13" fmla="*/ 5 h 31"/>
                <a:gd name="T14" fmla="*/ 28 w 32"/>
                <a:gd name="T15" fmla="*/ 9 h 31"/>
                <a:gd name="T16" fmla="*/ 10 w 32"/>
                <a:gd name="T17" fmla="*/ 9 h 31"/>
                <a:gd name="T18" fmla="*/ 9 w 32"/>
                <a:gd name="T19" fmla="*/ 10 h 31"/>
                <a:gd name="T20" fmla="*/ 9 w 32"/>
                <a:gd name="T21" fmla="*/ 22 h 31"/>
                <a:gd name="T22" fmla="*/ 10 w 32"/>
                <a:gd name="T23" fmla="*/ 23 h 31"/>
                <a:gd name="T24" fmla="*/ 28 w 32"/>
                <a:gd name="T25" fmla="*/ 23 h 31"/>
                <a:gd name="T26" fmla="*/ 32 w 32"/>
                <a:gd name="T27" fmla="*/ 27 h 31"/>
                <a:gd name="T28" fmla="*/ 28 w 32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31">
                  <a:moveTo>
                    <a:pt x="28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5" y="31"/>
                    <a:pt x="0" y="27"/>
                    <a:pt x="0" y="2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5"/>
                  </a:cubicBezTo>
                  <a:cubicBezTo>
                    <a:pt x="32" y="7"/>
                    <a:pt x="30" y="9"/>
                    <a:pt x="28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10"/>
                    <a:pt x="9" y="10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3"/>
                    <a:pt x="10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30" y="23"/>
                    <a:pt x="32" y="25"/>
                    <a:pt x="32" y="27"/>
                  </a:cubicBezTo>
                  <a:cubicBezTo>
                    <a:pt x="32" y="30"/>
                    <a:pt x="30" y="31"/>
                    <a:pt x="28" y="3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29" name="Agrupar 1628">
            <a:extLst>
              <a:ext uri="{FF2B5EF4-FFF2-40B4-BE49-F238E27FC236}">
                <a16:creationId xmlns:a16="http://schemas.microsoft.com/office/drawing/2014/main" id="{2EF3BE09-07C5-4930-907A-17647297B029}"/>
              </a:ext>
            </a:extLst>
          </p:cNvPr>
          <p:cNvGrpSpPr/>
          <p:nvPr/>
        </p:nvGrpSpPr>
        <p:grpSpPr>
          <a:xfrm>
            <a:off x="5958437" y="743652"/>
            <a:ext cx="263033" cy="230155"/>
            <a:chOff x="5958437" y="743652"/>
            <a:chExt cx="263033" cy="230155"/>
          </a:xfrm>
        </p:grpSpPr>
        <p:sp>
          <p:nvSpPr>
            <p:cNvPr id="1147" name="Freeform 1343">
              <a:extLst>
                <a:ext uri="{FF2B5EF4-FFF2-40B4-BE49-F238E27FC236}">
                  <a16:creationId xmlns:a16="http://schemas.microsoft.com/office/drawing/2014/main" id="{081CC48A-EE58-4F17-82B5-4C0F3C6E7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7406" y="957367"/>
              <a:ext cx="159338" cy="16440"/>
            </a:xfrm>
            <a:custGeom>
              <a:avLst/>
              <a:gdLst>
                <a:gd name="T0" fmla="*/ 83 w 88"/>
                <a:gd name="T1" fmla="*/ 9 h 9"/>
                <a:gd name="T2" fmla="*/ 4 w 88"/>
                <a:gd name="T3" fmla="*/ 9 h 9"/>
                <a:gd name="T4" fmla="*/ 0 w 88"/>
                <a:gd name="T5" fmla="*/ 4 h 9"/>
                <a:gd name="T6" fmla="*/ 4 w 88"/>
                <a:gd name="T7" fmla="*/ 0 h 9"/>
                <a:gd name="T8" fmla="*/ 83 w 88"/>
                <a:gd name="T9" fmla="*/ 0 h 9"/>
                <a:gd name="T10" fmla="*/ 88 w 88"/>
                <a:gd name="T11" fmla="*/ 4 h 9"/>
                <a:gd name="T12" fmla="*/ 83 w 88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9">
                  <a:moveTo>
                    <a:pt x="8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0"/>
                    <a:pt x="88" y="2"/>
                    <a:pt x="88" y="4"/>
                  </a:cubicBezTo>
                  <a:cubicBezTo>
                    <a:pt x="88" y="7"/>
                    <a:pt x="86" y="9"/>
                    <a:pt x="83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48" name="Freeform 1344">
              <a:extLst>
                <a:ext uri="{FF2B5EF4-FFF2-40B4-BE49-F238E27FC236}">
                  <a16:creationId xmlns:a16="http://schemas.microsoft.com/office/drawing/2014/main" id="{1521744E-A0A8-421D-B51B-934C9B456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900" y="918165"/>
              <a:ext cx="159338" cy="16440"/>
            </a:xfrm>
            <a:custGeom>
              <a:avLst/>
              <a:gdLst>
                <a:gd name="T0" fmla="*/ 84 w 88"/>
                <a:gd name="T1" fmla="*/ 9 h 9"/>
                <a:gd name="T2" fmla="*/ 5 w 88"/>
                <a:gd name="T3" fmla="*/ 9 h 9"/>
                <a:gd name="T4" fmla="*/ 0 w 88"/>
                <a:gd name="T5" fmla="*/ 4 h 9"/>
                <a:gd name="T6" fmla="*/ 5 w 88"/>
                <a:gd name="T7" fmla="*/ 0 h 9"/>
                <a:gd name="T8" fmla="*/ 84 w 88"/>
                <a:gd name="T9" fmla="*/ 0 h 9"/>
                <a:gd name="T10" fmla="*/ 88 w 88"/>
                <a:gd name="T11" fmla="*/ 4 h 9"/>
                <a:gd name="T12" fmla="*/ 84 w 88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9">
                  <a:moveTo>
                    <a:pt x="8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0"/>
                    <a:pt x="88" y="2"/>
                    <a:pt x="88" y="4"/>
                  </a:cubicBezTo>
                  <a:cubicBezTo>
                    <a:pt x="88" y="7"/>
                    <a:pt x="86" y="9"/>
                    <a:pt x="84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49" name="Freeform 1345">
              <a:extLst>
                <a:ext uri="{FF2B5EF4-FFF2-40B4-BE49-F238E27FC236}">
                  <a16:creationId xmlns:a16="http://schemas.microsoft.com/office/drawing/2014/main" id="{C89353D2-503C-48F7-9C74-5A3865A52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8437" y="866317"/>
              <a:ext cx="34144" cy="16440"/>
            </a:xfrm>
            <a:custGeom>
              <a:avLst/>
              <a:gdLst>
                <a:gd name="T0" fmla="*/ 15 w 19"/>
                <a:gd name="T1" fmla="*/ 9 h 9"/>
                <a:gd name="T2" fmla="*/ 4 w 19"/>
                <a:gd name="T3" fmla="*/ 9 h 9"/>
                <a:gd name="T4" fmla="*/ 0 w 19"/>
                <a:gd name="T5" fmla="*/ 4 h 9"/>
                <a:gd name="T6" fmla="*/ 4 w 19"/>
                <a:gd name="T7" fmla="*/ 0 h 9"/>
                <a:gd name="T8" fmla="*/ 15 w 19"/>
                <a:gd name="T9" fmla="*/ 0 h 9"/>
                <a:gd name="T10" fmla="*/ 19 w 19"/>
                <a:gd name="T11" fmla="*/ 4 h 9"/>
                <a:gd name="T12" fmla="*/ 15 w 1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9">
                  <a:moveTo>
                    <a:pt x="1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2"/>
                    <a:pt x="19" y="4"/>
                  </a:cubicBezTo>
                  <a:cubicBezTo>
                    <a:pt x="19" y="7"/>
                    <a:pt x="17" y="9"/>
                    <a:pt x="15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50" name="Freeform 1346">
              <a:extLst>
                <a:ext uri="{FF2B5EF4-FFF2-40B4-BE49-F238E27FC236}">
                  <a16:creationId xmlns:a16="http://schemas.microsoft.com/office/drawing/2014/main" id="{E22B39F2-FC96-44B3-BCC1-9A6DC1A2C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6062" y="866317"/>
              <a:ext cx="35408" cy="16440"/>
            </a:xfrm>
            <a:custGeom>
              <a:avLst/>
              <a:gdLst>
                <a:gd name="T0" fmla="*/ 16 w 20"/>
                <a:gd name="T1" fmla="*/ 9 h 9"/>
                <a:gd name="T2" fmla="*/ 5 w 20"/>
                <a:gd name="T3" fmla="*/ 9 h 9"/>
                <a:gd name="T4" fmla="*/ 0 w 20"/>
                <a:gd name="T5" fmla="*/ 4 h 9"/>
                <a:gd name="T6" fmla="*/ 5 w 20"/>
                <a:gd name="T7" fmla="*/ 0 h 9"/>
                <a:gd name="T8" fmla="*/ 16 w 20"/>
                <a:gd name="T9" fmla="*/ 0 h 9"/>
                <a:gd name="T10" fmla="*/ 20 w 20"/>
                <a:gd name="T11" fmla="*/ 4 h 9"/>
                <a:gd name="T12" fmla="*/ 16 w 20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9">
                  <a:moveTo>
                    <a:pt x="16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"/>
                    <a:pt x="18" y="9"/>
                    <a:pt x="16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51" name="Freeform 1347">
              <a:extLst>
                <a:ext uri="{FF2B5EF4-FFF2-40B4-BE49-F238E27FC236}">
                  <a16:creationId xmlns:a16="http://schemas.microsoft.com/office/drawing/2014/main" id="{77AACB71-59EC-4CE4-9408-D6C0C58B5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73" y="743652"/>
              <a:ext cx="16440" cy="34144"/>
            </a:xfrm>
            <a:custGeom>
              <a:avLst/>
              <a:gdLst>
                <a:gd name="T0" fmla="*/ 5 w 9"/>
                <a:gd name="T1" fmla="*/ 19 h 19"/>
                <a:gd name="T2" fmla="*/ 0 w 9"/>
                <a:gd name="T3" fmla="*/ 15 h 19"/>
                <a:gd name="T4" fmla="*/ 0 w 9"/>
                <a:gd name="T5" fmla="*/ 4 h 19"/>
                <a:gd name="T6" fmla="*/ 5 w 9"/>
                <a:gd name="T7" fmla="*/ 0 h 19"/>
                <a:gd name="T8" fmla="*/ 9 w 9"/>
                <a:gd name="T9" fmla="*/ 4 h 19"/>
                <a:gd name="T10" fmla="*/ 9 w 9"/>
                <a:gd name="T11" fmla="*/ 15 h 19"/>
                <a:gd name="T12" fmla="*/ 5 w 9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">
                  <a:moveTo>
                    <a:pt x="5" y="19"/>
                  </a:moveTo>
                  <a:cubicBezTo>
                    <a:pt x="2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7"/>
                    <a:pt x="7" y="19"/>
                    <a:pt x="5" y="1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52" name="Freeform 1348">
              <a:extLst>
                <a:ext uri="{FF2B5EF4-FFF2-40B4-BE49-F238E27FC236}">
                  <a16:creationId xmlns:a16="http://schemas.microsoft.com/office/drawing/2014/main" id="{A4EAB615-49C7-4AF5-BF85-E3A3AEC50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4448" y="777796"/>
              <a:ext cx="31615" cy="31615"/>
            </a:xfrm>
            <a:custGeom>
              <a:avLst/>
              <a:gdLst>
                <a:gd name="T0" fmla="*/ 5 w 17"/>
                <a:gd name="T1" fmla="*/ 17 h 17"/>
                <a:gd name="T2" fmla="*/ 2 w 17"/>
                <a:gd name="T3" fmla="*/ 15 h 17"/>
                <a:gd name="T4" fmla="*/ 2 w 17"/>
                <a:gd name="T5" fmla="*/ 9 h 17"/>
                <a:gd name="T6" fmla="*/ 9 w 17"/>
                <a:gd name="T7" fmla="*/ 2 h 17"/>
                <a:gd name="T8" fmla="*/ 15 w 17"/>
                <a:gd name="T9" fmla="*/ 2 h 17"/>
                <a:gd name="T10" fmla="*/ 15 w 17"/>
                <a:gd name="T11" fmla="*/ 8 h 17"/>
                <a:gd name="T12" fmla="*/ 8 w 17"/>
                <a:gd name="T13" fmla="*/ 15 h 17"/>
                <a:gd name="T14" fmla="*/ 5 w 1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7">
                  <a:moveTo>
                    <a:pt x="5" y="17"/>
                  </a:moveTo>
                  <a:cubicBezTo>
                    <a:pt x="3" y="17"/>
                    <a:pt x="2" y="16"/>
                    <a:pt x="2" y="15"/>
                  </a:cubicBezTo>
                  <a:cubicBezTo>
                    <a:pt x="0" y="14"/>
                    <a:pt x="0" y="11"/>
                    <a:pt x="2" y="9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1" y="0"/>
                    <a:pt x="14" y="0"/>
                    <a:pt x="15" y="2"/>
                  </a:cubicBezTo>
                  <a:cubicBezTo>
                    <a:pt x="17" y="3"/>
                    <a:pt x="17" y="6"/>
                    <a:pt x="15" y="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6"/>
                    <a:pt x="6" y="17"/>
                    <a:pt x="5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53" name="Freeform 1349">
              <a:extLst>
                <a:ext uri="{FF2B5EF4-FFF2-40B4-BE49-F238E27FC236}">
                  <a16:creationId xmlns:a16="http://schemas.microsoft.com/office/drawing/2014/main" id="{03694F74-596A-4380-AB81-8FDE7D8BF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1316" y="781590"/>
              <a:ext cx="30350" cy="30350"/>
            </a:xfrm>
            <a:custGeom>
              <a:avLst/>
              <a:gdLst>
                <a:gd name="T0" fmla="*/ 12 w 17"/>
                <a:gd name="T1" fmla="*/ 17 h 17"/>
                <a:gd name="T2" fmla="*/ 9 w 17"/>
                <a:gd name="T3" fmla="*/ 15 h 17"/>
                <a:gd name="T4" fmla="*/ 1 w 17"/>
                <a:gd name="T5" fmla="*/ 8 h 17"/>
                <a:gd name="T6" fmla="*/ 2 w 17"/>
                <a:gd name="T7" fmla="*/ 2 h 17"/>
                <a:gd name="T8" fmla="*/ 8 w 17"/>
                <a:gd name="T9" fmla="*/ 2 h 17"/>
                <a:gd name="T10" fmla="*/ 15 w 17"/>
                <a:gd name="T11" fmla="*/ 9 h 17"/>
                <a:gd name="T12" fmla="*/ 15 w 17"/>
                <a:gd name="T13" fmla="*/ 15 h 17"/>
                <a:gd name="T14" fmla="*/ 12 w 1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7">
                  <a:moveTo>
                    <a:pt x="12" y="17"/>
                  </a:moveTo>
                  <a:cubicBezTo>
                    <a:pt x="11" y="17"/>
                    <a:pt x="10" y="16"/>
                    <a:pt x="9" y="1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7" y="11"/>
                    <a:pt x="17" y="14"/>
                    <a:pt x="15" y="15"/>
                  </a:cubicBezTo>
                  <a:cubicBezTo>
                    <a:pt x="14" y="16"/>
                    <a:pt x="13" y="17"/>
                    <a:pt x="12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54" name="Freeform 1350">
              <a:extLst>
                <a:ext uri="{FF2B5EF4-FFF2-40B4-BE49-F238E27FC236}">
                  <a16:creationId xmlns:a16="http://schemas.microsoft.com/office/drawing/2014/main" id="{A085BD3F-E187-4A51-96A7-874A7D396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814" y="798029"/>
              <a:ext cx="154279" cy="84727"/>
            </a:xfrm>
            <a:custGeom>
              <a:avLst/>
              <a:gdLst>
                <a:gd name="T0" fmla="*/ 81 w 85"/>
                <a:gd name="T1" fmla="*/ 47 h 47"/>
                <a:gd name="T2" fmla="*/ 76 w 85"/>
                <a:gd name="T3" fmla="*/ 42 h 47"/>
                <a:gd name="T4" fmla="*/ 42 w 85"/>
                <a:gd name="T5" fmla="*/ 8 h 47"/>
                <a:gd name="T6" fmla="*/ 8 w 85"/>
                <a:gd name="T7" fmla="*/ 42 h 47"/>
                <a:gd name="T8" fmla="*/ 4 w 85"/>
                <a:gd name="T9" fmla="*/ 47 h 47"/>
                <a:gd name="T10" fmla="*/ 0 w 85"/>
                <a:gd name="T11" fmla="*/ 42 h 47"/>
                <a:gd name="T12" fmla="*/ 42 w 85"/>
                <a:gd name="T13" fmla="*/ 0 h 47"/>
                <a:gd name="T14" fmla="*/ 85 w 85"/>
                <a:gd name="T15" fmla="*/ 42 h 47"/>
                <a:gd name="T16" fmla="*/ 81 w 85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47">
                  <a:moveTo>
                    <a:pt x="81" y="47"/>
                  </a:moveTo>
                  <a:cubicBezTo>
                    <a:pt x="78" y="47"/>
                    <a:pt x="76" y="45"/>
                    <a:pt x="76" y="42"/>
                  </a:cubicBezTo>
                  <a:cubicBezTo>
                    <a:pt x="76" y="32"/>
                    <a:pt x="68" y="8"/>
                    <a:pt x="42" y="8"/>
                  </a:cubicBezTo>
                  <a:cubicBezTo>
                    <a:pt x="17" y="8"/>
                    <a:pt x="8" y="32"/>
                    <a:pt x="8" y="42"/>
                  </a:cubicBezTo>
                  <a:cubicBezTo>
                    <a:pt x="8" y="45"/>
                    <a:pt x="7" y="47"/>
                    <a:pt x="4" y="47"/>
                  </a:cubicBezTo>
                  <a:cubicBezTo>
                    <a:pt x="2" y="47"/>
                    <a:pt x="0" y="45"/>
                    <a:pt x="0" y="42"/>
                  </a:cubicBezTo>
                  <a:cubicBezTo>
                    <a:pt x="0" y="29"/>
                    <a:pt x="11" y="0"/>
                    <a:pt x="42" y="0"/>
                  </a:cubicBezTo>
                  <a:cubicBezTo>
                    <a:pt x="71" y="0"/>
                    <a:pt x="85" y="25"/>
                    <a:pt x="85" y="42"/>
                  </a:cubicBezTo>
                  <a:cubicBezTo>
                    <a:pt x="85" y="45"/>
                    <a:pt x="83" y="47"/>
                    <a:pt x="81" y="4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4" name="Agrupar 1643">
            <a:extLst>
              <a:ext uri="{FF2B5EF4-FFF2-40B4-BE49-F238E27FC236}">
                <a16:creationId xmlns:a16="http://schemas.microsoft.com/office/drawing/2014/main" id="{16A41AF5-6BB9-4A8E-B955-C77B43D0F221}"/>
              </a:ext>
            </a:extLst>
          </p:cNvPr>
          <p:cNvGrpSpPr/>
          <p:nvPr/>
        </p:nvGrpSpPr>
        <p:grpSpPr>
          <a:xfrm>
            <a:off x="5983729" y="1908335"/>
            <a:ext cx="212450" cy="197275"/>
            <a:chOff x="5983729" y="1908335"/>
            <a:chExt cx="212450" cy="197275"/>
          </a:xfrm>
        </p:grpSpPr>
        <p:sp>
          <p:nvSpPr>
            <p:cNvPr id="1155" name="Freeform 1351">
              <a:extLst>
                <a:ext uri="{FF2B5EF4-FFF2-40B4-BE49-F238E27FC236}">
                  <a16:creationId xmlns:a16="http://schemas.microsoft.com/office/drawing/2014/main" id="{A742160E-C2A5-4727-926C-EA949D1E0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3729" y="1908335"/>
              <a:ext cx="212450" cy="125194"/>
            </a:xfrm>
            <a:custGeom>
              <a:avLst/>
              <a:gdLst>
                <a:gd name="T0" fmla="*/ 99 w 117"/>
                <a:gd name="T1" fmla="*/ 69 h 69"/>
                <a:gd name="T2" fmla="*/ 41 w 117"/>
                <a:gd name="T3" fmla="*/ 69 h 69"/>
                <a:gd name="T4" fmla="*/ 37 w 117"/>
                <a:gd name="T5" fmla="*/ 66 h 69"/>
                <a:gd name="T6" fmla="*/ 19 w 117"/>
                <a:gd name="T7" fmla="*/ 8 h 69"/>
                <a:gd name="T8" fmla="*/ 4 w 117"/>
                <a:gd name="T9" fmla="*/ 8 h 69"/>
                <a:gd name="T10" fmla="*/ 0 w 117"/>
                <a:gd name="T11" fmla="*/ 4 h 69"/>
                <a:gd name="T12" fmla="*/ 4 w 117"/>
                <a:gd name="T13" fmla="*/ 0 h 69"/>
                <a:gd name="T14" fmla="*/ 22 w 117"/>
                <a:gd name="T15" fmla="*/ 0 h 69"/>
                <a:gd name="T16" fmla="*/ 26 w 117"/>
                <a:gd name="T17" fmla="*/ 3 h 69"/>
                <a:gd name="T18" fmla="*/ 44 w 117"/>
                <a:gd name="T19" fmla="*/ 61 h 69"/>
                <a:gd name="T20" fmla="*/ 96 w 117"/>
                <a:gd name="T21" fmla="*/ 61 h 69"/>
                <a:gd name="T22" fmla="*/ 106 w 117"/>
                <a:gd name="T23" fmla="*/ 26 h 69"/>
                <a:gd name="T24" fmla="*/ 61 w 117"/>
                <a:gd name="T25" fmla="*/ 26 h 69"/>
                <a:gd name="T26" fmla="*/ 57 w 117"/>
                <a:gd name="T27" fmla="*/ 22 h 69"/>
                <a:gd name="T28" fmla="*/ 61 w 117"/>
                <a:gd name="T29" fmla="*/ 17 h 69"/>
                <a:gd name="T30" fmla="*/ 112 w 117"/>
                <a:gd name="T31" fmla="*/ 17 h 69"/>
                <a:gd name="T32" fmla="*/ 116 w 117"/>
                <a:gd name="T33" fmla="*/ 19 h 69"/>
                <a:gd name="T34" fmla="*/ 116 w 117"/>
                <a:gd name="T35" fmla="*/ 23 h 69"/>
                <a:gd name="T36" fmla="*/ 103 w 117"/>
                <a:gd name="T37" fmla="*/ 66 h 69"/>
                <a:gd name="T38" fmla="*/ 99 w 117"/>
                <a:gd name="T3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7" h="69">
                  <a:moveTo>
                    <a:pt x="99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39" y="69"/>
                    <a:pt x="38" y="68"/>
                    <a:pt x="37" y="6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59" y="26"/>
                    <a:pt x="57" y="24"/>
                    <a:pt x="57" y="22"/>
                  </a:cubicBezTo>
                  <a:cubicBezTo>
                    <a:pt x="57" y="19"/>
                    <a:pt x="59" y="17"/>
                    <a:pt x="61" y="17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4" y="17"/>
                    <a:pt x="115" y="18"/>
                    <a:pt x="116" y="19"/>
                  </a:cubicBezTo>
                  <a:cubicBezTo>
                    <a:pt x="116" y="20"/>
                    <a:pt x="117" y="22"/>
                    <a:pt x="116" y="23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8"/>
                    <a:pt x="101" y="69"/>
                    <a:pt x="99" y="6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56" name="Freeform 1352">
              <a:extLst>
                <a:ext uri="{FF2B5EF4-FFF2-40B4-BE49-F238E27FC236}">
                  <a16:creationId xmlns:a16="http://schemas.microsoft.com/office/drawing/2014/main" id="{4768D87C-5341-459D-9859-B5E6C5A844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7989" y="2051233"/>
              <a:ext cx="55642" cy="54377"/>
            </a:xfrm>
            <a:custGeom>
              <a:avLst/>
              <a:gdLst>
                <a:gd name="T0" fmla="*/ 15 w 31"/>
                <a:gd name="T1" fmla="*/ 30 h 30"/>
                <a:gd name="T2" fmla="*/ 0 w 31"/>
                <a:gd name="T3" fmla="*/ 15 h 30"/>
                <a:gd name="T4" fmla="*/ 15 w 31"/>
                <a:gd name="T5" fmla="*/ 0 h 30"/>
                <a:gd name="T6" fmla="*/ 31 w 31"/>
                <a:gd name="T7" fmla="*/ 15 h 30"/>
                <a:gd name="T8" fmla="*/ 15 w 31"/>
                <a:gd name="T9" fmla="*/ 30 h 30"/>
                <a:gd name="T10" fmla="*/ 15 w 31"/>
                <a:gd name="T11" fmla="*/ 8 h 30"/>
                <a:gd name="T12" fmla="*/ 8 w 31"/>
                <a:gd name="T13" fmla="*/ 15 h 30"/>
                <a:gd name="T14" fmla="*/ 15 w 31"/>
                <a:gd name="T15" fmla="*/ 22 h 30"/>
                <a:gd name="T16" fmla="*/ 22 w 31"/>
                <a:gd name="T17" fmla="*/ 15 h 30"/>
                <a:gd name="T18" fmla="*/ 15 w 31"/>
                <a:gd name="T19" fmla="*/ 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4" y="0"/>
                    <a:pt x="31" y="6"/>
                    <a:pt x="31" y="15"/>
                  </a:cubicBezTo>
                  <a:cubicBezTo>
                    <a:pt x="31" y="23"/>
                    <a:pt x="24" y="30"/>
                    <a:pt x="15" y="30"/>
                  </a:cubicBezTo>
                  <a:close/>
                  <a:moveTo>
                    <a:pt x="15" y="8"/>
                  </a:moveTo>
                  <a:cubicBezTo>
                    <a:pt x="12" y="8"/>
                    <a:pt x="8" y="11"/>
                    <a:pt x="8" y="15"/>
                  </a:cubicBezTo>
                  <a:cubicBezTo>
                    <a:pt x="8" y="19"/>
                    <a:pt x="12" y="22"/>
                    <a:pt x="15" y="22"/>
                  </a:cubicBezTo>
                  <a:cubicBezTo>
                    <a:pt x="19" y="22"/>
                    <a:pt x="22" y="19"/>
                    <a:pt x="22" y="15"/>
                  </a:cubicBezTo>
                  <a:cubicBezTo>
                    <a:pt x="22" y="11"/>
                    <a:pt x="19" y="8"/>
                    <a:pt x="1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57" name="Freeform 1353">
              <a:extLst>
                <a:ext uri="{FF2B5EF4-FFF2-40B4-BE49-F238E27FC236}">
                  <a16:creationId xmlns:a16="http://schemas.microsoft.com/office/drawing/2014/main" id="{D51A4BB1-6DBF-456F-B197-E0F4C655DC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40537" y="2051233"/>
              <a:ext cx="54377" cy="54377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15 w 30"/>
                <a:gd name="T9" fmla="*/ 30 h 30"/>
                <a:gd name="T10" fmla="*/ 15 w 30"/>
                <a:gd name="T11" fmla="*/ 8 h 30"/>
                <a:gd name="T12" fmla="*/ 8 w 30"/>
                <a:gd name="T13" fmla="*/ 15 h 30"/>
                <a:gd name="T14" fmla="*/ 15 w 30"/>
                <a:gd name="T15" fmla="*/ 22 h 30"/>
                <a:gd name="T16" fmla="*/ 22 w 30"/>
                <a:gd name="T17" fmla="*/ 15 h 30"/>
                <a:gd name="T18" fmla="*/ 15 w 30"/>
                <a:gd name="T19" fmla="*/ 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6"/>
                    <a:pt x="6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  <a:moveTo>
                    <a:pt x="15" y="8"/>
                  </a:moveTo>
                  <a:cubicBezTo>
                    <a:pt x="11" y="8"/>
                    <a:pt x="8" y="11"/>
                    <a:pt x="8" y="15"/>
                  </a:cubicBezTo>
                  <a:cubicBezTo>
                    <a:pt x="8" y="19"/>
                    <a:pt x="11" y="22"/>
                    <a:pt x="15" y="22"/>
                  </a:cubicBezTo>
                  <a:cubicBezTo>
                    <a:pt x="19" y="22"/>
                    <a:pt x="22" y="19"/>
                    <a:pt x="22" y="15"/>
                  </a:cubicBezTo>
                  <a:cubicBezTo>
                    <a:pt x="22" y="11"/>
                    <a:pt x="19" y="8"/>
                    <a:pt x="1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5" name="Agrupar 1644">
            <a:extLst>
              <a:ext uri="{FF2B5EF4-FFF2-40B4-BE49-F238E27FC236}">
                <a16:creationId xmlns:a16="http://schemas.microsoft.com/office/drawing/2014/main" id="{9766EAAE-359C-4583-B91E-743F540D2A13}"/>
              </a:ext>
            </a:extLst>
          </p:cNvPr>
          <p:cNvGrpSpPr/>
          <p:nvPr/>
        </p:nvGrpSpPr>
        <p:grpSpPr>
          <a:xfrm>
            <a:off x="6395984" y="1917187"/>
            <a:ext cx="257974" cy="179571"/>
            <a:chOff x="6395984" y="1917187"/>
            <a:chExt cx="257974" cy="179571"/>
          </a:xfrm>
        </p:grpSpPr>
        <p:sp>
          <p:nvSpPr>
            <p:cNvPr id="1158" name="Freeform 1354">
              <a:extLst>
                <a:ext uri="{FF2B5EF4-FFF2-40B4-BE49-F238E27FC236}">
                  <a16:creationId xmlns:a16="http://schemas.microsoft.com/office/drawing/2014/main" id="{9FFDA43C-74D7-4191-953D-2F57CB6FD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7481" y="1982946"/>
              <a:ext cx="37938" cy="96109"/>
            </a:xfrm>
            <a:custGeom>
              <a:avLst/>
              <a:gdLst>
                <a:gd name="T0" fmla="*/ 17 w 21"/>
                <a:gd name="T1" fmla="*/ 53 h 53"/>
                <a:gd name="T2" fmla="*/ 10 w 21"/>
                <a:gd name="T3" fmla="*/ 53 h 53"/>
                <a:gd name="T4" fmla="*/ 0 w 21"/>
                <a:gd name="T5" fmla="*/ 43 h 53"/>
                <a:gd name="T6" fmla="*/ 0 w 21"/>
                <a:gd name="T7" fmla="*/ 4 h 53"/>
                <a:gd name="T8" fmla="*/ 4 w 21"/>
                <a:gd name="T9" fmla="*/ 0 h 53"/>
                <a:gd name="T10" fmla="*/ 8 w 21"/>
                <a:gd name="T11" fmla="*/ 4 h 53"/>
                <a:gd name="T12" fmla="*/ 8 w 21"/>
                <a:gd name="T13" fmla="*/ 43 h 53"/>
                <a:gd name="T14" fmla="*/ 10 w 21"/>
                <a:gd name="T15" fmla="*/ 44 h 53"/>
                <a:gd name="T16" fmla="*/ 17 w 21"/>
                <a:gd name="T17" fmla="*/ 44 h 53"/>
                <a:gd name="T18" fmla="*/ 21 w 21"/>
                <a:gd name="T19" fmla="*/ 49 h 53"/>
                <a:gd name="T20" fmla="*/ 17 w 21"/>
                <a:gd name="T2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53">
                  <a:moveTo>
                    <a:pt x="17" y="53"/>
                  </a:moveTo>
                  <a:cubicBezTo>
                    <a:pt x="10" y="53"/>
                    <a:pt x="10" y="53"/>
                    <a:pt x="10" y="53"/>
                  </a:cubicBezTo>
                  <a:cubicBezTo>
                    <a:pt x="4" y="53"/>
                    <a:pt x="0" y="48"/>
                    <a:pt x="0" y="4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4"/>
                    <a:pt x="9" y="44"/>
                    <a:pt x="10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9" y="44"/>
                    <a:pt x="21" y="46"/>
                    <a:pt x="21" y="49"/>
                  </a:cubicBezTo>
                  <a:cubicBezTo>
                    <a:pt x="21" y="51"/>
                    <a:pt x="19" y="53"/>
                    <a:pt x="17" y="5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59" name="Freeform 1355">
              <a:extLst>
                <a:ext uri="{FF2B5EF4-FFF2-40B4-BE49-F238E27FC236}">
                  <a16:creationId xmlns:a16="http://schemas.microsoft.com/office/drawing/2014/main" id="{68CA54C9-24CA-4F96-AF59-CC8322C38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9446" y="2062615"/>
              <a:ext cx="84727" cy="16440"/>
            </a:xfrm>
            <a:custGeom>
              <a:avLst/>
              <a:gdLst>
                <a:gd name="T0" fmla="*/ 43 w 47"/>
                <a:gd name="T1" fmla="*/ 9 h 9"/>
                <a:gd name="T2" fmla="*/ 4 w 47"/>
                <a:gd name="T3" fmla="*/ 9 h 9"/>
                <a:gd name="T4" fmla="*/ 0 w 47"/>
                <a:gd name="T5" fmla="*/ 5 h 9"/>
                <a:gd name="T6" fmla="*/ 4 w 47"/>
                <a:gd name="T7" fmla="*/ 0 h 9"/>
                <a:gd name="T8" fmla="*/ 43 w 47"/>
                <a:gd name="T9" fmla="*/ 0 h 9"/>
                <a:gd name="T10" fmla="*/ 47 w 47"/>
                <a:gd name="T11" fmla="*/ 5 h 9"/>
                <a:gd name="T12" fmla="*/ 43 w 4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">
                  <a:moveTo>
                    <a:pt x="4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6" y="0"/>
                    <a:pt x="47" y="2"/>
                    <a:pt x="47" y="5"/>
                  </a:cubicBezTo>
                  <a:cubicBezTo>
                    <a:pt x="47" y="7"/>
                    <a:pt x="46" y="9"/>
                    <a:pt x="43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0" name="Freeform 1356">
              <a:extLst>
                <a:ext uri="{FF2B5EF4-FFF2-40B4-BE49-F238E27FC236}">
                  <a16:creationId xmlns:a16="http://schemas.microsoft.com/office/drawing/2014/main" id="{B3C8D134-F110-4B42-BF59-6D9F5FF2B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5984" y="1917187"/>
              <a:ext cx="189688" cy="137840"/>
            </a:xfrm>
            <a:custGeom>
              <a:avLst/>
              <a:gdLst>
                <a:gd name="T0" fmla="*/ 100 w 105"/>
                <a:gd name="T1" fmla="*/ 76 h 76"/>
                <a:gd name="T2" fmla="*/ 96 w 105"/>
                <a:gd name="T3" fmla="*/ 72 h 76"/>
                <a:gd name="T4" fmla="*/ 96 w 105"/>
                <a:gd name="T5" fmla="*/ 10 h 76"/>
                <a:gd name="T6" fmla="*/ 94 w 105"/>
                <a:gd name="T7" fmla="*/ 9 h 76"/>
                <a:gd name="T8" fmla="*/ 5 w 105"/>
                <a:gd name="T9" fmla="*/ 9 h 76"/>
                <a:gd name="T10" fmla="*/ 0 w 105"/>
                <a:gd name="T11" fmla="*/ 4 h 76"/>
                <a:gd name="T12" fmla="*/ 5 w 105"/>
                <a:gd name="T13" fmla="*/ 0 h 76"/>
                <a:gd name="T14" fmla="*/ 94 w 105"/>
                <a:gd name="T15" fmla="*/ 0 h 76"/>
                <a:gd name="T16" fmla="*/ 105 w 105"/>
                <a:gd name="T17" fmla="*/ 10 h 76"/>
                <a:gd name="T18" fmla="*/ 105 w 105"/>
                <a:gd name="T19" fmla="*/ 72 h 76"/>
                <a:gd name="T20" fmla="*/ 100 w 10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" h="76">
                  <a:moveTo>
                    <a:pt x="100" y="76"/>
                  </a:moveTo>
                  <a:cubicBezTo>
                    <a:pt x="98" y="76"/>
                    <a:pt x="96" y="75"/>
                    <a:pt x="96" y="72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9"/>
                    <a:pt x="9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00" y="0"/>
                    <a:pt x="105" y="5"/>
                    <a:pt x="105" y="10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5" y="75"/>
                    <a:pt x="103" y="76"/>
                    <a:pt x="100" y="7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1" name="Freeform 1357">
              <a:extLst>
                <a:ext uri="{FF2B5EF4-FFF2-40B4-BE49-F238E27FC236}">
                  <a16:creationId xmlns:a16="http://schemas.microsoft.com/office/drawing/2014/main" id="{47329D22-5309-4700-B6EC-A0F12B6EC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1509" y="2042381"/>
              <a:ext cx="55642" cy="54377"/>
            </a:xfrm>
            <a:custGeom>
              <a:avLst/>
              <a:gdLst>
                <a:gd name="T0" fmla="*/ 15 w 31"/>
                <a:gd name="T1" fmla="*/ 30 h 30"/>
                <a:gd name="T2" fmla="*/ 0 w 31"/>
                <a:gd name="T3" fmla="*/ 15 h 30"/>
                <a:gd name="T4" fmla="*/ 15 w 31"/>
                <a:gd name="T5" fmla="*/ 0 h 30"/>
                <a:gd name="T6" fmla="*/ 31 w 31"/>
                <a:gd name="T7" fmla="*/ 15 h 30"/>
                <a:gd name="T8" fmla="*/ 15 w 31"/>
                <a:gd name="T9" fmla="*/ 30 h 30"/>
                <a:gd name="T10" fmla="*/ 15 w 31"/>
                <a:gd name="T11" fmla="*/ 8 h 30"/>
                <a:gd name="T12" fmla="*/ 9 w 31"/>
                <a:gd name="T13" fmla="*/ 15 h 30"/>
                <a:gd name="T14" fmla="*/ 15 w 31"/>
                <a:gd name="T15" fmla="*/ 22 h 30"/>
                <a:gd name="T16" fmla="*/ 22 w 31"/>
                <a:gd name="T17" fmla="*/ 15 h 30"/>
                <a:gd name="T18" fmla="*/ 15 w 31"/>
                <a:gd name="T19" fmla="*/ 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23"/>
                    <a:pt x="24" y="30"/>
                    <a:pt x="15" y="30"/>
                  </a:cubicBezTo>
                  <a:close/>
                  <a:moveTo>
                    <a:pt x="15" y="8"/>
                  </a:moveTo>
                  <a:cubicBezTo>
                    <a:pt x="12" y="8"/>
                    <a:pt x="9" y="11"/>
                    <a:pt x="9" y="15"/>
                  </a:cubicBezTo>
                  <a:cubicBezTo>
                    <a:pt x="9" y="19"/>
                    <a:pt x="12" y="22"/>
                    <a:pt x="15" y="22"/>
                  </a:cubicBezTo>
                  <a:cubicBezTo>
                    <a:pt x="19" y="22"/>
                    <a:pt x="22" y="19"/>
                    <a:pt x="22" y="15"/>
                  </a:cubicBezTo>
                  <a:cubicBezTo>
                    <a:pt x="22" y="11"/>
                    <a:pt x="19" y="8"/>
                    <a:pt x="1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2" name="Freeform 1358">
              <a:extLst>
                <a:ext uri="{FF2B5EF4-FFF2-40B4-BE49-F238E27FC236}">
                  <a16:creationId xmlns:a16="http://schemas.microsoft.com/office/drawing/2014/main" id="{AC595081-E544-4002-9840-61A2ACE925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1528" y="2042381"/>
              <a:ext cx="54377" cy="54377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15 w 30"/>
                <a:gd name="T9" fmla="*/ 30 h 30"/>
                <a:gd name="T10" fmla="*/ 15 w 30"/>
                <a:gd name="T11" fmla="*/ 8 h 30"/>
                <a:gd name="T12" fmla="*/ 8 w 30"/>
                <a:gd name="T13" fmla="*/ 15 h 30"/>
                <a:gd name="T14" fmla="*/ 15 w 30"/>
                <a:gd name="T15" fmla="*/ 22 h 30"/>
                <a:gd name="T16" fmla="*/ 22 w 30"/>
                <a:gd name="T17" fmla="*/ 15 h 30"/>
                <a:gd name="T18" fmla="*/ 15 w 30"/>
                <a:gd name="T19" fmla="*/ 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4" y="0"/>
                    <a:pt x="30" y="7"/>
                    <a:pt x="30" y="15"/>
                  </a:cubicBezTo>
                  <a:cubicBezTo>
                    <a:pt x="30" y="23"/>
                    <a:pt x="24" y="30"/>
                    <a:pt x="15" y="30"/>
                  </a:cubicBezTo>
                  <a:close/>
                  <a:moveTo>
                    <a:pt x="15" y="8"/>
                  </a:moveTo>
                  <a:cubicBezTo>
                    <a:pt x="11" y="8"/>
                    <a:pt x="8" y="11"/>
                    <a:pt x="8" y="15"/>
                  </a:cubicBezTo>
                  <a:cubicBezTo>
                    <a:pt x="8" y="19"/>
                    <a:pt x="11" y="22"/>
                    <a:pt x="15" y="22"/>
                  </a:cubicBezTo>
                  <a:cubicBezTo>
                    <a:pt x="19" y="22"/>
                    <a:pt x="22" y="19"/>
                    <a:pt x="22" y="15"/>
                  </a:cubicBezTo>
                  <a:cubicBezTo>
                    <a:pt x="22" y="11"/>
                    <a:pt x="19" y="8"/>
                    <a:pt x="15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3" name="Freeform 1359">
              <a:extLst>
                <a:ext uri="{FF2B5EF4-FFF2-40B4-BE49-F238E27FC236}">
                  <a16:creationId xmlns:a16="http://schemas.microsoft.com/office/drawing/2014/main" id="{3773F88D-009A-4D28-9BE8-38389E5BD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3025" y="1953860"/>
              <a:ext cx="80933" cy="125194"/>
            </a:xfrm>
            <a:custGeom>
              <a:avLst/>
              <a:gdLst>
                <a:gd name="T0" fmla="*/ 34 w 44"/>
                <a:gd name="T1" fmla="*/ 69 h 69"/>
                <a:gd name="T2" fmla="*/ 14 w 44"/>
                <a:gd name="T3" fmla="*/ 69 h 69"/>
                <a:gd name="T4" fmla="*/ 10 w 44"/>
                <a:gd name="T5" fmla="*/ 65 h 69"/>
                <a:gd name="T6" fmla="*/ 14 w 44"/>
                <a:gd name="T7" fmla="*/ 60 h 69"/>
                <a:gd name="T8" fmla="*/ 34 w 44"/>
                <a:gd name="T9" fmla="*/ 60 h 69"/>
                <a:gd name="T10" fmla="*/ 35 w 44"/>
                <a:gd name="T11" fmla="*/ 60 h 69"/>
                <a:gd name="T12" fmla="*/ 35 w 44"/>
                <a:gd name="T13" fmla="*/ 26 h 69"/>
                <a:gd name="T14" fmla="*/ 35 w 44"/>
                <a:gd name="T15" fmla="*/ 25 h 69"/>
                <a:gd name="T16" fmla="*/ 20 w 44"/>
                <a:gd name="T17" fmla="*/ 9 h 69"/>
                <a:gd name="T18" fmla="*/ 20 w 44"/>
                <a:gd name="T19" fmla="*/ 9 h 69"/>
                <a:gd name="T20" fmla="*/ 5 w 44"/>
                <a:gd name="T21" fmla="*/ 9 h 69"/>
                <a:gd name="T22" fmla="*/ 0 w 44"/>
                <a:gd name="T23" fmla="*/ 4 h 69"/>
                <a:gd name="T24" fmla="*/ 5 w 44"/>
                <a:gd name="T25" fmla="*/ 0 h 69"/>
                <a:gd name="T26" fmla="*/ 20 w 44"/>
                <a:gd name="T27" fmla="*/ 0 h 69"/>
                <a:gd name="T28" fmla="*/ 27 w 44"/>
                <a:gd name="T29" fmla="*/ 3 h 69"/>
                <a:gd name="T30" fmla="*/ 41 w 44"/>
                <a:gd name="T31" fmla="*/ 20 h 69"/>
                <a:gd name="T32" fmla="*/ 44 w 44"/>
                <a:gd name="T33" fmla="*/ 26 h 69"/>
                <a:gd name="T34" fmla="*/ 44 w 44"/>
                <a:gd name="T35" fmla="*/ 60 h 69"/>
                <a:gd name="T36" fmla="*/ 34 w 44"/>
                <a:gd name="T3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69">
                  <a:moveTo>
                    <a:pt x="34" y="69"/>
                  </a:moveTo>
                  <a:cubicBezTo>
                    <a:pt x="14" y="69"/>
                    <a:pt x="14" y="69"/>
                    <a:pt x="14" y="69"/>
                  </a:cubicBezTo>
                  <a:cubicBezTo>
                    <a:pt x="12" y="69"/>
                    <a:pt x="10" y="67"/>
                    <a:pt x="10" y="65"/>
                  </a:cubicBezTo>
                  <a:cubicBezTo>
                    <a:pt x="10" y="62"/>
                    <a:pt x="12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5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5" y="1"/>
                    <a:pt x="27" y="3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3" y="21"/>
                    <a:pt x="44" y="24"/>
                    <a:pt x="44" y="2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5"/>
                    <a:pt x="40" y="69"/>
                    <a:pt x="34" y="6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4" name="Freeform 1360">
              <a:extLst>
                <a:ext uri="{FF2B5EF4-FFF2-40B4-BE49-F238E27FC236}">
                  <a16:creationId xmlns:a16="http://schemas.microsoft.com/office/drawing/2014/main" id="{A9CED781-9A37-4C7E-8215-7BE5119C9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3025" y="1996856"/>
              <a:ext cx="80933" cy="13910"/>
            </a:xfrm>
            <a:custGeom>
              <a:avLst/>
              <a:gdLst>
                <a:gd name="T0" fmla="*/ 39 w 44"/>
                <a:gd name="T1" fmla="*/ 8 h 8"/>
                <a:gd name="T2" fmla="*/ 4 w 44"/>
                <a:gd name="T3" fmla="*/ 8 h 8"/>
                <a:gd name="T4" fmla="*/ 0 w 44"/>
                <a:gd name="T5" fmla="*/ 4 h 8"/>
                <a:gd name="T6" fmla="*/ 4 w 44"/>
                <a:gd name="T7" fmla="*/ 0 h 8"/>
                <a:gd name="T8" fmla="*/ 39 w 44"/>
                <a:gd name="T9" fmla="*/ 0 h 8"/>
                <a:gd name="T10" fmla="*/ 44 w 44"/>
                <a:gd name="T11" fmla="*/ 4 h 8"/>
                <a:gd name="T12" fmla="*/ 39 w 4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8">
                  <a:moveTo>
                    <a:pt x="3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2" y="0"/>
                    <a:pt x="44" y="2"/>
                    <a:pt x="44" y="4"/>
                  </a:cubicBezTo>
                  <a:cubicBezTo>
                    <a:pt x="44" y="7"/>
                    <a:pt x="42" y="8"/>
                    <a:pt x="39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5" name="Freeform 1361">
              <a:extLst>
                <a:ext uri="{FF2B5EF4-FFF2-40B4-BE49-F238E27FC236}">
                  <a16:creationId xmlns:a16="http://schemas.microsoft.com/office/drawing/2014/main" id="{768FD881-DDC8-4A72-8E81-7EADADD79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777" y="1951331"/>
              <a:ext cx="77140" cy="16440"/>
            </a:xfrm>
            <a:custGeom>
              <a:avLst/>
              <a:gdLst>
                <a:gd name="T0" fmla="*/ 39 w 43"/>
                <a:gd name="T1" fmla="*/ 9 h 9"/>
                <a:gd name="T2" fmla="*/ 4 w 43"/>
                <a:gd name="T3" fmla="*/ 9 h 9"/>
                <a:gd name="T4" fmla="*/ 0 w 43"/>
                <a:gd name="T5" fmla="*/ 5 h 9"/>
                <a:gd name="T6" fmla="*/ 4 w 43"/>
                <a:gd name="T7" fmla="*/ 0 h 9"/>
                <a:gd name="T8" fmla="*/ 39 w 43"/>
                <a:gd name="T9" fmla="*/ 0 h 9"/>
                <a:gd name="T10" fmla="*/ 43 w 43"/>
                <a:gd name="T11" fmla="*/ 5 h 9"/>
                <a:gd name="T12" fmla="*/ 39 w 4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9">
                  <a:moveTo>
                    <a:pt x="39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0"/>
                    <a:pt x="43" y="2"/>
                    <a:pt x="43" y="5"/>
                  </a:cubicBezTo>
                  <a:cubicBezTo>
                    <a:pt x="43" y="7"/>
                    <a:pt x="41" y="9"/>
                    <a:pt x="39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6" name="Freeform 1362">
              <a:extLst>
                <a:ext uri="{FF2B5EF4-FFF2-40B4-BE49-F238E27FC236}">
                  <a16:creationId xmlns:a16="http://schemas.microsoft.com/office/drawing/2014/main" id="{3BEFB9C5-BD62-456A-9A47-342D47FA1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6100" y="1980417"/>
              <a:ext cx="45525" cy="16440"/>
            </a:xfrm>
            <a:custGeom>
              <a:avLst/>
              <a:gdLst>
                <a:gd name="T0" fmla="*/ 20 w 25"/>
                <a:gd name="T1" fmla="*/ 9 h 9"/>
                <a:gd name="T2" fmla="*/ 5 w 25"/>
                <a:gd name="T3" fmla="*/ 9 h 9"/>
                <a:gd name="T4" fmla="*/ 0 w 25"/>
                <a:gd name="T5" fmla="*/ 5 h 9"/>
                <a:gd name="T6" fmla="*/ 5 w 25"/>
                <a:gd name="T7" fmla="*/ 0 h 9"/>
                <a:gd name="T8" fmla="*/ 20 w 25"/>
                <a:gd name="T9" fmla="*/ 0 h 9"/>
                <a:gd name="T10" fmla="*/ 25 w 25"/>
                <a:gd name="T11" fmla="*/ 5 h 9"/>
                <a:gd name="T12" fmla="*/ 20 w 2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9">
                  <a:moveTo>
                    <a:pt x="20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5" y="2"/>
                    <a:pt x="25" y="5"/>
                  </a:cubicBezTo>
                  <a:cubicBezTo>
                    <a:pt x="25" y="7"/>
                    <a:pt x="23" y="9"/>
                    <a:pt x="20" y="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37" name="Agrupar 1636">
            <a:extLst>
              <a:ext uri="{FF2B5EF4-FFF2-40B4-BE49-F238E27FC236}">
                <a16:creationId xmlns:a16="http://schemas.microsoft.com/office/drawing/2014/main" id="{DE09DD09-37DB-4DA5-BDB5-9C122FD37B02}"/>
              </a:ext>
            </a:extLst>
          </p:cNvPr>
          <p:cNvGrpSpPr/>
          <p:nvPr/>
        </p:nvGrpSpPr>
        <p:grpSpPr>
          <a:xfrm>
            <a:off x="5194627" y="1135673"/>
            <a:ext cx="214980" cy="306030"/>
            <a:chOff x="5194627" y="1135673"/>
            <a:chExt cx="214980" cy="306030"/>
          </a:xfrm>
        </p:grpSpPr>
        <p:sp>
          <p:nvSpPr>
            <p:cNvPr id="1167" name="Freeform 1363">
              <a:extLst>
                <a:ext uri="{FF2B5EF4-FFF2-40B4-BE49-F238E27FC236}">
                  <a16:creationId xmlns:a16="http://schemas.microsoft.com/office/drawing/2014/main" id="{EC409D6F-C838-4AD8-B0FA-3F92AC1C03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4627" y="1171082"/>
              <a:ext cx="214980" cy="270621"/>
            </a:xfrm>
            <a:custGeom>
              <a:avLst/>
              <a:gdLst>
                <a:gd name="T0" fmla="*/ 103 w 118"/>
                <a:gd name="T1" fmla="*/ 149 h 149"/>
                <a:gd name="T2" fmla="*/ 15 w 118"/>
                <a:gd name="T3" fmla="*/ 149 h 149"/>
                <a:gd name="T4" fmla="*/ 0 w 118"/>
                <a:gd name="T5" fmla="*/ 135 h 149"/>
                <a:gd name="T6" fmla="*/ 0 w 118"/>
                <a:gd name="T7" fmla="*/ 15 h 149"/>
                <a:gd name="T8" fmla="*/ 15 w 118"/>
                <a:gd name="T9" fmla="*/ 0 h 149"/>
                <a:gd name="T10" fmla="*/ 103 w 118"/>
                <a:gd name="T11" fmla="*/ 0 h 149"/>
                <a:gd name="T12" fmla="*/ 118 w 118"/>
                <a:gd name="T13" fmla="*/ 15 h 149"/>
                <a:gd name="T14" fmla="*/ 118 w 118"/>
                <a:gd name="T15" fmla="*/ 135 h 149"/>
                <a:gd name="T16" fmla="*/ 103 w 118"/>
                <a:gd name="T17" fmla="*/ 149 h 149"/>
                <a:gd name="T18" fmla="*/ 15 w 118"/>
                <a:gd name="T19" fmla="*/ 9 h 149"/>
                <a:gd name="T20" fmla="*/ 8 w 118"/>
                <a:gd name="T21" fmla="*/ 15 h 149"/>
                <a:gd name="T22" fmla="*/ 8 w 118"/>
                <a:gd name="T23" fmla="*/ 135 h 149"/>
                <a:gd name="T24" fmla="*/ 15 w 118"/>
                <a:gd name="T25" fmla="*/ 141 h 149"/>
                <a:gd name="T26" fmla="*/ 103 w 118"/>
                <a:gd name="T27" fmla="*/ 141 h 149"/>
                <a:gd name="T28" fmla="*/ 109 w 118"/>
                <a:gd name="T29" fmla="*/ 135 h 149"/>
                <a:gd name="T30" fmla="*/ 109 w 118"/>
                <a:gd name="T31" fmla="*/ 15 h 149"/>
                <a:gd name="T32" fmla="*/ 103 w 118"/>
                <a:gd name="T33" fmla="*/ 9 h 149"/>
                <a:gd name="T34" fmla="*/ 15 w 118"/>
                <a:gd name="T35" fmla="*/ 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" h="149">
                  <a:moveTo>
                    <a:pt x="103" y="149"/>
                  </a:moveTo>
                  <a:cubicBezTo>
                    <a:pt x="15" y="149"/>
                    <a:pt x="15" y="149"/>
                    <a:pt x="15" y="149"/>
                  </a:cubicBezTo>
                  <a:cubicBezTo>
                    <a:pt x="7" y="149"/>
                    <a:pt x="0" y="143"/>
                    <a:pt x="0" y="13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1" y="0"/>
                    <a:pt x="118" y="7"/>
                    <a:pt x="118" y="1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43"/>
                    <a:pt x="111" y="149"/>
                    <a:pt x="103" y="149"/>
                  </a:cubicBezTo>
                  <a:close/>
                  <a:moveTo>
                    <a:pt x="15" y="9"/>
                  </a:moveTo>
                  <a:cubicBezTo>
                    <a:pt x="11" y="9"/>
                    <a:pt x="8" y="12"/>
                    <a:pt x="8" y="15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8" y="138"/>
                    <a:pt x="11" y="141"/>
                    <a:pt x="15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6" y="141"/>
                    <a:pt x="109" y="138"/>
                    <a:pt x="109" y="135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09" y="12"/>
                    <a:pt x="106" y="9"/>
                    <a:pt x="103" y="9"/>
                  </a:cubicBezTo>
                  <a:lnTo>
                    <a:pt x="15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8" name="Freeform 1364">
              <a:extLst>
                <a:ext uri="{FF2B5EF4-FFF2-40B4-BE49-F238E27FC236}">
                  <a16:creationId xmlns:a16="http://schemas.microsoft.com/office/drawing/2014/main" id="{2214CFE5-8EF4-4088-B2AE-830AE00BF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444" y="1135673"/>
              <a:ext cx="74611" cy="51848"/>
            </a:xfrm>
            <a:custGeom>
              <a:avLst/>
              <a:gdLst>
                <a:gd name="T0" fmla="*/ 37 w 41"/>
                <a:gd name="T1" fmla="*/ 29 h 29"/>
                <a:gd name="T2" fmla="*/ 33 w 41"/>
                <a:gd name="T3" fmla="*/ 25 h 29"/>
                <a:gd name="T4" fmla="*/ 33 w 41"/>
                <a:gd name="T5" fmla="*/ 15 h 29"/>
                <a:gd name="T6" fmla="*/ 27 w 41"/>
                <a:gd name="T7" fmla="*/ 9 h 29"/>
                <a:gd name="T8" fmla="*/ 14 w 41"/>
                <a:gd name="T9" fmla="*/ 9 h 29"/>
                <a:gd name="T10" fmla="*/ 8 w 41"/>
                <a:gd name="T11" fmla="*/ 15 h 29"/>
                <a:gd name="T12" fmla="*/ 8 w 41"/>
                <a:gd name="T13" fmla="*/ 25 h 29"/>
                <a:gd name="T14" fmla="*/ 4 w 41"/>
                <a:gd name="T15" fmla="*/ 29 h 29"/>
                <a:gd name="T16" fmla="*/ 0 w 41"/>
                <a:gd name="T17" fmla="*/ 25 h 29"/>
                <a:gd name="T18" fmla="*/ 0 w 41"/>
                <a:gd name="T19" fmla="*/ 15 h 29"/>
                <a:gd name="T20" fmla="*/ 14 w 41"/>
                <a:gd name="T21" fmla="*/ 0 h 29"/>
                <a:gd name="T22" fmla="*/ 27 w 41"/>
                <a:gd name="T23" fmla="*/ 0 h 29"/>
                <a:gd name="T24" fmla="*/ 41 w 41"/>
                <a:gd name="T25" fmla="*/ 15 h 29"/>
                <a:gd name="T26" fmla="*/ 41 w 41"/>
                <a:gd name="T27" fmla="*/ 25 h 29"/>
                <a:gd name="T28" fmla="*/ 37 w 41"/>
                <a:gd name="T2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" h="29">
                  <a:moveTo>
                    <a:pt x="37" y="29"/>
                  </a:moveTo>
                  <a:cubicBezTo>
                    <a:pt x="35" y="29"/>
                    <a:pt x="33" y="27"/>
                    <a:pt x="33" y="2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2"/>
                    <a:pt x="30" y="9"/>
                    <a:pt x="27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1" y="9"/>
                    <a:pt x="8" y="12"/>
                    <a:pt x="8" y="1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7" y="29"/>
                    <a:pt x="4" y="29"/>
                  </a:cubicBezTo>
                  <a:cubicBezTo>
                    <a:pt x="2" y="29"/>
                    <a:pt x="0" y="27"/>
                    <a:pt x="0" y="2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5" y="0"/>
                    <a:pt x="41" y="7"/>
                    <a:pt x="41" y="1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7"/>
                    <a:pt x="39" y="29"/>
                    <a:pt x="37" y="2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69" name="Freeform 1365">
              <a:extLst>
                <a:ext uri="{FF2B5EF4-FFF2-40B4-BE49-F238E27FC236}">
                  <a16:creationId xmlns:a16="http://schemas.microsoft.com/office/drawing/2014/main" id="{8CCC4308-5AB6-48D2-84CE-88054007A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627" y="1227988"/>
              <a:ext cx="214980" cy="67023"/>
            </a:xfrm>
            <a:custGeom>
              <a:avLst/>
              <a:gdLst>
                <a:gd name="T0" fmla="*/ 85 w 118"/>
                <a:gd name="T1" fmla="*/ 37 h 37"/>
                <a:gd name="T2" fmla="*/ 33 w 118"/>
                <a:gd name="T3" fmla="*/ 37 h 37"/>
                <a:gd name="T4" fmla="*/ 0 w 118"/>
                <a:gd name="T5" fmla="*/ 4 h 37"/>
                <a:gd name="T6" fmla="*/ 4 w 118"/>
                <a:gd name="T7" fmla="*/ 0 h 37"/>
                <a:gd name="T8" fmla="*/ 8 w 118"/>
                <a:gd name="T9" fmla="*/ 4 h 37"/>
                <a:gd name="T10" fmla="*/ 33 w 118"/>
                <a:gd name="T11" fmla="*/ 28 h 37"/>
                <a:gd name="T12" fmla="*/ 85 w 118"/>
                <a:gd name="T13" fmla="*/ 28 h 37"/>
                <a:gd name="T14" fmla="*/ 109 w 118"/>
                <a:gd name="T15" fmla="*/ 4 h 37"/>
                <a:gd name="T16" fmla="*/ 114 w 118"/>
                <a:gd name="T17" fmla="*/ 0 h 37"/>
                <a:gd name="T18" fmla="*/ 118 w 118"/>
                <a:gd name="T19" fmla="*/ 4 h 37"/>
                <a:gd name="T20" fmla="*/ 85 w 118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8" h="37">
                  <a:moveTo>
                    <a:pt x="85" y="37"/>
                  </a:moveTo>
                  <a:cubicBezTo>
                    <a:pt x="33" y="37"/>
                    <a:pt x="33" y="37"/>
                    <a:pt x="33" y="37"/>
                  </a:cubicBezTo>
                  <a:cubicBezTo>
                    <a:pt x="15" y="37"/>
                    <a:pt x="0" y="22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8" y="1"/>
                    <a:pt x="8" y="4"/>
                  </a:cubicBezTo>
                  <a:cubicBezTo>
                    <a:pt x="8" y="17"/>
                    <a:pt x="19" y="28"/>
                    <a:pt x="33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98" y="28"/>
                    <a:pt x="109" y="17"/>
                    <a:pt x="109" y="4"/>
                  </a:cubicBezTo>
                  <a:cubicBezTo>
                    <a:pt x="109" y="1"/>
                    <a:pt x="111" y="0"/>
                    <a:pt x="114" y="0"/>
                  </a:cubicBezTo>
                  <a:cubicBezTo>
                    <a:pt x="116" y="0"/>
                    <a:pt x="118" y="1"/>
                    <a:pt x="118" y="4"/>
                  </a:cubicBezTo>
                  <a:cubicBezTo>
                    <a:pt x="118" y="22"/>
                    <a:pt x="103" y="37"/>
                    <a:pt x="85" y="3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70" name="Freeform 1366">
              <a:extLst>
                <a:ext uri="{FF2B5EF4-FFF2-40B4-BE49-F238E27FC236}">
                  <a16:creationId xmlns:a16="http://schemas.microsoft.com/office/drawing/2014/main" id="{CB2DCC2E-7F28-4D85-89B8-E305B5D4C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094" y="1278572"/>
              <a:ext cx="16440" cy="61965"/>
            </a:xfrm>
            <a:custGeom>
              <a:avLst/>
              <a:gdLst>
                <a:gd name="T0" fmla="*/ 5 w 9"/>
                <a:gd name="T1" fmla="*/ 34 h 34"/>
                <a:gd name="T2" fmla="*/ 0 w 9"/>
                <a:gd name="T3" fmla="*/ 29 h 34"/>
                <a:gd name="T4" fmla="*/ 0 w 9"/>
                <a:gd name="T5" fmla="*/ 4 h 34"/>
                <a:gd name="T6" fmla="*/ 5 w 9"/>
                <a:gd name="T7" fmla="*/ 0 h 34"/>
                <a:gd name="T8" fmla="*/ 9 w 9"/>
                <a:gd name="T9" fmla="*/ 4 h 34"/>
                <a:gd name="T10" fmla="*/ 9 w 9"/>
                <a:gd name="T11" fmla="*/ 29 h 34"/>
                <a:gd name="T12" fmla="*/ 5 w 9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4">
                  <a:moveTo>
                    <a:pt x="5" y="34"/>
                  </a:moveTo>
                  <a:cubicBezTo>
                    <a:pt x="2" y="34"/>
                    <a:pt x="0" y="32"/>
                    <a:pt x="0" y="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2"/>
                    <a:pt x="7" y="34"/>
                    <a:pt x="5" y="3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71" name="Freeform 1367">
              <a:extLst>
                <a:ext uri="{FF2B5EF4-FFF2-40B4-BE49-F238E27FC236}">
                  <a16:creationId xmlns:a16="http://schemas.microsoft.com/office/drawing/2014/main" id="{5CC40B38-A1E1-4535-ABAE-CC8C40A78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2701" y="1278572"/>
              <a:ext cx="15175" cy="61965"/>
            </a:xfrm>
            <a:custGeom>
              <a:avLst/>
              <a:gdLst>
                <a:gd name="T0" fmla="*/ 4 w 8"/>
                <a:gd name="T1" fmla="*/ 34 h 34"/>
                <a:gd name="T2" fmla="*/ 0 w 8"/>
                <a:gd name="T3" fmla="*/ 29 h 34"/>
                <a:gd name="T4" fmla="*/ 0 w 8"/>
                <a:gd name="T5" fmla="*/ 4 h 34"/>
                <a:gd name="T6" fmla="*/ 4 w 8"/>
                <a:gd name="T7" fmla="*/ 0 h 34"/>
                <a:gd name="T8" fmla="*/ 8 w 8"/>
                <a:gd name="T9" fmla="*/ 4 h 34"/>
                <a:gd name="T10" fmla="*/ 8 w 8"/>
                <a:gd name="T11" fmla="*/ 29 h 34"/>
                <a:gd name="T12" fmla="*/ 4 w 8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4">
                  <a:moveTo>
                    <a:pt x="4" y="34"/>
                  </a:moveTo>
                  <a:cubicBezTo>
                    <a:pt x="2" y="34"/>
                    <a:pt x="0" y="32"/>
                    <a:pt x="0" y="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32"/>
                    <a:pt x="6" y="34"/>
                    <a:pt x="4" y="3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172" name="Freeform 1368">
            <a:extLst>
              <a:ext uri="{FF2B5EF4-FFF2-40B4-BE49-F238E27FC236}">
                <a16:creationId xmlns:a16="http://schemas.microsoft.com/office/drawing/2014/main" id="{DE07A939-65C1-47F0-AE3C-379CCA2C193B}"/>
              </a:ext>
            </a:extLst>
          </p:cNvPr>
          <p:cNvSpPr>
            <a:spLocks noEditPoints="1"/>
          </p:cNvSpPr>
          <p:nvPr/>
        </p:nvSpPr>
        <p:spPr bwMode="auto">
          <a:xfrm>
            <a:off x="5977406" y="3315819"/>
            <a:ext cx="226361" cy="271886"/>
          </a:xfrm>
          <a:custGeom>
            <a:avLst/>
            <a:gdLst>
              <a:gd name="T0" fmla="*/ 122 w 125"/>
              <a:gd name="T1" fmla="*/ 0 h 150"/>
              <a:gd name="T2" fmla="*/ 125 w 125"/>
              <a:gd name="T3" fmla="*/ 148 h 150"/>
              <a:gd name="T4" fmla="*/ 22 w 125"/>
              <a:gd name="T5" fmla="*/ 150 h 150"/>
              <a:gd name="T6" fmla="*/ 6 w 125"/>
              <a:gd name="T7" fmla="*/ 144 h 150"/>
              <a:gd name="T8" fmla="*/ 0 w 125"/>
              <a:gd name="T9" fmla="*/ 23 h 150"/>
              <a:gd name="T10" fmla="*/ 22 w 125"/>
              <a:gd name="T11" fmla="*/ 0 h 150"/>
              <a:gd name="T12" fmla="*/ 72 w 125"/>
              <a:gd name="T13" fmla="*/ 19 h 150"/>
              <a:gd name="T14" fmla="*/ 110 w 125"/>
              <a:gd name="T15" fmla="*/ 57 h 150"/>
              <a:gd name="T16" fmla="*/ 72 w 125"/>
              <a:gd name="T17" fmla="*/ 94 h 150"/>
              <a:gd name="T18" fmla="*/ 35 w 125"/>
              <a:gd name="T19" fmla="*/ 57 h 150"/>
              <a:gd name="T20" fmla="*/ 89 w 125"/>
              <a:gd name="T21" fmla="*/ 54 h 150"/>
              <a:gd name="T22" fmla="*/ 95 w 125"/>
              <a:gd name="T23" fmla="*/ 34 h 150"/>
              <a:gd name="T24" fmla="*/ 85 w 125"/>
              <a:gd name="T25" fmla="*/ 31 h 150"/>
              <a:gd name="T26" fmla="*/ 61 w 125"/>
              <a:gd name="T27" fmla="*/ 54 h 150"/>
              <a:gd name="T28" fmla="*/ 80 w 125"/>
              <a:gd name="T29" fmla="*/ 33 h 150"/>
              <a:gd name="T30" fmla="*/ 65 w 125"/>
              <a:gd name="T31" fmla="*/ 33 h 150"/>
              <a:gd name="T32" fmla="*/ 40 w 125"/>
              <a:gd name="T33" fmla="*/ 54 h 150"/>
              <a:gd name="T34" fmla="*/ 60 w 125"/>
              <a:gd name="T35" fmla="*/ 31 h 150"/>
              <a:gd name="T36" fmla="*/ 49 w 125"/>
              <a:gd name="T37" fmla="*/ 34 h 150"/>
              <a:gd name="T38" fmla="*/ 56 w 125"/>
              <a:gd name="T39" fmla="*/ 59 h 150"/>
              <a:gd name="T40" fmla="*/ 49 w 125"/>
              <a:gd name="T41" fmla="*/ 80 h 150"/>
              <a:gd name="T42" fmla="*/ 60 w 125"/>
              <a:gd name="T43" fmla="*/ 83 h 150"/>
              <a:gd name="T44" fmla="*/ 84 w 125"/>
              <a:gd name="T45" fmla="*/ 59 h 150"/>
              <a:gd name="T46" fmla="*/ 65 w 125"/>
              <a:gd name="T47" fmla="*/ 81 h 150"/>
              <a:gd name="T48" fmla="*/ 80 w 125"/>
              <a:gd name="T49" fmla="*/ 81 h 150"/>
              <a:gd name="T50" fmla="*/ 105 w 125"/>
              <a:gd name="T51" fmla="*/ 59 h 150"/>
              <a:gd name="T52" fmla="*/ 85 w 125"/>
              <a:gd name="T53" fmla="*/ 83 h 150"/>
              <a:gd name="T54" fmla="*/ 95 w 125"/>
              <a:gd name="T55" fmla="*/ 80 h 150"/>
              <a:gd name="T56" fmla="*/ 20 w 125"/>
              <a:gd name="T57" fmla="*/ 6 h 150"/>
              <a:gd name="T58" fmla="*/ 5 w 125"/>
              <a:gd name="T59" fmla="*/ 23 h 150"/>
              <a:gd name="T60" fmla="*/ 10 w 125"/>
              <a:gd name="T61" fmla="*/ 140 h 150"/>
              <a:gd name="T62" fmla="*/ 20 w 125"/>
              <a:gd name="T63" fmla="*/ 6 h 150"/>
              <a:gd name="T64" fmla="*/ 92 w 125"/>
              <a:gd name="T65" fmla="*/ 117 h 150"/>
              <a:gd name="T66" fmla="*/ 55 w 125"/>
              <a:gd name="T67" fmla="*/ 120 h 150"/>
              <a:gd name="T68" fmla="*/ 55 w 125"/>
              <a:gd name="T69" fmla="*/ 114 h 150"/>
              <a:gd name="T70" fmla="*/ 120 w 125"/>
              <a:gd name="T71" fmla="*/ 6 h 150"/>
              <a:gd name="T72" fmla="*/ 25 w 125"/>
              <a:gd name="T73" fmla="*/ 145 h 150"/>
              <a:gd name="T74" fmla="*/ 120 w 125"/>
              <a:gd name="T75" fmla="*/ 6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25" h="150">
                <a:moveTo>
                  <a:pt x="22" y="0"/>
                </a:moveTo>
                <a:cubicBezTo>
                  <a:pt x="122" y="0"/>
                  <a:pt x="122" y="0"/>
                  <a:pt x="122" y="0"/>
                </a:cubicBezTo>
                <a:cubicBezTo>
                  <a:pt x="124" y="0"/>
                  <a:pt x="125" y="2"/>
                  <a:pt x="125" y="3"/>
                </a:cubicBezTo>
                <a:cubicBezTo>
                  <a:pt x="125" y="148"/>
                  <a:pt x="125" y="148"/>
                  <a:pt x="125" y="148"/>
                </a:cubicBezTo>
                <a:cubicBezTo>
                  <a:pt x="125" y="149"/>
                  <a:pt x="124" y="150"/>
                  <a:pt x="122" y="150"/>
                </a:cubicBezTo>
                <a:cubicBezTo>
                  <a:pt x="22" y="150"/>
                  <a:pt x="22" y="150"/>
                  <a:pt x="22" y="150"/>
                </a:cubicBezTo>
                <a:cubicBezTo>
                  <a:pt x="22" y="150"/>
                  <a:pt x="22" y="150"/>
                  <a:pt x="22" y="150"/>
                </a:cubicBezTo>
                <a:cubicBezTo>
                  <a:pt x="16" y="150"/>
                  <a:pt x="11" y="148"/>
                  <a:pt x="6" y="144"/>
                </a:cubicBezTo>
                <a:cubicBezTo>
                  <a:pt x="2" y="140"/>
                  <a:pt x="0" y="134"/>
                  <a:pt x="0" y="128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7"/>
                  <a:pt x="2" y="11"/>
                  <a:pt x="6" y="7"/>
                </a:cubicBezTo>
                <a:cubicBezTo>
                  <a:pt x="11" y="3"/>
                  <a:pt x="16" y="0"/>
                  <a:pt x="22" y="0"/>
                </a:cubicBezTo>
                <a:close/>
                <a:moveTo>
                  <a:pt x="46" y="30"/>
                </a:moveTo>
                <a:cubicBezTo>
                  <a:pt x="53" y="23"/>
                  <a:pt x="62" y="19"/>
                  <a:pt x="72" y="19"/>
                </a:cubicBezTo>
                <a:cubicBezTo>
                  <a:pt x="83" y="19"/>
                  <a:pt x="92" y="23"/>
                  <a:pt x="99" y="30"/>
                </a:cubicBezTo>
                <a:cubicBezTo>
                  <a:pt x="106" y="37"/>
                  <a:pt x="110" y="46"/>
                  <a:pt x="110" y="57"/>
                </a:cubicBezTo>
                <a:cubicBezTo>
                  <a:pt x="110" y="67"/>
                  <a:pt x="106" y="77"/>
                  <a:pt x="99" y="83"/>
                </a:cubicBezTo>
                <a:cubicBezTo>
                  <a:pt x="92" y="90"/>
                  <a:pt x="83" y="94"/>
                  <a:pt x="72" y="94"/>
                </a:cubicBezTo>
                <a:cubicBezTo>
                  <a:pt x="62" y="94"/>
                  <a:pt x="53" y="90"/>
                  <a:pt x="46" y="83"/>
                </a:cubicBezTo>
                <a:cubicBezTo>
                  <a:pt x="39" y="77"/>
                  <a:pt x="35" y="67"/>
                  <a:pt x="35" y="57"/>
                </a:cubicBezTo>
                <a:cubicBezTo>
                  <a:pt x="35" y="46"/>
                  <a:pt x="39" y="37"/>
                  <a:pt x="46" y="30"/>
                </a:cubicBezTo>
                <a:moveTo>
                  <a:pt x="89" y="54"/>
                </a:moveTo>
                <a:cubicBezTo>
                  <a:pt x="105" y="54"/>
                  <a:pt x="105" y="54"/>
                  <a:pt x="105" y="54"/>
                </a:cubicBezTo>
                <a:cubicBezTo>
                  <a:pt x="104" y="46"/>
                  <a:pt x="101" y="39"/>
                  <a:pt x="95" y="34"/>
                </a:cubicBezTo>
                <a:cubicBezTo>
                  <a:pt x="92" y="30"/>
                  <a:pt x="87" y="27"/>
                  <a:pt x="82" y="26"/>
                </a:cubicBezTo>
                <a:cubicBezTo>
                  <a:pt x="83" y="27"/>
                  <a:pt x="84" y="29"/>
                  <a:pt x="85" y="31"/>
                </a:cubicBezTo>
                <a:cubicBezTo>
                  <a:pt x="87" y="37"/>
                  <a:pt x="89" y="45"/>
                  <a:pt x="89" y="54"/>
                </a:cubicBezTo>
                <a:moveTo>
                  <a:pt x="61" y="54"/>
                </a:moveTo>
                <a:cubicBezTo>
                  <a:pt x="84" y="54"/>
                  <a:pt x="84" y="54"/>
                  <a:pt x="84" y="54"/>
                </a:cubicBezTo>
                <a:cubicBezTo>
                  <a:pt x="83" y="46"/>
                  <a:pt x="82" y="38"/>
                  <a:pt x="80" y="33"/>
                </a:cubicBezTo>
                <a:cubicBezTo>
                  <a:pt x="78" y="27"/>
                  <a:pt x="75" y="24"/>
                  <a:pt x="72" y="24"/>
                </a:cubicBezTo>
                <a:cubicBezTo>
                  <a:pt x="70" y="24"/>
                  <a:pt x="67" y="27"/>
                  <a:pt x="65" y="33"/>
                </a:cubicBezTo>
                <a:cubicBezTo>
                  <a:pt x="63" y="38"/>
                  <a:pt x="62" y="46"/>
                  <a:pt x="61" y="54"/>
                </a:cubicBezTo>
                <a:moveTo>
                  <a:pt x="40" y="54"/>
                </a:moveTo>
                <a:cubicBezTo>
                  <a:pt x="56" y="54"/>
                  <a:pt x="56" y="54"/>
                  <a:pt x="56" y="54"/>
                </a:cubicBezTo>
                <a:cubicBezTo>
                  <a:pt x="56" y="45"/>
                  <a:pt x="58" y="37"/>
                  <a:pt x="60" y="31"/>
                </a:cubicBezTo>
                <a:cubicBezTo>
                  <a:pt x="61" y="29"/>
                  <a:pt x="62" y="27"/>
                  <a:pt x="63" y="26"/>
                </a:cubicBezTo>
                <a:cubicBezTo>
                  <a:pt x="58" y="27"/>
                  <a:pt x="53" y="30"/>
                  <a:pt x="49" y="34"/>
                </a:cubicBezTo>
                <a:cubicBezTo>
                  <a:pt x="44" y="39"/>
                  <a:pt x="41" y="46"/>
                  <a:pt x="40" y="54"/>
                </a:cubicBezTo>
                <a:moveTo>
                  <a:pt x="56" y="59"/>
                </a:moveTo>
                <a:cubicBezTo>
                  <a:pt x="40" y="59"/>
                  <a:pt x="40" y="59"/>
                  <a:pt x="40" y="59"/>
                </a:cubicBezTo>
                <a:cubicBezTo>
                  <a:pt x="41" y="67"/>
                  <a:pt x="44" y="74"/>
                  <a:pt x="49" y="80"/>
                </a:cubicBezTo>
                <a:cubicBezTo>
                  <a:pt x="53" y="84"/>
                  <a:pt x="58" y="86"/>
                  <a:pt x="63" y="88"/>
                </a:cubicBezTo>
                <a:cubicBezTo>
                  <a:pt x="62" y="86"/>
                  <a:pt x="61" y="85"/>
                  <a:pt x="60" y="83"/>
                </a:cubicBezTo>
                <a:cubicBezTo>
                  <a:pt x="58" y="76"/>
                  <a:pt x="56" y="68"/>
                  <a:pt x="56" y="59"/>
                </a:cubicBezTo>
                <a:moveTo>
                  <a:pt x="84" y="59"/>
                </a:moveTo>
                <a:cubicBezTo>
                  <a:pt x="61" y="59"/>
                  <a:pt x="61" y="59"/>
                  <a:pt x="61" y="59"/>
                </a:cubicBezTo>
                <a:cubicBezTo>
                  <a:pt x="62" y="68"/>
                  <a:pt x="63" y="75"/>
                  <a:pt x="65" y="81"/>
                </a:cubicBezTo>
                <a:cubicBezTo>
                  <a:pt x="67" y="86"/>
                  <a:pt x="70" y="89"/>
                  <a:pt x="72" y="89"/>
                </a:cubicBezTo>
                <a:cubicBezTo>
                  <a:pt x="75" y="89"/>
                  <a:pt x="78" y="86"/>
                  <a:pt x="80" y="81"/>
                </a:cubicBezTo>
                <a:cubicBezTo>
                  <a:pt x="82" y="75"/>
                  <a:pt x="83" y="68"/>
                  <a:pt x="84" y="59"/>
                </a:cubicBezTo>
                <a:moveTo>
                  <a:pt x="105" y="59"/>
                </a:moveTo>
                <a:cubicBezTo>
                  <a:pt x="89" y="59"/>
                  <a:pt x="89" y="59"/>
                  <a:pt x="89" y="59"/>
                </a:cubicBezTo>
                <a:cubicBezTo>
                  <a:pt x="89" y="68"/>
                  <a:pt x="87" y="76"/>
                  <a:pt x="85" y="83"/>
                </a:cubicBezTo>
                <a:cubicBezTo>
                  <a:pt x="84" y="85"/>
                  <a:pt x="83" y="86"/>
                  <a:pt x="82" y="88"/>
                </a:cubicBezTo>
                <a:cubicBezTo>
                  <a:pt x="87" y="86"/>
                  <a:pt x="92" y="84"/>
                  <a:pt x="95" y="80"/>
                </a:cubicBezTo>
                <a:cubicBezTo>
                  <a:pt x="101" y="74"/>
                  <a:pt x="104" y="67"/>
                  <a:pt x="105" y="59"/>
                </a:cubicBezTo>
                <a:moveTo>
                  <a:pt x="20" y="6"/>
                </a:moveTo>
                <a:cubicBezTo>
                  <a:pt x="16" y="6"/>
                  <a:pt x="13" y="8"/>
                  <a:pt x="10" y="11"/>
                </a:cubicBezTo>
                <a:cubicBezTo>
                  <a:pt x="7" y="14"/>
                  <a:pt x="5" y="18"/>
                  <a:pt x="5" y="23"/>
                </a:cubicBezTo>
                <a:cubicBezTo>
                  <a:pt x="5" y="128"/>
                  <a:pt x="5" y="128"/>
                  <a:pt x="5" y="128"/>
                </a:cubicBezTo>
                <a:cubicBezTo>
                  <a:pt x="5" y="133"/>
                  <a:pt x="7" y="137"/>
                  <a:pt x="10" y="140"/>
                </a:cubicBezTo>
                <a:cubicBezTo>
                  <a:pt x="13" y="143"/>
                  <a:pt x="16" y="145"/>
                  <a:pt x="20" y="145"/>
                </a:cubicBezTo>
                <a:lnTo>
                  <a:pt x="20" y="6"/>
                </a:lnTo>
                <a:close/>
                <a:moveTo>
                  <a:pt x="90" y="114"/>
                </a:moveTo>
                <a:cubicBezTo>
                  <a:pt x="91" y="114"/>
                  <a:pt x="92" y="116"/>
                  <a:pt x="92" y="117"/>
                </a:cubicBezTo>
                <a:cubicBezTo>
                  <a:pt x="92" y="118"/>
                  <a:pt x="91" y="120"/>
                  <a:pt x="90" y="120"/>
                </a:cubicBezTo>
                <a:cubicBezTo>
                  <a:pt x="55" y="120"/>
                  <a:pt x="55" y="120"/>
                  <a:pt x="55" y="120"/>
                </a:cubicBezTo>
                <a:cubicBezTo>
                  <a:pt x="54" y="120"/>
                  <a:pt x="53" y="118"/>
                  <a:pt x="53" y="117"/>
                </a:cubicBezTo>
                <a:cubicBezTo>
                  <a:pt x="53" y="116"/>
                  <a:pt x="54" y="114"/>
                  <a:pt x="55" y="114"/>
                </a:cubicBezTo>
                <a:lnTo>
                  <a:pt x="90" y="114"/>
                </a:lnTo>
                <a:close/>
                <a:moveTo>
                  <a:pt x="120" y="6"/>
                </a:moveTo>
                <a:cubicBezTo>
                  <a:pt x="25" y="6"/>
                  <a:pt x="25" y="6"/>
                  <a:pt x="25" y="6"/>
                </a:cubicBezTo>
                <a:cubicBezTo>
                  <a:pt x="25" y="145"/>
                  <a:pt x="25" y="145"/>
                  <a:pt x="25" y="145"/>
                </a:cubicBezTo>
                <a:cubicBezTo>
                  <a:pt x="120" y="145"/>
                  <a:pt x="120" y="145"/>
                  <a:pt x="120" y="145"/>
                </a:cubicBezTo>
                <a:lnTo>
                  <a:pt x="120" y="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3" name="Freeform 1369">
            <a:extLst>
              <a:ext uri="{FF2B5EF4-FFF2-40B4-BE49-F238E27FC236}">
                <a16:creationId xmlns:a16="http://schemas.microsoft.com/office/drawing/2014/main" id="{82C8ACBA-0BC8-49C2-8163-120695CC09CF}"/>
              </a:ext>
            </a:extLst>
          </p:cNvPr>
          <p:cNvSpPr>
            <a:spLocks noEditPoints="1"/>
          </p:cNvSpPr>
          <p:nvPr/>
        </p:nvSpPr>
        <p:spPr bwMode="auto">
          <a:xfrm>
            <a:off x="5933145" y="2380026"/>
            <a:ext cx="312353" cy="184629"/>
          </a:xfrm>
          <a:custGeom>
            <a:avLst/>
            <a:gdLst>
              <a:gd name="T0" fmla="*/ 51 w 172"/>
              <a:gd name="T1" fmla="*/ 21 h 102"/>
              <a:gd name="T2" fmla="*/ 59 w 172"/>
              <a:gd name="T3" fmla="*/ 29 h 102"/>
              <a:gd name="T4" fmla="*/ 59 w 172"/>
              <a:gd name="T5" fmla="*/ 29 h 102"/>
              <a:gd name="T6" fmla="*/ 80 w 172"/>
              <a:gd name="T7" fmla="*/ 60 h 102"/>
              <a:gd name="T8" fmla="*/ 58 w 172"/>
              <a:gd name="T9" fmla="*/ 68 h 102"/>
              <a:gd name="T10" fmla="*/ 65 w 172"/>
              <a:gd name="T11" fmla="*/ 80 h 102"/>
              <a:gd name="T12" fmla="*/ 52 w 172"/>
              <a:gd name="T13" fmla="*/ 78 h 102"/>
              <a:gd name="T14" fmla="*/ 40 w 172"/>
              <a:gd name="T15" fmla="*/ 81 h 102"/>
              <a:gd name="T16" fmla="*/ 36 w 172"/>
              <a:gd name="T17" fmla="*/ 73 h 102"/>
              <a:gd name="T18" fmla="*/ 24 w 172"/>
              <a:gd name="T19" fmla="*/ 63 h 102"/>
              <a:gd name="T20" fmla="*/ 21 w 172"/>
              <a:gd name="T21" fmla="*/ 53 h 102"/>
              <a:gd name="T22" fmla="*/ 43 w 172"/>
              <a:gd name="T23" fmla="*/ 29 h 102"/>
              <a:gd name="T24" fmla="*/ 50 w 172"/>
              <a:gd name="T25" fmla="*/ 21 h 102"/>
              <a:gd name="T26" fmla="*/ 48 w 172"/>
              <a:gd name="T27" fmla="*/ 27 h 102"/>
              <a:gd name="T28" fmla="*/ 48 w 172"/>
              <a:gd name="T29" fmla="*/ 41 h 102"/>
              <a:gd name="T30" fmla="*/ 45 w 172"/>
              <a:gd name="T31" fmla="*/ 51 h 102"/>
              <a:gd name="T32" fmla="*/ 47 w 172"/>
              <a:gd name="T33" fmla="*/ 72 h 102"/>
              <a:gd name="T34" fmla="*/ 50 w 172"/>
              <a:gd name="T35" fmla="*/ 73 h 102"/>
              <a:gd name="T36" fmla="*/ 60 w 172"/>
              <a:gd name="T37" fmla="*/ 75 h 102"/>
              <a:gd name="T38" fmla="*/ 56 w 172"/>
              <a:gd name="T39" fmla="*/ 51 h 102"/>
              <a:gd name="T40" fmla="*/ 55 w 172"/>
              <a:gd name="T41" fmla="*/ 44 h 102"/>
              <a:gd name="T42" fmla="*/ 54 w 172"/>
              <a:gd name="T43" fmla="*/ 29 h 102"/>
              <a:gd name="T44" fmla="*/ 51 w 172"/>
              <a:gd name="T45" fmla="*/ 26 h 102"/>
              <a:gd name="T46" fmla="*/ 149 w 172"/>
              <a:gd name="T47" fmla="*/ 24 h 102"/>
              <a:gd name="T48" fmla="*/ 98 w 172"/>
              <a:gd name="T49" fmla="*/ 46 h 102"/>
              <a:gd name="T50" fmla="*/ 133 w 172"/>
              <a:gd name="T51" fmla="*/ 43 h 102"/>
              <a:gd name="T52" fmla="*/ 95 w 172"/>
              <a:gd name="T53" fmla="*/ 59 h 102"/>
              <a:gd name="T54" fmla="*/ 149 w 172"/>
              <a:gd name="T55" fmla="*/ 62 h 102"/>
              <a:gd name="T56" fmla="*/ 98 w 172"/>
              <a:gd name="T57" fmla="*/ 73 h 102"/>
              <a:gd name="T58" fmla="*/ 98 w 172"/>
              <a:gd name="T59" fmla="*/ 78 h 102"/>
              <a:gd name="T60" fmla="*/ 19 w 172"/>
              <a:gd name="T61" fmla="*/ 32 h 102"/>
              <a:gd name="T62" fmla="*/ 14 w 172"/>
              <a:gd name="T63" fmla="*/ 97 h 102"/>
              <a:gd name="T64" fmla="*/ 167 w 172"/>
              <a:gd name="T65" fmla="*/ 13 h 102"/>
              <a:gd name="T66" fmla="*/ 9 w 172"/>
              <a:gd name="T67" fmla="*/ 27 h 102"/>
              <a:gd name="T68" fmla="*/ 27 w 172"/>
              <a:gd name="T69" fmla="*/ 9 h 102"/>
              <a:gd name="T70" fmla="*/ 169 w 172"/>
              <a:gd name="T71" fmla="*/ 4 h 102"/>
              <a:gd name="T72" fmla="*/ 159 w 172"/>
              <a:gd name="T73" fmla="*/ 102 h 102"/>
              <a:gd name="T74" fmla="*/ 0 w 172"/>
              <a:gd name="T75" fmla="*/ 30 h 102"/>
              <a:gd name="T76" fmla="*/ 0 w 172"/>
              <a:gd name="T77" fmla="*/ 28 h 102"/>
              <a:gd name="T78" fmla="*/ 1 w 172"/>
              <a:gd name="T79" fmla="*/ 28 h 102"/>
              <a:gd name="T80" fmla="*/ 1 w 172"/>
              <a:gd name="T81" fmla="*/ 28 h 102"/>
              <a:gd name="T82" fmla="*/ 1 w 172"/>
              <a:gd name="T83" fmla="*/ 28 h 102"/>
              <a:gd name="T84" fmla="*/ 1 w 172"/>
              <a:gd name="T85" fmla="*/ 28 h 102"/>
              <a:gd name="T86" fmla="*/ 28 w 172"/>
              <a:gd name="T87" fmla="*/ 1 h 102"/>
              <a:gd name="T88" fmla="*/ 28 w 172"/>
              <a:gd name="T89" fmla="*/ 0 h 102"/>
              <a:gd name="T90" fmla="*/ 28 w 172"/>
              <a:gd name="T91" fmla="*/ 0 h 102"/>
              <a:gd name="T92" fmla="*/ 28 w 172"/>
              <a:gd name="T93" fmla="*/ 0 h 102"/>
              <a:gd name="T94" fmla="*/ 28 w 172"/>
              <a:gd name="T95" fmla="*/ 0 h 102"/>
              <a:gd name="T96" fmla="*/ 28 w 172"/>
              <a:gd name="T97" fmla="*/ 0 h 102"/>
              <a:gd name="T98" fmla="*/ 29 w 172"/>
              <a:gd name="T99" fmla="*/ 0 h 102"/>
              <a:gd name="T100" fmla="*/ 29 w 172"/>
              <a:gd name="T101" fmla="*/ 0 h 102"/>
              <a:gd name="T102" fmla="*/ 29 w 172"/>
              <a:gd name="T103" fmla="*/ 0 h 102"/>
              <a:gd name="T104" fmla="*/ 29 w 172"/>
              <a:gd name="T105" fmla="*/ 0 h 102"/>
              <a:gd name="T106" fmla="*/ 29 w 172"/>
              <a:gd name="T107" fmla="*/ 0 h 102"/>
              <a:gd name="T108" fmla="*/ 29 w 172"/>
              <a:gd name="T109" fmla="*/ 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02">
                <a:moveTo>
                  <a:pt x="50" y="21"/>
                </a:moveTo>
                <a:cubicBezTo>
                  <a:pt x="51" y="21"/>
                  <a:pt x="51" y="21"/>
                  <a:pt x="51" y="21"/>
                </a:cubicBezTo>
                <a:cubicBezTo>
                  <a:pt x="51" y="21"/>
                  <a:pt x="51" y="21"/>
                  <a:pt x="51" y="21"/>
                </a:cubicBezTo>
                <a:cubicBezTo>
                  <a:pt x="51" y="21"/>
                  <a:pt x="51" y="21"/>
                  <a:pt x="51" y="21"/>
                </a:cubicBezTo>
                <a:cubicBezTo>
                  <a:pt x="51" y="21"/>
                  <a:pt x="51" y="21"/>
                  <a:pt x="51" y="21"/>
                </a:cubicBezTo>
                <a:cubicBezTo>
                  <a:pt x="51" y="21"/>
                  <a:pt x="51" y="21"/>
                  <a:pt x="51" y="21"/>
                </a:cubicBezTo>
                <a:cubicBezTo>
                  <a:pt x="53" y="21"/>
                  <a:pt x="55" y="22"/>
                  <a:pt x="56" y="23"/>
                </a:cubicBezTo>
                <a:cubicBezTo>
                  <a:pt x="58" y="25"/>
                  <a:pt x="59" y="27"/>
                  <a:pt x="59" y="29"/>
                </a:cubicBezTo>
                <a:cubicBezTo>
                  <a:pt x="59" y="29"/>
                  <a:pt x="59" y="29"/>
                  <a:pt x="59" y="29"/>
                </a:cubicBezTo>
                <a:cubicBezTo>
                  <a:pt x="59" y="29"/>
                  <a:pt x="59" y="29"/>
                  <a:pt x="59" y="29"/>
                </a:cubicBezTo>
                <a:cubicBezTo>
                  <a:pt x="59" y="29"/>
                  <a:pt x="59" y="29"/>
                  <a:pt x="59" y="29"/>
                </a:cubicBezTo>
                <a:cubicBezTo>
                  <a:pt x="59" y="29"/>
                  <a:pt x="59" y="29"/>
                  <a:pt x="59" y="29"/>
                </a:cubicBezTo>
                <a:cubicBezTo>
                  <a:pt x="58" y="40"/>
                  <a:pt x="58" y="40"/>
                  <a:pt x="58" y="40"/>
                </a:cubicBezTo>
                <a:cubicBezTo>
                  <a:pt x="79" y="51"/>
                  <a:pt x="79" y="51"/>
                  <a:pt x="79" y="51"/>
                </a:cubicBezTo>
                <a:cubicBezTo>
                  <a:pt x="80" y="51"/>
                  <a:pt x="80" y="52"/>
                  <a:pt x="80" y="53"/>
                </a:cubicBezTo>
                <a:cubicBezTo>
                  <a:pt x="80" y="60"/>
                  <a:pt x="80" y="60"/>
                  <a:pt x="80" y="60"/>
                </a:cubicBezTo>
                <a:cubicBezTo>
                  <a:pt x="80" y="60"/>
                  <a:pt x="80" y="61"/>
                  <a:pt x="80" y="61"/>
                </a:cubicBezTo>
                <a:cubicBezTo>
                  <a:pt x="80" y="62"/>
                  <a:pt x="78" y="63"/>
                  <a:pt x="77" y="63"/>
                </a:cubicBezTo>
                <a:cubicBezTo>
                  <a:pt x="58" y="57"/>
                  <a:pt x="58" y="57"/>
                  <a:pt x="58" y="57"/>
                </a:cubicBezTo>
                <a:cubicBezTo>
                  <a:pt x="58" y="68"/>
                  <a:pt x="58" y="68"/>
                  <a:pt x="58" y="68"/>
                </a:cubicBezTo>
                <a:cubicBezTo>
                  <a:pt x="63" y="71"/>
                  <a:pt x="63" y="71"/>
                  <a:pt x="63" y="71"/>
                </a:cubicBezTo>
                <a:cubicBezTo>
                  <a:pt x="64" y="71"/>
                  <a:pt x="65" y="72"/>
                  <a:pt x="65" y="73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79"/>
                  <a:pt x="65" y="79"/>
                  <a:pt x="65" y="80"/>
                </a:cubicBezTo>
                <a:cubicBezTo>
                  <a:pt x="64" y="81"/>
                  <a:pt x="63" y="82"/>
                  <a:pt x="62" y="81"/>
                </a:cubicBezTo>
                <a:cubicBezTo>
                  <a:pt x="52" y="78"/>
                  <a:pt x="52" y="78"/>
                  <a:pt x="52" y="78"/>
                </a:cubicBezTo>
                <a:cubicBezTo>
                  <a:pt x="52" y="78"/>
                  <a:pt x="52" y="78"/>
                  <a:pt x="52" y="78"/>
                </a:cubicBezTo>
                <a:cubicBezTo>
                  <a:pt x="52" y="78"/>
                  <a:pt x="52" y="78"/>
                  <a:pt x="52" y="78"/>
                </a:cubicBezTo>
                <a:cubicBezTo>
                  <a:pt x="51" y="78"/>
                  <a:pt x="51" y="78"/>
                  <a:pt x="51" y="78"/>
                </a:cubicBezTo>
                <a:cubicBezTo>
                  <a:pt x="50" y="78"/>
                  <a:pt x="50" y="78"/>
                  <a:pt x="50" y="78"/>
                </a:cubicBezTo>
                <a:cubicBezTo>
                  <a:pt x="49" y="78"/>
                  <a:pt x="49" y="78"/>
                  <a:pt x="49" y="78"/>
                </a:cubicBezTo>
                <a:cubicBezTo>
                  <a:pt x="40" y="81"/>
                  <a:pt x="40" y="81"/>
                  <a:pt x="40" y="81"/>
                </a:cubicBezTo>
                <a:cubicBezTo>
                  <a:pt x="39" y="81"/>
                  <a:pt x="39" y="81"/>
                  <a:pt x="39" y="81"/>
                </a:cubicBezTo>
                <a:cubicBezTo>
                  <a:pt x="38" y="81"/>
                  <a:pt x="36" y="80"/>
                  <a:pt x="36" y="79"/>
                </a:cubicBezTo>
                <a:cubicBezTo>
                  <a:pt x="36" y="73"/>
                  <a:pt x="36" y="73"/>
                  <a:pt x="36" y="73"/>
                </a:cubicBezTo>
                <a:cubicBezTo>
                  <a:pt x="36" y="73"/>
                  <a:pt x="36" y="73"/>
                  <a:pt x="36" y="73"/>
                </a:cubicBezTo>
                <a:cubicBezTo>
                  <a:pt x="36" y="72"/>
                  <a:pt x="37" y="72"/>
                  <a:pt x="38" y="71"/>
                </a:cubicBezTo>
                <a:cubicBezTo>
                  <a:pt x="44" y="68"/>
                  <a:pt x="44" y="68"/>
                  <a:pt x="44" y="68"/>
                </a:cubicBezTo>
                <a:cubicBezTo>
                  <a:pt x="43" y="57"/>
                  <a:pt x="43" y="57"/>
                  <a:pt x="43" y="57"/>
                </a:cubicBezTo>
                <a:cubicBezTo>
                  <a:pt x="24" y="63"/>
                  <a:pt x="24" y="63"/>
                  <a:pt x="24" y="63"/>
                </a:cubicBezTo>
                <a:cubicBezTo>
                  <a:pt x="24" y="63"/>
                  <a:pt x="24" y="63"/>
                  <a:pt x="23" y="63"/>
                </a:cubicBezTo>
                <a:cubicBezTo>
                  <a:pt x="22" y="63"/>
                  <a:pt x="21" y="62"/>
                  <a:pt x="21" y="60"/>
                </a:cubicBezTo>
                <a:cubicBezTo>
                  <a:pt x="21" y="53"/>
                  <a:pt x="21" y="53"/>
                  <a:pt x="21" y="53"/>
                </a:cubicBezTo>
                <a:cubicBezTo>
                  <a:pt x="21" y="53"/>
                  <a:pt x="21" y="53"/>
                  <a:pt x="21" y="53"/>
                </a:cubicBezTo>
                <a:cubicBezTo>
                  <a:pt x="21" y="52"/>
                  <a:pt x="21" y="51"/>
                  <a:pt x="22" y="51"/>
                </a:cubicBezTo>
                <a:cubicBezTo>
                  <a:pt x="43" y="40"/>
                  <a:pt x="43" y="40"/>
                  <a:pt x="43" y="40"/>
                </a:cubicBezTo>
                <a:cubicBezTo>
                  <a:pt x="43" y="29"/>
                  <a:pt x="43" y="29"/>
                  <a:pt x="43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43" y="27"/>
                  <a:pt x="43" y="25"/>
                  <a:pt x="45" y="23"/>
                </a:cubicBezTo>
                <a:cubicBezTo>
                  <a:pt x="46" y="22"/>
                  <a:pt x="48" y="21"/>
                  <a:pt x="50" y="21"/>
                </a:cubicBezTo>
                <a:cubicBezTo>
                  <a:pt x="50" y="21"/>
                  <a:pt x="50" y="21"/>
                  <a:pt x="50" y="21"/>
                </a:cubicBezTo>
                <a:close/>
                <a:moveTo>
                  <a:pt x="51" y="26"/>
                </a:moveTo>
                <a:cubicBezTo>
                  <a:pt x="51" y="26"/>
                  <a:pt x="51" y="26"/>
                  <a:pt x="51" y="26"/>
                </a:cubicBezTo>
                <a:cubicBezTo>
                  <a:pt x="50" y="26"/>
                  <a:pt x="49" y="26"/>
                  <a:pt x="48" y="27"/>
                </a:cubicBezTo>
                <a:cubicBezTo>
                  <a:pt x="48" y="27"/>
                  <a:pt x="48" y="28"/>
                  <a:pt x="48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48" y="41"/>
                  <a:pt x="48" y="41"/>
                  <a:pt x="48" y="41"/>
                </a:cubicBezTo>
                <a:cubicBezTo>
                  <a:pt x="48" y="42"/>
                  <a:pt x="47" y="43"/>
                  <a:pt x="47" y="44"/>
                </a:cubicBezTo>
                <a:cubicBezTo>
                  <a:pt x="26" y="55"/>
                  <a:pt x="26" y="55"/>
                  <a:pt x="26" y="55"/>
                </a:cubicBezTo>
                <a:cubicBezTo>
                  <a:pt x="26" y="57"/>
                  <a:pt x="26" y="57"/>
                  <a:pt x="26" y="57"/>
                </a:cubicBezTo>
                <a:cubicBezTo>
                  <a:pt x="45" y="51"/>
                  <a:pt x="45" y="51"/>
                  <a:pt x="45" y="51"/>
                </a:cubicBezTo>
                <a:cubicBezTo>
                  <a:pt x="47" y="51"/>
                  <a:pt x="48" y="52"/>
                  <a:pt x="48" y="53"/>
                </a:cubicBezTo>
                <a:cubicBezTo>
                  <a:pt x="48" y="53"/>
                  <a:pt x="48" y="54"/>
                  <a:pt x="48" y="54"/>
                </a:cubicBezTo>
                <a:cubicBezTo>
                  <a:pt x="49" y="69"/>
                  <a:pt x="49" y="69"/>
                  <a:pt x="49" y="69"/>
                </a:cubicBezTo>
                <a:cubicBezTo>
                  <a:pt x="49" y="70"/>
                  <a:pt x="48" y="71"/>
                  <a:pt x="47" y="72"/>
                </a:cubicBezTo>
                <a:cubicBezTo>
                  <a:pt x="41" y="75"/>
                  <a:pt x="41" y="75"/>
                  <a:pt x="41" y="75"/>
                </a:cubicBezTo>
                <a:cubicBezTo>
                  <a:pt x="41" y="75"/>
                  <a:pt x="41" y="75"/>
                  <a:pt x="41" y="75"/>
                </a:cubicBezTo>
                <a:cubicBezTo>
                  <a:pt x="48" y="74"/>
                  <a:pt x="48" y="74"/>
                  <a:pt x="48" y="74"/>
                </a:cubicBezTo>
                <a:cubicBezTo>
                  <a:pt x="50" y="73"/>
                  <a:pt x="50" y="73"/>
                  <a:pt x="50" y="73"/>
                </a:cubicBezTo>
                <a:cubicBezTo>
                  <a:pt x="50" y="73"/>
                  <a:pt x="51" y="73"/>
                  <a:pt x="51" y="73"/>
                </a:cubicBezTo>
                <a:cubicBezTo>
                  <a:pt x="53" y="74"/>
                  <a:pt x="53" y="74"/>
                  <a:pt x="53" y="74"/>
                </a:cubicBezTo>
                <a:cubicBezTo>
                  <a:pt x="60" y="75"/>
                  <a:pt x="60" y="75"/>
                  <a:pt x="60" y="75"/>
                </a:cubicBezTo>
                <a:cubicBezTo>
                  <a:pt x="60" y="75"/>
                  <a:pt x="60" y="75"/>
                  <a:pt x="60" y="75"/>
                </a:cubicBezTo>
                <a:cubicBezTo>
                  <a:pt x="54" y="72"/>
                  <a:pt x="54" y="72"/>
                  <a:pt x="54" y="72"/>
                </a:cubicBezTo>
                <a:cubicBezTo>
                  <a:pt x="53" y="71"/>
                  <a:pt x="52" y="70"/>
                  <a:pt x="52" y="69"/>
                </a:cubicBezTo>
                <a:cubicBezTo>
                  <a:pt x="53" y="54"/>
                  <a:pt x="53" y="54"/>
                  <a:pt x="53" y="54"/>
                </a:cubicBezTo>
                <a:cubicBezTo>
                  <a:pt x="53" y="52"/>
                  <a:pt x="54" y="51"/>
                  <a:pt x="56" y="51"/>
                </a:cubicBezTo>
                <a:cubicBezTo>
                  <a:pt x="56" y="51"/>
                  <a:pt x="56" y="51"/>
                  <a:pt x="56" y="51"/>
                </a:cubicBezTo>
                <a:cubicBezTo>
                  <a:pt x="75" y="57"/>
                  <a:pt x="75" y="57"/>
                  <a:pt x="75" y="57"/>
                </a:cubicBezTo>
                <a:cubicBezTo>
                  <a:pt x="75" y="55"/>
                  <a:pt x="75" y="55"/>
                  <a:pt x="75" y="55"/>
                </a:cubicBezTo>
                <a:cubicBezTo>
                  <a:pt x="55" y="44"/>
                  <a:pt x="55" y="44"/>
                  <a:pt x="55" y="44"/>
                </a:cubicBezTo>
                <a:cubicBezTo>
                  <a:pt x="54" y="43"/>
                  <a:pt x="53" y="42"/>
                  <a:pt x="53" y="41"/>
                </a:cubicBezTo>
                <a:cubicBezTo>
                  <a:pt x="54" y="29"/>
                  <a:pt x="54" y="29"/>
                  <a:pt x="54" y="29"/>
                </a:cubicBezTo>
                <a:cubicBezTo>
                  <a:pt x="54" y="29"/>
                  <a:pt x="54" y="29"/>
                  <a:pt x="54" y="29"/>
                </a:cubicBezTo>
                <a:cubicBezTo>
                  <a:pt x="54" y="29"/>
                  <a:pt x="54" y="29"/>
                  <a:pt x="54" y="29"/>
                </a:cubicBezTo>
                <a:cubicBezTo>
                  <a:pt x="54" y="29"/>
                  <a:pt x="54" y="29"/>
                  <a:pt x="54" y="29"/>
                </a:cubicBezTo>
                <a:cubicBezTo>
                  <a:pt x="54" y="28"/>
                  <a:pt x="53" y="27"/>
                  <a:pt x="53" y="27"/>
                </a:cubicBezTo>
                <a:cubicBezTo>
                  <a:pt x="52" y="26"/>
                  <a:pt x="52" y="26"/>
                  <a:pt x="51" y="26"/>
                </a:cubicBezTo>
                <a:cubicBezTo>
                  <a:pt x="51" y="26"/>
                  <a:pt x="51" y="26"/>
                  <a:pt x="51" y="26"/>
                </a:cubicBezTo>
                <a:close/>
                <a:moveTo>
                  <a:pt x="98" y="29"/>
                </a:moveTo>
                <a:cubicBezTo>
                  <a:pt x="96" y="29"/>
                  <a:pt x="95" y="28"/>
                  <a:pt x="95" y="27"/>
                </a:cubicBezTo>
                <a:cubicBezTo>
                  <a:pt x="95" y="25"/>
                  <a:pt x="96" y="24"/>
                  <a:pt x="98" y="24"/>
                </a:cubicBezTo>
                <a:cubicBezTo>
                  <a:pt x="149" y="24"/>
                  <a:pt x="149" y="24"/>
                  <a:pt x="149" y="24"/>
                </a:cubicBezTo>
                <a:cubicBezTo>
                  <a:pt x="151" y="24"/>
                  <a:pt x="152" y="25"/>
                  <a:pt x="152" y="27"/>
                </a:cubicBezTo>
                <a:cubicBezTo>
                  <a:pt x="152" y="28"/>
                  <a:pt x="151" y="29"/>
                  <a:pt x="149" y="29"/>
                </a:cubicBezTo>
                <a:lnTo>
                  <a:pt x="98" y="29"/>
                </a:lnTo>
                <a:close/>
                <a:moveTo>
                  <a:pt x="98" y="46"/>
                </a:moveTo>
                <a:cubicBezTo>
                  <a:pt x="96" y="46"/>
                  <a:pt x="95" y="44"/>
                  <a:pt x="95" y="43"/>
                </a:cubicBezTo>
                <a:cubicBezTo>
                  <a:pt x="95" y="42"/>
                  <a:pt x="96" y="40"/>
                  <a:pt x="98" y="40"/>
                </a:cubicBezTo>
                <a:cubicBezTo>
                  <a:pt x="131" y="40"/>
                  <a:pt x="131" y="40"/>
                  <a:pt x="131" y="40"/>
                </a:cubicBezTo>
                <a:cubicBezTo>
                  <a:pt x="132" y="40"/>
                  <a:pt x="133" y="42"/>
                  <a:pt x="133" y="43"/>
                </a:cubicBezTo>
                <a:cubicBezTo>
                  <a:pt x="133" y="44"/>
                  <a:pt x="132" y="46"/>
                  <a:pt x="131" y="46"/>
                </a:cubicBezTo>
                <a:lnTo>
                  <a:pt x="98" y="46"/>
                </a:lnTo>
                <a:close/>
                <a:moveTo>
                  <a:pt x="98" y="62"/>
                </a:moveTo>
                <a:cubicBezTo>
                  <a:pt x="96" y="62"/>
                  <a:pt x="95" y="61"/>
                  <a:pt x="95" y="59"/>
                </a:cubicBezTo>
                <a:cubicBezTo>
                  <a:pt x="95" y="58"/>
                  <a:pt x="96" y="57"/>
                  <a:pt x="98" y="57"/>
                </a:cubicBezTo>
                <a:cubicBezTo>
                  <a:pt x="149" y="57"/>
                  <a:pt x="149" y="57"/>
                  <a:pt x="149" y="57"/>
                </a:cubicBezTo>
                <a:cubicBezTo>
                  <a:pt x="151" y="57"/>
                  <a:pt x="152" y="58"/>
                  <a:pt x="152" y="59"/>
                </a:cubicBezTo>
                <a:cubicBezTo>
                  <a:pt x="152" y="61"/>
                  <a:pt x="151" y="62"/>
                  <a:pt x="149" y="62"/>
                </a:cubicBezTo>
                <a:lnTo>
                  <a:pt x="98" y="62"/>
                </a:lnTo>
                <a:close/>
                <a:moveTo>
                  <a:pt x="98" y="78"/>
                </a:moveTo>
                <a:cubicBezTo>
                  <a:pt x="96" y="78"/>
                  <a:pt x="95" y="77"/>
                  <a:pt x="95" y="75"/>
                </a:cubicBezTo>
                <a:cubicBezTo>
                  <a:pt x="95" y="74"/>
                  <a:pt x="96" y="73"/>
                  <a:pt x="98" y="73"/>
                </a:cubicBezTo>
                <a:cubicBezTo>
                  <a:pt x="131" y="73"/>
                  <a:pt x="131" y="73"/>
                  <a:pt x="131" y="73"/>
                </a:cubicBezTo>
                <a:cubicBezTo>
                  <a:pt x="132" y="73"/>
                  <a:pt x="133" y="74"/>
                  <a:pt x="133" y="75"/>
                </a:cubicBezTo>
                <a:cubicBezTo>
                  <a:pt x="133" y="77"/>
                  <a:pt x="132" y="78"/>
                  <a:pt x="131" y="78"/>
                </a:cubicBezTo>
                <a:lnTo>
                  <a:pt x="98" y="78"/>
                </a:lnTo>
                <a:close/>
                <a:moveTo>
                  <a:pt x="33" y="5"/>
                </a:moveTo>
                <a:cubicBezTo>
                  <a:pt x="33" y="19"/>
                  <a:pt x="33" y="19"/>
                  <a:pt x="33" y="19"/>
                </a:cubicBezTo>
                <a:cubicBezTo>
                  <a:pt x="33" y="23"/>
                  <a:pt x="31" y="26"/>
                  <a:pt x="29" y="28"/>
                </a:cubicBezTo>
                <a:cubicBezTo>
                  <a:pt x="26" y="31"/>
                  <a:pt x="23" y="32"/>
                  <a:pt x="19" y="32"/>
                </a:cubicBezTo>
                <a:cubicBezTo>
                  <a:pt x="5" y="32"/>
                  <a:pt x="5" y="32"/>
                  <a:pt x="5" y="32"/>
                </a:cubicBezTo>
                <a:cubicBezTo>
                  <a:pt x="5" y="89"/>
                  <a:pt x="5" y="89"/>
                  <a:pt x="5" y="89"/>
                </a:cubicBezTo>
                <a:cubicBezTo>
                  <a:pt x="5" y="91"/>
                  <a:pt x="6" y="93"/>
                  <a:pt x="8" y="95"/>
                </a:cubicBezTo>
                <a:cubicBezTo>
                  <a:pt x="9" y="96"/>
                  <a:pt x="11" y="97"/>
                  <a:pt x="14" y="97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61" y="97"/>
                  <a:pt x="163" y="96"/>
                  <a:pt x="165" y="95"/>
                </a:cubicBezTo>
                <a:cubicBezTo>
                  <a:pt x="166" y="93"/>
                  <a:pt x="167" y="91"/>
                  <a:pt x="167" y="89"/>
                </a:cubicBezTo>
                <a:cubicBezTo>
                  <a:pt x="167" y="13"/>
                  <a:pt x="167" y="13"/>
                  <a:pt x="167" y="13"/>
                </a:cubicBezTo>
                <a:cubicBezTo>
                  <a:pt x="167" y="11"/>
                  <a:pt x="166" y="9"/>
                  <a:pt x="165" y="7"/>
                </a:cubicBezTo>
                <a:cubicBezTo>
                  <a:pt x="163" y="6"/>
                  <a:pt x="161" y="5"/>
                  <a:pt x="159" y="5"/>
                </a:cubicBezTo>
                <a:lnTo>
                  <a:pt x="33" y="5"/>
                </a:lnTo>
                <a:close/>
                <a:moveTo>
                  <a:pt x="9" y="27"/>
                </a:moveTo>
                <a:cubicBezTo>
                  <a:pt x="19" y="27"/>
                  <a:pt x="19" y="27"/>
                  <a:pt x="19" y="27"/>
                </a:cubicBezTo>
                <a:cubicBezTo>
                  <a:pt x="21" y="27"/>
                  <a:pt x="24" y="26"/>
                  <a:pt x="25" y="25"/>
                </a:cubicBezTo>
                <a:cubicBezTo>
                  <a:pt x="27" y="23"/>
                  <a:pt x="27" y="21"/>
                  <a:pt x="27" y="19"/>
                </a:cubicBezTo>
                <a:cubicBezTo>
                  <a:pt x="27" y="9"/>
                  <a:pt x="27" y="9"/>
                  <a:pt x="27" y="9"/>
                </a:cubicBezTo>
                <a:lnTo>
                  <a:pt x="9" y="27"/>
                </a:lnTo>
                <a:close/>
                <a:moveTo>
                  <a:pt x="30" y="0"/>
                </a:moveTo>
                <a:cubicBezTo>
                  <a:pt x="159" y="0"/>
                  <a:pt x="159" y="0"/>
                  <a:pt x="159" y="0"/>
                </a:cubicBezTo>
                <a:cubicBezTo>
                  <a:pt x="163" y="0"/>
                  <a:pt x="166" y="1"/>
                  <a:pt x="169" y="4"/>
                </a:cubicBezTo>
                <a:cubicBezTo>
                  <a:pt x="171" y="6"/>
                  <a:pt x="172" y="10"/>
                  <a:pt x="172" y="13"/>
                </a:cubicBezTo>
                <a:cubicBezTo>
                  <a:pt x="172" y="89"/>
                  <a:pt x="172" y="89"/>
                  <a:pt x="172" y="89"/>
                </a:cubicBezTo>
                <a:cubicBezTo>
                  <a:pt x="172" y="93"/>
                  <a:pt x="171" y="96"/>
                  <a:pt x="169" y="98"/>
                </a:cubicBezTo>
                <a:cubicBezTo>
                  <a:pt x="166" y="101"/>
                  <a:pt x="163" y="102"/>
                  <a:pt x="159" y="102"/>
                </a:cubicBezTo>
                <a:cubicBezTo>
                  <a:pt x="14" y="102"/>
                  <a:pt x="14" y="102"/>
                  <a:pt x="14" y="102"/>
                </a:cubicBezTo>
                <a:cubicBezTo>
                  <a:pt x="10" y="102"/>
                  <a:pt x="7" y="101"/>
                  <a:pt x="4" y="98"/>
                </a:cubicBezTo>
                <a:cubicBezTo>
                  <a:pt x="2" y="96"/>
                  <a:pt x="0" y="93"/>
                  <a:pt x="0" y="89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29"/>
                  <a:pt x="0" y="29"/>
                  <a:pt x="0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1" y="28"/>
                  <a:pt x="1" y="28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30" y="0"/>
                  <a:pt x="30" y="0"/>
                </a:cubicBezTo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4" name="Freeform 1370">
            <a:extLst>
              <a:ext uri="{FF2B5EF4-FFF2-40B4-BE49-F238E27FC236}">
                <a16:creationId xmlns:a16="http://schemas.microsoft.com/office/drawing/2014/main" id="{01E45411-5A43-4D77-B4DD-BDF790B2B47D}"/>
              </a:ext>
            </a:extLst>
          </p:cNvPr>
          <p:cNvSpPr>
            <a:spLocks noEditPoints="1"/>
          </p:cNvSpPr>
          <p:nvPr/>
        </p:nvSpPr>
        <p:spPr bwMode="auto">
          <a:xfrm>
            <a:off x="7163587" y="3344904"/>
            <a:ext cx="313617" cy="208657"/>
          </a:xfrm>
          <a:custGeom>
            <a:avLst/>
            <a:gdLst>
              <a:gd name="T0" fmla="*/ 67 w 173"/>
              <a:gd name="T1" fmla="*/ 8 h 115"/>
              <a:gd name="T2" fmla="*/ 73 w 173"/>
              <a:gd name="T3" fmla="*/ 25 h 115"/>
              <a:gd name="T4" fmla="*/ 80 w 173"/>
              <a:gd name="T5" fmla="*/ 8 h 115"/>
              <a:gd name="T6" fmla="*/ 88 w 173"/>
              <a:gd name="T7" fmla="*/ 15 h 115"/>
              <a:gd name="T8" fmla="*/ 63 w 173"/>
              <a:gd name="T9" fmla="*/ 25 h 115"/>
              <a:gd name="T10" fmla="*/ 73 w 173"/>
              <a:gd name="T11" fmla="*/ 0 h 115"/>
              <a:gd name="T12" fmla="*/ 66 w 173"/>
              <a:gd name="T13" fmla="*/ 77 h 115"/>
              <a:gd name="T14" fmla="*/ 15 w 173"/>
              <a:gd name="T15" fmla="*/ 90 h 115"/>
              <a:gd name="T16" fmla="*/ 8 w 173"/>
              <a:gd name="T17" fmla="*/ 106 h 115"/>
              <a:gd name="T18" fmla="*/ 60 w 173"/>
              <a:gd name="T19" fmla="*/ 108 h 115"/>
              <a:gd name="T20" fmla="*/ 119 w 173"/>
              <a:gd name="T21" fmla="*/ 50 h 115"/>
              <a:gd name="T22" fmla="*/ 165 w 173"/>
              <a:gd name="T23" fmla="*/ 46 h 115"/>
              <a:gd name="T24" fmla="*/ 158 w 173"/>
              <a:gd name="T25" fmla="*/ 30 h 115"/>
              <a:gd name="T26" fmla="*/ 112 w 173"/>
              <a:gd name="T27" fmla="*/ 31 h 115"/>
              <a:gd name="T28" fmla="*/ 112 w 173"/>
              <a:gd name="T29" fmla="*/ 31 h 115"/>
              <a:gd name="T30" fmla="*/ 111 w 173"/>
              <a:gd name="T31" fmla="*/ 31 h 115"/>
              <a:gd name="T32" fmla="*/ 111 w 173"/>
              <a:gd name="T33" fmla="*/ 32 h 115"/>
              <a:gd name="T34" fmla="*/ 110 w 173"/>
              <a:gd name="T35" fmla="*/ 32 h 115"/>
              <a:gd name="T36" fmla="*/ 109 w 173"/>
              <a:gd name="T37" fmla="*/ 33 h 115"/>
              <a:gd name="T38" fmla="*/ 85 w 173"/>
              <a:gd name="T39" fmla="*/ 57 h 115"/>
              <a:gd name="T40" fmla="*/ 66 w 173"/>
              <a:gd name="T41" fmla="*/ 69 h 115"/>
              <a:gd name="T42" fmla="*/ 81 w 173"/>
              <a:gd name="T43" fmla="*/ 48 h 115"/>
              <a:gd name="T44" fmla="*/ 68 w 173"/>
              <a:gd name="T45" fmla="*/ 43 h 115"/>
              <a:gd name="T46" fmla="*/ 132 w 173"/>
              <a:gd name="T47" fmla="*/ 80 h 115"/>
              <a:gd name="T48" fmla="*/ 127 w 173"/>
              <a:gd name="T49" fmla="*/ 95 h 115"/>
              <a:gd name="T50" fmla="*/ 95 w 173"/>
              <a:gd name="T51" fmla="*/ 114 h 115"/>
              <a:gd name="T52" fmla="*/ 114 w 173"/>
              <a:gd name="T53" fmla="*/ 83 h 115"/>
              <a:gd name="T54" fmla="*/ 129 w 173"/>
              <a:gd name="T55" fmla="*/ 78 h 115"/>
              <a:gd name="T56" fmla="*/ 106 w 173"/>
              <a:gd name="T57" fmla="*/ 29 h 115"/>
              <a:gd name="T58" fmla="*/ 107 w 173"/>
              <a:gd name="T59" fmla="*/ 28 h 115"/>
              <a:gd name="T60" fmla="*/ 108 w 173"/>
              <a:gd name="T61" fmla="*/ 27 h 115"/>
              <a:gd name="T62" fmla="*/ 108 w 173"/>
              <a:gd name="T63" fmla="*/ 27 h 115"/>
              <a:gd name="T64" fmla="*/ 109 w 173"/>
              <a:gd name="T65" fmla="*/ 27 h 115"/>
              <a:gd name="T66" fmla="*/ 109 w 173"/>
              <a:gd name="T67" fmla="*/ 27 h 115"/>
              <a:gd name="T68" fmla="*/ 113 w 173"/>
              <a:gd name="T69" fmla="*/ 25 h 115"/>
              <a:gd name="T70" fmla="*/ 168 w 173"/>
              <a:gd name="T71" fmla="*/ 29 h 115"/>
              <a:gd name="T72" fmla="*/ 158 w 173"/>
              <a:gd name="T73" fmla="*/ 54 h 115"/>
              <a:gd name="T74" fmla="*/ 67 w 173"/>
              <a:gd name="T75" fmla="*/ 109 h 115"/>
              <a:gd name="T76" fmla="*/ 15 w 173"/>
              <a:gd name="T77" fmla="*/ 114 h 115"/>
              <a:gd name="T78" fmla="*/ 5 w 173"/>
              <a:gd name="T79" fmla="*/ 89 h 115"/>
              <a:gd name="T80" fmla="*/ 61 w 173"/>
              <a:gd name="T81" fmla="*/ 74 h 115"/>
              <a:gd name="T82" fmla="*/ 73 w 173"/>
              <a:gd name="T83" fmla="*/ 35 h 115"/>
              <a:gd name="T84" fmla="*/ 86 w 173"/>
              <a:gd name="T85" fmla="*/ 49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15">
                <a:moveTo>
                  <a:pt x="80" y="8"/>
                </a:moveTo>
                <a:cubicBezTo>
                  <a:pt x="79" y="6"/>
                  <a:pt x="76" y="5"/>
                  <a:pt x="73" y="5"/>
                </a:cubicBezTo>
                <a:cubicBezTo>
                  <a:pt x="71" y="5"/>
                  <a:pt x="68" y="6"/>
                  <a:pt x="67" y="8"/>
                </a:cubicBezTo>
                <a:cubicBezTo>
                  <a:pt x="65" y="10"/>
                  <a:pt x="64" y="12"/>
                  <a:pt x="64" y="15"/>
                </a:cubicBezTo>
                <a:cubicBezTo>
                  <a:pt x="64" y="18"/>
                  <a:pt x="65" y="20"/>
                  <a:pt x="67" y="22"/>
                </a:cubicBezTo>
                <a:cubicBezTo>
                  <a:pt x="68" y="24"/>
                  <a:pt x="71" y="25"/>
                  <a:pt x="73" y="25"/>
                </a:cubicBezTo>
                <a:cubicBezTo>
                  <a:pt x="76" y="25"/>
                  <a:pt x="79" y="24"/>
                  <a:pt x="80" y="22"/>
                </a:cubicBezTo>
                <a:cubicBezTo>
                  <a:pt x="82" y="20"/>
                  <a:pt x="83" y="18"/>
                  <a:pt x="83" y="15"/>
                </a:cubicBezTo>
                <a:cubicBezTo>
                  <a:pt x="83" y="12"/>
                  <a:pt x="82" y="10"/>
                  <a:pt x="80" y="8"/>
                </a:cubicBezTo>
                <a:moveTo>
                  <a:pt x="73" y="0"/>
                </a:moveTo>
                <a:cubicBezTo>
                  <a:pt x="78" y="0"/>
                  <a:pt x="81" y="2"/>
                  <a:pt x="84" y="5"/>
                </a:cubicBezTo>
                <a:cubicBezTo>
                  <a:pt x="87" y="7"/>
                  <a:pt x="88" y="11"/>
                  <a:pt x="88" y="15"/>
                </a:cubicBezTo>
                <a:cubicBezTo>
                  <a:pt x="88" y="19"/>
                  <a:pt x="87" y="23"/>
                  <a:pt x="84" y="25"/>
                </a:cubicBezTo>
                <a:cubicBezTo>
                  <a:pt x="81" y="28"/>
                  <a:pt x="78" y="30"/>
                  <a:pt x="73" y="30"/>
                </a:cubicBezTo>
                <a:cubicBezTo>
                  <a:pt x="69" y="30"/>
                  <a:pt x="66" y="28"/>
                  <a:pt x="63" y="25"/>
                </a:cubicBezTo>
                <a:cubicBezTo>
                  <a:pt x="60" y="23"/>
                  <a:pt x="59" y="19"/>
                  <a:pt x="59" y="15"/>
                </a:cubicBezTo>
                <a:cubicBezTo>
                  <a:pt x="59" y="11"/>
                  <a:pt x="60" y="7"/>
                  <a:pt x="63" y="5"/>
                </a:cubicBezTo>
                <a:cubicBezTo>
                  <a:pt x="66" y="2"/>
                  <a:pt x="69" y="0"/>
                  <a:pt x="73" y="0"/>
                </a:cubicBezTo>
                <a:moveTo>
                  <a:pt x="72" y="70"/>
                </a:moveTo>
                <a:cubicBezTo>
                  <a:pt x="66" y="77"/>
                  <a:pt x="66" y="77"/>
                  <a:pt x="66" y="77"/>
                </a:cubicBezTo>
                <a:cubicBezTo>
                  <a:pt x="66" y="77"/>
                  <a:pt x="66" y="77"/>
                  <a:pt x="66" y="77"/>
                </a:cubicBezTo>
                <a:cubicBezTo>
                  <a:pt x="54" y="89"/>
                  <a:pt x="54" y="89"/>
                  <a:pt x="54" y="89"/>
                </a:cubicBezTo>
                <a:cubicBezTo>
                  <a:pt x="53" y="89"/>
                  <a:pt x="52" y="90"/>
                  <a:pt x="52" y="90"/>
                </a:cubicBezTo>
                <a:cubicBezTo>
                  <a:pt x="15" y="90"/>
                  <a:pt x="15" y="90"/>
                  <a:pt x="15" y="90"/>
                </a:cubicBezTo>
                <a:cubicBezTo>
                  <a:pt x="12" y="90"/>
                  <a:pt x="10" y="91"/>
                  <a:pt x="8" y="92"/>
                </a:cubicBezTo>
                <a:cubicBezTo>
                  <a:pt x="7" y="94"/>
                  <a:pt x="5" y="96"/>
                  <a:pt x="5" y="99"/>
                </a:cubicBezTo>
                <a:cubicBezTo>
                  <a:pt x="5" y="102"/>
                  <a:pt x="7" y="104"/>
                  <a:pt x="8" y="106"/>
                </a:cubicBezTo>
                <a:cubicBezTo>
                  <a:pt x="10" y="108"/>
                  <a:pt x="12" y="109"/>
                  <a:pt x="15" y="109"/>
                </a:cubicBezTo>
                <a:cubicBezTo>
                  <a:pt x="57" y="109"/>
                  <a:pt x="57" y="109"/>
                  <a:pt x="57" y="109"/>
                </a:cubicBezTo>
                <a:cubicBezTo>
                  <a:pt x="58" y="109"/>
                  <a:pt x="59" y="108"/>
                  <a:pt x="60" y="108"/>
                </a:cubicBezTo>
                <a:cubicBezTo>
                  <a:pt x="62" y="107"/>
                  <a:pt x="63" y="107"/>
                  <a:pt x="63" y="106"/>
                </a:cubicBezTo>
                <a:cubicBezTo>
                  <a:pt x="63" y="106"/>
                  <a:pt x="63" y="106"/>
                  <a:pt x="64" y="106"/>
                </a:cubicBezTo>
                <a:cubicBezTo>
                  <a:pt x="119" y="50"/>
                  <a:pt x="119" y="50"/>
                  <a:pt x="119" y="50"/>
                </a:cubicBezTo>
                <a:cubicBezTo>
                  <a:pt x="120" y="49"/>
                  <a:pt x="121" y="49"/>
                  <a:pt x="121" y="49"/>
                </a:cubicBezTo>
                <a:cubicBezTo>
                  <a:pt x="158" y="49"/>
                  <a:pt x="158" y="49"/>
                  <a:pt x="158" y="49"/>
                </a:cubicBezTo>
                <a:cubicBezTo>
                  <a:pt x="161" y="49"/>
                  <a:pt x="163" y="48"/>
                  <a:pt x="165" y="46"/>
                </a:cubicBezTo>
                <a:cubicBezTo>
                  <a:pt x="166" y="44"/>
                  <a:pt x="168" y="42"/>
                  <a:pt x="168" y="39"/>
                </a:cubicBezTo>
                <a:cubicBezTo>
                  <a:pt x="168" y="37"/>
                  <a:pt x="166" y="34"/>
                  <a:pt x="165" y="33"/>
                </a:cubicBezTo>
                <a:cubicBezTo>
                  <a:pt x="163" y="31"/>
                  <a:pt x="161" y="30"/>
                  <a:pt x="158" y="30"/>
                </a:cubicBezTo>
                <a:cubicBezTo>
                  <a:pt x="116" y="30"/>
                  <a:pt x="116" y="30"/>
                  <a:pt x="116" y="30"/>
                </a:cubicBezTo>
                <a:cubicBezTo>
                  <a:pt x="115" y="30"/>
                  <a:pt x="115" y="30"/>
                  <a:pt x="114" y="30"/>
                </a:cubicBezTo>
                <a:cubicBezTo>
                  <a:pt x="113" y="30"/>
                  <a:pt x="112" y="31"/>
                  <a:pt x="112" y="31"/>
                </a:cubicBezTo>
                <a:cubicBezTo>
                  <a:pt x="112" y="31"/>
                  <a:pt x="112" y="31"/>
                  <a:pt x="112" y="31"/>
                </a:cubicBezTo>
                <a:cubicBezTo>
                  <a:pt x="112" y="31"/>
                  <a:pt x="112" y="31"/>
                  <a:pt x="112" y="31"/>
                </a:cubicBezTo>
                <a:cubicBezTo>
                  <a:pt x="112" y="31"/>
                  <a:pt x="112" y="31"/>
                  <a:pt x="112" y="31"/>
                </a:cubicBezTo>
                <a:cubicBezTo>
                  <a:pt x="112" y="31"/>
                  <a:pt x="111" y="31"/>
                  <a:pt x="111" y="31"/>
                </a:cubicBezTo>
                <a:cubicBezTo>
                  <a:pt x="111" y="31"/>
                  <a:pt x="111" y="31"/>
                  <a:pt x="111" y="31"/>
                </a:cubicBezTo>
                <a:cubicBezTo>
                  <a:pt x="111" y="31"/>
                  <a:pt x="111" y="31"/>
                  <a:pt x="111" y="31"/>
                </a:cubicBezTo>
                <a:cubicBezTo>
                  <a:pt x="111" y="32"/>
                  <a:pt x="111" y="32"/>
                  <a:pt x="111" y="32"/>
                </a:cubicBezTo>
                <a:cubicBezTo>
                  <a:pt x="111" y="32"/>
                  <a:pt x="111" y="32"/>
                  <a:pt x="111" y="32"/>
                </a:cubicBezTo>
                <a:cubicBezTo>
                  <a:pt x="111" y="32"/>
                  <a:pt x="111" y="32"/>
                  <a:pt x="111" y="32"/>
                </a:cubicBezTo>
                <a:cubicBezTo>
                  <a:pt x="111" y="32"/>
                  <a:pt x="111" y="32"/>
                  <a:pt x="111" y="32"/>
                </a:cubicBezTo>
                <a:cubicBezTo>
                  <a:pt x="110" y="32"/>
                  <a:pt x="110" y="32"/>
                  <a:pt x="110" y="32"/>
                </a:cubicBezTo>
                <a:cubicBezTo>
                  <a:pt x="110" y="32"/>
                  <a:pt x="110" y="32"/>
                  <a:pt x="110" y="32"/>
                </a:cubicBezTo>
                <a:cubicBezTo>
                  <a:pt x="110" y="32"/>
                  <a:pt x="110" y="32"/>
                  <a:pt x="110" y="32"/>
                </a:cubicBezTo>
                <a:cubicBezTo>
                  <a:pt x="110" y="32"/>
                  <a:pt x="110" y="33"/>
                  <a:pt x="110" y="33"/>
                </a:cubicBezTo>
                <a:cubicBezTo>
                  <a:pt x="110" y="33"/>
                  <a:pt x="110" y="33"/>
                  <a:pt x="109" y="33"/>
                </a:cubicBezTo>
                <a:cubicBezTo>
                  <a:pt x="85" y="57"/>
                  <a:pt x="85" y="57"/>
                  <a:pt x="85" y="57"/>
                </a:cubicBezTo>
                <a:cubicBezTo>
                  <a:pt x="85" y="57"/>
                  <a:pt x="85" y="57"/>
                  <a:pt x="85" y="57"/>
                </a:cubicBezTo>
                <a:cubicBezTo>
                  <a:pt x="85" y="57"/>
                  <a:pt x="85" y="57"/>
                  <a:pt x="85" y="57"/>
                </a:cubicBezTo>
                <a:cubicBezTo>
                  <a:pt x="85" y="57"/>
                  <a:pt x="85" y="57"/>
                  <a:pt x="85" y="57"/>
                </a:cubicBezTo>
                <a:lnTo>
                  <a:pt x="72" y="70"/>
                </a:lnTo>
                <a:close/>
                <a:moveTo>
                  <a:pt x="66" y="69"/>
                </a:moveTo>
                <a:cubicBezTo>
                  <a:pt x="72" y="63"/>
                  <a:pt x="72" y="63"/>
                  <a:pt x="72" y="63"/>
                </a:cubicBezTo>
                <a:cubicBezTo>
                  <a:pt x="81" y="55"/>
                  <a:pt x="81" y="55"/>
                  <a:pt x="81" y="55"/>
                </a:cubicBezTo>
                <a:cubicBezTo>
                  <a:pt x="81" y="48"/>
                  <a:pt x="81" y="48"/>
                  <a:pt x="81" y="48"/>
                </a:cubicBezTo>
                <a:cubicBezTo>
                  <a:pt x="81" y="46"/>
                  <a:pt x="80" y="44"/>
                  <a:pt x="79" y="43"/>
                </a:cubicBezTo>
                <a:cubicBezTo>
                  <a:pt x="77" y="41"/>
                  <a:pt x="75" y="41"/>
                  <a:pt x="73" y="41"/>
                </a:cubicBezTo>
                <a:cubicBezTo>
                  <a:pt x="72" y="41"/>
                  <a:pt x="70" y="41"/>
                  <a:pt x="68" y="43"/>
                </a:cubicBezTo>
                <a:cubicBezTo>
                  <a:pt x="67" y="44"/>
                  <a:pt x="66" y="46"/>
                  <a:pt x="66" y="48"/>
                </a:cubicBezTo>
                <a:lnTo>
                  <a:pt x="66" y="69"/>
                </a:lnTo>
                <a:close/>
                <a:moveTo>
                  <a:pt x="132" y="80"/>
                </a:moveTo>
                <a:cubicBezTo>
                  <a:pt x="132" y="95"/>
                  <a:pt x="132" y="95"/>
                  <a:pt x="132" y="95"/>
                </a:cubicBezTo>
                <a:cubicBezTo>
                  <a:pt x="132" y="97"/>
                  <a:pt x="131" y="98"/>
                  <a:pt x="129" y="98"/>
                </a:cubicBezTo>
                <a:cubicBezTo>
                  <a:pt x="128" y="98"/>
                  <a:pt x="127" y="97"/>
                  <a:pt x="127" y="95"/>
                </a:cubicBezTo>
                <a:cubicBezTo>
                  <a:pt x="127" y="86"/>
                  <a:pt x="127" y="86"/>
                  <a:pt x="127" y="86"/>
                </a:cubicBezTo>
                <a:cubicBezTo>
                  <a:pt x="99" y="114"/>
                  <a:pt x="99" y="114"/>
                  <a:pt x="99" y="114"/>
                </a:cubicBezTo>
                <a:cubicBezTo>
                  <a:pt x="98" y="115"/>
                  <a:pt x="96" y="115"/>
                  <a:pt x="95" y="114"/>
                </a:cubicBezTo>
                <a:cubicBezTo>
                  <a:pt x="94" y="113"/>
                  <a:pt x="94" y="112"/>
                  <a:pt x="95" y="111"/>
                </a:cubicBezTo>
                <a:cubicBezTo>
                  <a:pt x="123" y="83"/>
                  <a:pt x="123" y="83"/>
                  <a:pt x="123" y="83"/>
                </a:cubicBezTo>
                <a:cubicBezTo>
                  <a:pt x="114" y="83"/>
                  <a:pt x="114" y="83"/>
                  <a:pt x="114" y="83"/>
                </a:cubicBezTo>
                <a:cubicBezTo>
                  <a:pt x="113" y="83"/>
                  <a:pt x="112" y="81"/>
                  <a:pt x="112" y="80"/>
                </a:cubicBezTo>
                <a:cubicBezTo>
                  <a:pt x="112" y="79"/>
                  <a:pt x="113" y="78"/>
                  <a:pt x="114" y="78"/>
                </a:cubicBezTo>
                <a:cubicBezTo>
                  <a:pt x="129" y="78"/>
                  <a:pt x="129" y="78"/>
                  <a:pt x="129" y="78"/>
                </a:cubicBezTo>
                <a:cubicBezTo>
                  <a:pt x="130" y="77"/>
                  <a:pt x="131" y="78"/>
                  <a:pt x="131" y="78"/>
                </a:cubicBezTo>
                <a:cubicBezTo>
                  <a:pt x="132" y="79"/>
                  <a:pt x="132" y="80"/>
                  <a:pt x="132" y="80"/>
                </a:cubicBezTo>
                <a:moveTo>
                  <a:pt x="106" y="29"/>
                </a:moveTo>
                <a:cubicBezTo>
                  <a:pt x="106" y="29"/>
                  <a:pt x="106" y="29"/>
                  <a:pt x="107" y="29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8" y="28"/>
                  <a:pt x="108" y="28"/>
                  <a:pt x="108" y="28"/>
                </a:cubicBezTo>
                <a:cubicBezTo>
                  <a:pt x="108" y="28"/>
                  <a:pt x="108" y="28"/>
                  <a:pt x="108" y="27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08" y="27"/>
                  <a:pt x="109" y="27"/>
                  <a:pt x="109" y="27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10" y="26"/>
                  <a:pt x="111" y="26"/>
                  <a:pt x="113" y="25"/>
                </a:cubicBezTo>
                <a:cubicBezTo>
                  <a:pt x="114" y="25"/>
                  <a:pt x="115" y="25"/>
                  <a:pt x="116" y="25"/>
                </a:cubicBezTo>
                <a:cubicBezTo>
                  <a:pt x="158" y="25"/>
                  <a:pt x="158" y="25"/>
                  <a:pt x="158" y="25"/>
                </a:cubicBezTo>
                <a:cubicBezTo>
                  <a:pt x="162" y="25"/>
                  <a:pt x="166" y="26"/>
                  <a:pt x="168" y="29"/>
                </a:cubicBezTo>
                <a:cubicBezTo>
                  <a:pt x="171" y="32"/>
                  <a:pt x="173" y="35"/>
                  <a:pt x="173" y="39"/>
                </a:cubicBezTo>
                <a:cubicBezTo>
                  <a:pt x="173" y="44"/>
                  <a:pt x="171" y="47"/>
                  <a:pt x="168" y="50"/>
                </a:cubicBezTo>
                <a:cubicBezTo>
                  <a:pt x="166" y="52"/>
                  <a:pt x="162" y="54"/>
                  <a:pt x="158" y="54"/>
                </a:cubicBezTo>
                <a:cubicBezTo>
                  <a:pt x="122" y="54"/>
                  <a:pt x="122" y="54"/>
                  <a:pt x="122" y="54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6" y="111"/>
                  <a:pt x="64" y="112"/>
                  <a:pt x="62" y="113"/>
                </a:cubicBezTo>
                <a:cubicBezTo>
                  <a:pt x="61" y="113"/>
                  <a:pt x="59" y="114"/>
                  <a:pt x="57" y="114"/>
                </a:cubicBezTo>
                <a:cubicBezTo>
                  <a:pt x="15" y="114"/>
                  <a:pt x="15" y="114"/>
                  <a:pt x="15" y="114"/>
                </a:cubicBezTo>
                <a:cubicBezTo>
                  <a:pt x="11" y="114"/>
                  <a:pt x="7" y="112"/>
                  <a:pt x="5" y="109"/>
                </a:cubicBezTo>
                <a:cubicBezTo>
                  <a:pt x="2" y="107"/>
                  <a:pt x="0" y="103"/>
                  <a:pt x="0" y="99"/>
                </a:cubicBezTo>
                <a:cubicBezTo>
                  <a:pt x="0" y="95"/>
                  <a:pt x="2" y="91"/>
                  <a:pt x="5" y="89"/>
                </a:cubicBezTo>
                <a:cubicBezTo>
                  <a:pt x="7" y="86"/>
                  <a:pt x="11" y="84"/>
                  <a:pt x="15" y="84"/>
                </a:cubicBezTo>
                <a:cubicBezTo>
                  <a:pt x="51" y="84"/>
                  <a:pt x="51" y="84"/>
                  <a:pt x="51" y="84"/>
                </a:cubicBezTo>
                <a:cubicBezTo>
                  <a:pt x="61" y="74"/>
                  <a:pt x="61" y="74"/>
                  <a:pt x="61" y="74"/>
                </a:cubicBezTo>
                <a:cubicBezTo>
                  <a:pt x="61" y="48"/>
                  <a:pt x="61" y="48"/>
                  <a:pt x="61" y="48"/>
                </a:cubicBezTo>
                <a:cubicBezTo>
                  <a:pt x="61" y="44"/>
                  <a:pt x="63" y="41"/>
                  <a:pt x="65" y="39"/>
                </a:cubicBezTo>
                <a:cubicBezTo>
                  <a:pt x="67" y="37"/>
                  <a:pt x="70" y="35"/>
                  <a:pt x="73" y="35"/>
                </a:cubicBezTo>
                <a:cubicBezTo>
                  <a:pt x="77" y="35"/>
                  <a:pt x="80" y="37"/>
                  <a:pt x="82" y="39"/>
                </a:cubicBezTo>
                <a:cubicBezTo>
                  <a:pt x="84" y="41"/>
                  <a:pt x="86" y="44"/>
                  <a:pt x="86" y="48"/>
                </a:cubicBezTo>
                <a:cubicBezTo>
                  <a:pt x="86" y="49"/>
                  <a:pt x="86" y="49"/>
                  <a:pt x="86" y="49"/>
                </a:cubicBezTo>
                <a:cubicBezTo>
                  <a:pt x="106" y="29"/>
                  <a:pt x="106" y="29"/>
                  <a:pt x="106" y="29"/>
                </a:cubicBezTo>
                <a:cubicBezTo>
                  <a:pt x="106" y="29"/>
                  <a:pt x="106" y="29"/>
                  <a:pt x="106" y="29"/>
                </a:cubicBezTo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5" name="Freeform 1371">
            <a:extLst>
              <a:ext uri="{FF2B5EF4-FFF2-40B4-BE49-F238E27FC236}">
                <a16:creationId xmlns:a16="http://schemas.microsoft.com/office/drawing/2014/main" id="{D32DEE79-7554-4CD6-847B-5A8D12838164}"/>
              </a:ext>
            </a:extLst>
          </p:cNvPr>
          <p:cNvSpPr>
            <a:spLocks noEditPoints="1"/>
          </p:cNvSpPr>
          <p:nvPr/>
        </p:nvSpPr>
        <p:spPr bwMode="auto">
          <a:xfrm>
            <a:off x="6762713" y="3313290"/>
            <a:ext cx="311088" cy="246594"/>
          </a:xfrm>
          <a:custGeom>
            <a:avLst/>
            <a:gdLst>
              <a:gd name="T0" fmla="*/ 109 w 172"/>
              <a:gd name="T1" fmla="*/ 53 h 136"/>
              <a:gd name="T2" fmla="*/ 53 w 172"/>
              <a:gd name="T3" fmla="*/ 109 h 136"/>
              <a:gd name="T4" fmla="*/ 15 w 172"/>
              <a:gd name="T5" fmla="*/ 110 h 136"/>
              <a:gd name="T6" fmla="*/ 5 w 172"/>
              <a:gd name="T7" fmla="*/ 120 h 136"/>
              <a:gd name="T8" fmla="*/ 15 w 172"/>
              <a:gd name="T9" fmla="*/ 129 h 136"/>
              <a:gd name="T10" fmla="*/ 60 w 172"/>
              <a:gd name="T11" fmla="*/ 129 h 136"/>
              <a:gd name="T12" fmla="*/ 63 w 172"/>
              <a:gd name="T13" fmla="*/ 126 h 136"/>
              <a:gd name="T14" fmla="*/ 121 w 172"/>
              <a:gd name="T15" fmla="*/ 70 h 136"/>
              <a:gd name="T16" fmla="*/ 165 w 172"/>
              <a:gd name="T17" fmla="*/ 67 h 136"/>
              <a:gd name="T18" fmla="*/ 165 w 172"/>
              <a:gd name="T19" fmla="*/ 53 h 136"/>
              <a:gd name="T20" fmla="*/ 116 w 172"/>
              <a:gd name="T21" fmla="*/ 51 h 136"/>
              <a:gd name="T22" fmla="*/ 111 w 172"/>
              <a:gd name="T23" fmla="*/ 52 h 136"/>
              <a:gd name="T24" fmla="*/ 111 w 172"/>
              <a:gd name="T25" fmla="*/ 52 h 136"/>
              <a:gd name="T26" fmla="*/ 111 w 172"/>
              <a:gd name="T27" fmla="*/ 52 h 136"/>
              <a:gd name="T28" fmla="*/ 111 w 172"/>
              <a:gd name="T29" fmla="*/ 52 h 136"/>
              <a:gd name="T30" fmla="*/ 111 w 172"/>
              <a:gd name="T31" fmla="*/ 52 h 136"/>
              <a:gd name="T32" fmla="*/ 110 w 172"/>
              <a:gd name="T33" fmla="*/ 52 h 136"/>
              <a:gd name="T34" fmla="*/ 110 w 172"/>
              <a:gd name="T35" fmla="*/ 53 h 136"/>
              <a:gd name="T36" fmla="*/ 95 w 172"/>
              <a:gd name="T37" fmla="*/ 8 h 136"/>
              <a:gd name="T38" fmla="*/ 81 w 172"/>
              <a:gd name="T39" fmla="*/ 8 h 136"/>
              <a:gd name="T40" fmla="*/ 81 w 172"/>
              <a:gd name="T41" fmla="*/ 22 h 136"/>
              <a:gd name="T42" fmla="*/ 95 w 172"/>
              <a:gd name="T43" fmla="*/ 22 h 136"/>
              <a:gd name="T44" fmla="*/ 95 w 172"/>
              <a:gd name="T45" fmla="*/ 8 h 136"/>
              <a:gd name="T46" fmla="*/ 98 w 172"/>
              <a:gd name="T47" fmla="*/ 4 h 136"/>
              <a:gd name="T48" fmla="*/ 98 w 172"/>
              <a:gd name="T49" fmla="*/ 25 h 136"/>
              <a:gd name="T50" fmla="*/ 77 w 172"/>
              <a:gd name="T51" fmla="*/ 25 h 136"/>
              <a:gd name="T52" fmla="*/ 77 w 172"/>
              <a:gd name="T53" fmla="*/ 4 h 136"/>
              <a:gd name="T54" fmla="*/ 94 w 172"/>
              <a:gd name="T55" fmla="*/ 133 h 136"/>
              <a:gd name="T56" fmla="*/ 97 w 172"/>
              <a:gd name="T57" fmla="*/ 115 h 136"/>
              <a:gd name="T58" fmla="*/ 99 w 172"/>
              <a:gd name="T59" fmla="*/ 127 h 136"/>
              <a:gd name="T60" fmla="*/ 131 w 172"/>
              <a:gd name="T61" fmla="*/ 99 h 136"/>
              <a:gd name="T62" fmla="*/ 103 w 172"/>
              <a:gd name="T63" fmla="*/ 131 h 136"/>
              <a:gd name="T64" fmla="*/ 114 w 172"/>
              <a:gd name="T65" fmla="*/ 133 h 136"/>
              <a:gd name="T66" fmla="*/ 97 w 172"/>
              <a:gd name="T67" fmla="*/ 136 h 136"/>
              <a:gd name="T68" fmla="*/ 94 w 172"/>
              <a:gd name="T69" fmla="*/ 133 h 136"/>
              <a:gd name="T70" fmla="*/ 106 w 172"/>
              <a:gd name="T71" fmla="*/ 49 h 136"/>
              <a:gd name="T72" fmla="*/ 107 w 172"/>
              <a:gd name="T73" fmla="*/ 49 h 136"/>
              <a:gd name="T74" fmla="*/ 108 w 172"/>
              <a:gd name="T75" fmla="*/ 48 h 136"/>
              <a:gd name="T76" fmla="*/ 108 w 172"/>
              <a:gd name="T77" fmla="*/ 48 h 136"/>
              <a:gd name="T78" fmla="*/ 108 w 172"/>
              <a:gd name="T79" fmla="*/ 48 h 136"/>
              <a:gd name="T80" fmla="*/ 108 w 172"/>
              <a:gd name="T81" fmla="*/ 48 h 136"/>
              <a:gd name="T82" fmla="*/ 109 w 172"/>
              <a:gd name="T83" fmla="*/ 47 h 136"/>
              <a:gd name="T84" fmla="*/ 109 w 172"/>
              <a:gd name="T85" fmla="*/ 47 h 136"/>
              <a:gd name="T86" fmla="*/ 109 w 172"/>
              <a:gd name="T87" fmla="*/ 47 h 136"/>
              <a:gd name="T88" fmla="*/ 112 w 172"/>
              <a:gd name="T89" fmla="*/ 46 h 136"/>
              <a:gd name="T90" fmla="*/ 158 w 172"/>
              <a:gd name="T91" fmla="*/ 46 h 136"/>
              <a:gd name="T92" fmla="*/ 172 w 172"/>
              <a:gd name="T93" fmla="*/ 60 h 136"/>
              <a:gd name="T94" fmla="*/ 158 w 172"/>
              <a:gd name="T95" fmla="*/ 75 h 136"/>
              <a:gd name="T96" fmla="*/ 67 w 172"/>
              <a:gd name="T97" fmla="*/ 130 h 136"/>
              <a:gd name="T98" fmla="*/ 62 w 172"/>
              <a:gd name="T99" fmla="*/ 133 h 136"/>
              <a:gd name="T100" fmla="*/ 15 w 172"/>
              <a:gd name="T101" fmla="*/ 134 h 136"/>
              <a:gd name="T102" fmla="*/ 0 w 172"/>
              <a:gd name="T103" fmla="*/ 120 h 136"/>
              <a:gd name="T104" fmla="*/ 15 w 172"/>
              <a:gd name="T105" fmla="*/ 105 h 136"/>
              <a:gd name="T106" fmla="*/ 76 w 172"/>
              <a:gd name="T107" fmla="*/ 80 h 136"/>
              <a:gd name="T108" fmla="*/ 79 w 172"/>
              <a:gd name="T109" fmla="*/ 39 h 136"/>
              <a:gd name="T110" fmla="*/ 96 w 172"/>
              <a:gd name="T111" fmla="*/ 39 h 136"/>
              <a:gd name="T112" fmla="*/ 100 w 172"/>
              <a:gd name="T113" fmla="*/ 56 h 136"/>
              <a:gd name="T114" fmla="*/ 95 w 172"/>
              <a:gd name="T115" fmla="*/ 47 h 136"/>
              <a:gd name="T116" fmla="*/ 88 w 172"/>
              <a:gd name="T117" fmla="*/ 40 h 136"/>
              <a:gd name="T118" fmla="*/ 81 w 172"/>
              <a:gd name="T119" fmla="*/ 47 h 136"/>
              <a:gd name="T120" fmla="*/ 78 w 172"/>
              <a:gd name="T121" fmla="*/ 77 h 136"/>
              <a:gd name="T122" fmla="*/ 106 w 172"/>
              <a:gd name="T123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2" h="136">
                <a:moveTo>
                  <a:pt x="110" y="53"/>
                </a:moveTo>
                <a:cubicBezTo>
                  <a:pt x="110" y="53"/>
                  <a:pt x="109" y="53"/>
                  <a:pt x="109" y="53"/>
                </a:cubicBezTo>
                <a:cubicBezTo>
                  <a:pt x="109" y="53"/>
                  <a:pt x="109" y="54"/>
                  <a:pt x="109" y="54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53" y="110"/>
                  <a:pt x="52" y="110"/>
                  <a:pt x="51" y="110"/>
                </a:cubicBezTo>
                <a:cubicBezTo>
                  <a:pt x="15" y="110"/>
                  <a:pt x="15" y="110"/>
                  <a:pt x="15" y="110"/>
                </a:cubicBezTo>
                <a:cubicBezTo>
                  <a:pt x="12" y="110"/>
                  <a:pt x="10" y="111"/>
                  <a:pt x="8" y="113"/>
                </a:cubicBezTo>
                <a:cubicBezTo>
                  <a:pt x="6" y="115"/>
                  <a:pt x="5" y="117"/>
                  <a:pt x="5" y="120"/>
                </a:cubicBezTo>
                <a:cubicBezTo>
                  <a:pt x="5" y="122"/>
                  <a:pt x="6" y="125"/>
                  <a:pt x="8" y="127"/>
                </a:cubicBezTo>
                <a:cubicBezTo>
                  <a:pt x="10" y="128"/>
                  <a:pt x="12" y="129"/>
                  <a:pt x="15" y="129"/>
                </a:cubicBezTo>
                <a:cubicBezTo>
                  <a:pt x="56" y="129"/>
                  <a:pt x="56" y="129"/>
                  <a:pt x="56" y="129"/>
                </a:cubicBezTo>
                <a:cubicBezTo>
                  <a:pt x="58" y="129"/>
                  <a:pt x="59" y="129"/>
                  <a:pt x="60" y="129"/>
                </a:cubicBezTo>
                <a:cubicBezTo>
                  <a:pt x="61" y="128"/>
                  <a:pt x="62" y="127"/>
                  <a:pt x="63" y="127"/>
                </a:cubicBezTo>
                <a:cubicBezTo>
                  <a:pt x="63" y="127"/>
                  <a:pt x="63" y="126"/>
                  <a:pt x="63" y="126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20" y="70"/>
                  <a:pt x="120" y="70"/>
                  <a:pt x="121" y="70"/>
                </a:cubicBezTo>
                <a:cubicBezTo>
                  <a:pt x="158" y="70"/>
                  <a:pt x="158" y="70"/>
                  <a:pt x="158" y="70"/>
                </a:cubicBezTo>
                <a:cubicBezTo>
                  <a:pt x="160" y="70"/>
                  <a:pt x="163" y="69"/>
                  <a:pt x="165" y="67"/>
                </a:cubicBezTo>
                <a:cubicBezTo>
                  <a:pt x="166" y="65"/>
                  <a:pt x="167" y="63"/>
                  <a:pt x="167" y="60"/>
                </a:cubicBezTo>
                <a:cubicBezTo>
                  <a:pt x="167" y="58"/>
                  <a:pt x="166" y="55"/>
                  <a:pt x="165" y="53"/>
                </a:cubicBezTo>
                <a:cubicBezTo>
                  <a:pt x="163" y="52"/>
                  <a:pt x="160" y="51"/>
                  <a:pt x="158" y="51"/>
                </a:cubicBezTo>
                <a:cubicBezTo>
                  <a:pt x="116" y="51"/>
                  <a:pt x="116" y="51"/>
                  <a:pt x="116" y="51"/>
                </a:cubicBezTo>
                <a:cubicBezTo>
                  <a:pt x="115" y="51"/>
                  <a:pt x="114" y="51"/>
                  <a:pt x="114" y="51"/>
                </a:cubicBezTo>
                <a:cubicBezTo>
                  <a:pt x="113" y="51"/>
                  <a:pt x="112" y="51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1" y="52"/>
                </a:cubicBezTo>
                <a:cubicBezTo>
                  <a:pt x="111" y="52"/>
                  <a:pt x="111" y="52"/>
                  <a:pt x="110" y="52"/>
                </a:cubicBezTo>
                <a:cubicBezTo>
                  <a:pt x="110" y="53"/>
                  <a:pt x="110" y="53"/>
                  <a:pt x="110" y="53"/>
                </a:cubicBezTo>
                <a:cubicBezTo>
                  <a:pt x="110" y="53"/>
                  <a:pt x="110" y="53"/>
                  <a:pt x="110" y="53"/>
                </a:cubicBezTo>
                <a:cubicBezTo>
                  <a:pt x="110" y="53"/>
                  <a:pt x="110" y="53"/>
                  <a:pt x="110" y="53"/>
                </a:cubicBezTo>
                <a:moveTo>
                  <a:pt x="95" y="8"/>
                </a:moveTo>
                <a:cubicBezTo>
                  <a:pt x="93" y="6"/>
                  <a:pt x="90" y="5"/>
                  <a:pt x="88" y="5"/>
                </a:cubicBezTo>
                <a:cubicBezTo>
                  <a:pt x="85" y="5"/>
                  <a:pt x="83" y="6"/>
                  <a:pt x="81" y="8"/>
                </a:cubicBezTo>
                <a:cubicBezTo>
                  <a:pt x="79" y="10"/>
                  <a:pt x="78" y="12"/>
                  <a:pt x="78" y="15"/>
                </a:cubicBezTo>
                <a:cubicBezTo>
                  <a:pt x="78" y="17"/>
                  <a:pt x="79" y="20"/>
                  <a:pt x="81" y="22"/>
                </a:cubicBezTo>
                <a:cubicBezTo>
                  <a:pt x="83" y="23"/>
                  <a:pt x="85" y="25"/>
                  <a:pt x="88" y="25"/>
                </a:cubicBezTo>
                <a:cubicBezTo>
                  <a:pt x="90" y="25"/>
                  <a:pt x="93" y="23"/>
                  <a:pt x="95" y="22"/>
                </a:cubicBezTo>
                <a:cubicBezTo>
                  <a:pt x="96" y="20"/>
                  <a:pt x="97" y="17"/>
                  <a:pt x="97" y="15"/>
                </a:cubicBezTo>
                <a:cubicBezTo>
                  <a:pt x="97" y="12"/>
                  <a:pt x="96" y="10"/>
                  <a:pt x="95" y="8"/>
                </a:cubicBezTo>
                <a:moveTo>
                  <a:pt x="88" y="0"/>
                </a:moveTo>
                <a:cubicBezTo>
                  <a:pt x="92" y="0"/>
                  <a:pt x="96" y="2"/>
                  <a:pt x="98" y="4"/>
                </a:cubicBezTo>
                <a:cubicBezTo>
                  <a:pt x="101" y="7"/>
                  <a:pt x="103" y="11"/>
                  <a:pt x="103" y="15"/>
                </a:cubicBezTo>
                <a:cubicBezTo>
                  <a:pt x="103" y="19"/>
                  <a:pt x="101" y="23"/>
                  <a:pt x="98" y="25"/>
                </a:cubicBezTo>
                <a:cubicBezTo>
                  <a:pt x="96" y="28"/>
                  <a:pt x="92" y="30"/>
                  <a:pt x="88" y="30"/>
                </a:cubicBezTo>
                <a:cubicBezTo>
                  <a:pt x="84" y="30"/>
                  <a:pt x="80" y="28"/>
                  <a:pt x="77" y="25"/>
                </a:cubicBezTo>
                <a:cubicBezTo>
                  <a:pt x="75" y="23"/>
                  <a:pt x="73" y="19"/>
                  <a:pt x="73" y="15"/>
                </a:cubicBezTo>
                <a:cubicBezTo>
                  <a:pt x="73" y="11"/>
                  <a:pt x="75" y="7"/>
                  <a:pt x="77" y="4"/>
                </a:cubicBezTo>
                <a:cubicBezTo>
                  <a:pt x="80" y="2"/>
                  <a:pt x="84" y="0"/>
                  <a:pt x="88" y="0"/>
                </a:cubicBezTo>
                <a:moveTo>
                  <a:pt x="94" y="133"/>
                </a:moveTo>
                <a:cubicBezTo>
                  <a:pt x="94" y="118"/>
                  <a:pt x="94" y="118"/>
                  <a:pt x="94" y="118"/>
                </a:cubicBezTo>
                <a:cubicBezTo>
                  <a:pt x="94" y="117"/>
                  <a:pt x="95" y="115"/>
                  <a:pt x="97" y="115"/>
                </a:cubicBezTo>
                <a:cubicBezTo>
                  <a:pt x="98" y="115"/>
                  <a:pt x="99" y="117"/>
                  <a:pt x="99" y="118"/>
                </a:cubicBezTo>
                <a:cubicBezTo>
                  <a:pt x="99" y="127"/>
                  <a:pt x="99" y="127"/>
                  <a:pt x="99" y="127"/>
                </a:cubicBezTo>
                <a:cubicBezTo>
                  <a:pt x="127" y="99"/>
                  <a:pt x="127" y="99"/>
                  <a:pt x="127" y="99"/>
                </a:cubicBezTo>
                <a:cubicBezTo>
                  <a:pt x="128" y="98"/>
                  <a:pt x="130" y="98"/>
                  <a:pt x="131" y="99"/>
                </a:cubicBezTo>
                <a:cubicBezTo>
                  <a:pt x="132" y="100"/>
                  <a:pt x="132" y="102"/>
                  <a:pt x="131" y="103"/>
                </a:cubicBezTo>
                <a:cubicBezTo>
                  <a:pt x="103" y="131"/>
                  <a:pt x="103" y="131"/>
                  <a:pt x="103" y="131"/>
                </a:cubicBezTo>
                <a:cubicBezTo>
                  <a:pt x="112" y="131"/>
                  <a:pt x="112" y="131"/>
                  <a:pt x="112" y="131"/>
                </a:cubicBezTo>
                <a:cubicBezTo>
                  <a:pt x="113" y="131"/>
                  <a:pt x="114" y="132"/>
                  <a:pt x="114" y="133"/>
                </a:cubicBezTo>
                <a:cubicBezTo>
                  <a:pt x="114" y="135"/>
                  <a:pt x="113" y="136"/>
                  <a:pt x="112" y="136"/>
                </a:cubicBezTo>
                <a:cubicBezTo>
                  <a:pt x="97" y="136"/>
                  <a:pt x="97" y="136"/>
                  <a:pt x="97" y="136"/>
                </a:cubicBezTo>
                <a:cubicBezTo>
                  <a:pt x="96" y="136"/>
                  <a:pt x="95" y="136"/>
                  <a:pt x="95" y="135"/>
                </a:cubicBezTo>
                <a:cubicBezTo>
                  <a:pt x="94" y="134"/>
                  <a:pt x="94" y="134"/>
                  <a:pt x="94" y="133"/>
                </a:cubicBezTo>
                <a:moveTo>
                  <a:pt x="106" y="50"/>
                </a:moveTo>
                <a:cubicBezTo>
                  <a:pt x="106" y="50"/>
                  <a:pt x="106" y="49"/>
                  <a:pt x="106" y="49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7" y="48"/>
                  <a:pt x="107" y="48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9" y="48"/>
                  <a:pt x="109" y="48"/>
                  <a:pt x="109" y="47"/>
                </a:cubicBezTo>
                <a:cubicBezTo>
                  <a:pt x="109" y="47"/>
                  <a:pt x="109" y="47"/>
                  <a:pt x="109" y="47"/>
                </a:cubicBezTo>
                <a:cubicBezTo>
                  <a:pt x="109" y="47"/>
                  <a:pt x="109" y="47"/>
                  <a:pt x="109" y="47"/>
                </a:cubicBezTo>
                <a:cubicBezTo>
                  <a:pt x="109" y="47"/>
                  <a:pt x="109" y="47"/>
                  <a:pt x="109" y="47"/>
                </a:cubicBezTo>
                <a:cubicBezTo>
                  <a:pt x="109" y="47"/>
                  <a:pt x="109" y="47"/>
                  <a:pt x="109" y="47"/>
                </a:cubicBezTo>
                <a:cubicBezTo>
                  <a:pt x="109" y="47"/>
                  <a:pt x="109" y="47"/>
                  <a:pt x="109" y="47"/>
                </a:cubicBezTo>
                <a:cubicBezTo>
                  <a:pt x="110" y="47"/>
                  <a:pt x="111" y="46"/>
                  <a:pt x="112" y="46"/>
                </a:cubicBezTo>
                <a:cubicBezTo>
                  <a:pt x="114" y="46"/>
                  <a:pt x="115" y="46"/>
                  <a:pt x="116" y="46"/>
                </a:cubicBezTo>
                <a:cubicBezTo>
                  <a:pt x="158" y="46"/>
                  <a:pt x="158" y="46"/>
                  <a:pt x="158" y="46"/>
                </a:cubicBezTo>
                <a:cubicBezTo>
                  <a:pt x="162" y="46"/>
                  <a:pt x="165" y="47"/>
                  <a:pt x="168" y="50"/>
                </a:cubicBezTo>
                <a:cubicBezTo>
                  <a:pt x="171" y="52"/>
                  <a:pt x="172" y="56"/>
                  <a:pt x="172" y="60"/>
                </a:cubicBezTo>
                <a:cubicBezTo>
                  <a:pt x="172" y="64"/>
                  <a:pt x="171" y="68"/>
                  <a:pt x="168" y="71"/>
                </a:cubicBezTo>
                <a:cubicBezTo>
                  <a:pt x="165" y="73"/>
                  <a:pt x="162" y="75"/>
                  <a:pt x="158" y="75"/>
                </a:cubicBezTo>
                <a:cubicBezTo>
                  <a:pt x="122" y="75"/>
                  <a:pt x="122" y="75"/>
                  <a:pt x="122" y="75"/>
                </a:cubicBezTo>
                <a:cubicBezTo>
                  <a:pt x="67" y="130"/>
                  <a:pt x="67" y="130"/>
                  <a:pt x="67" y="130"/>
                </a:cubicBezTo>
                <a:cubicBezTo>
                  <a:pt x="67" y="130"/>
                  <a:pt x="67" y="130"/>
                  <a:pt x="67" y="130"/>
                </a:cubicBezTo>
                <a:cubicBezTo>
                  <a:pt x="65" y="131"/>
                  <a:pt x="64" y="133"/>
                  <a:pt x="62" y="133"/>
                </a:cubicBezTo>
                <a:cubicBezTo>
                  <a:pt x="60" y="134"/>
                  <a:pt x="58" y="134"/>
                  <a:pt x="56" y="134"/>
                </a:cubicBezTo>
                <a:cubicBezTo>
                  <a:pt x="15" y="134"/>
                  <a:pt x="15" y="134"/>
                  <a:pt x="15" y="134"/>
                </a:cubicBezTo>
                <a:cubicBezTo>
                  <a:pt x="11" y="134"/>
                  <a:pt x="7" y="133"/>
                  <a:pt x="4" y="130"/>
                </a:cubicBezTo>
                <a:cubicBezTo>
                  <a:pt x="2" y="127"/>
                  <a:pt x="0" y="124"/>
                  <a:pt x="0" y="120"/>
                </a:cubicBezTo>
                <a:cubicBezTo>
                  <a:pt x="0" y="116"/>
                  <a:pt x="2" y="112"/>
                  <a:pt x="4" y="109"/>
                </a:cubicBezTo>
                <a:cubicBezTo>
                  <a:pt x="7" y="107"/>
                  <a:pt x="11" y="105"/>
                  <a:pt x="15" y="105"/>
                </a:cubicBezTo>
                <a:cubicBezTo>
                  <a:pt x="50" y="105"/>
                  <a:pt x="50" y="105"/>
                  <a:pt x="50" y="105"/>
                </a:cubicBezTo>
                <a:cubicBezTo>
                  <a:pt x="76" y="80"/>
                  <a:pt x="76" y="80"/>
                  <a:pt x="76" y="80"/>
                </a:cubicBezTo>
                <a:cubicBezTo>
                  <a:pt x="76" y="47"/>
                  <a:pt x="76" y="47"/>
                  <a:pt x="76" y="47"/>
                </a:cubicBezTo>
                <a:cubicBezTo>
                  <a:pt x="76" y="44"/>
                  <a:pt x="77" y="41"/>
                  <a:pt x="79" y="39"/>
                </a:cubicBezTo>
                <a:cubicBezTo>
                  <a:pt x="81" y="37"/>
                  <a:pt x="84" y="35"/>
                  <a:pt x="88" y="35"/>
                </a:cubicBezTo>
                <a:cubicBezTo>
                  <a:pt x="91" y="35"/>
                  <a:pt x="94" y="37"/>
                  <a:pt x="96" y="39"/>
                </a:cubicBezTo>
                <a:cubicBezTo>
                  <a:pt x="99" y="41"/>
                  <a:pt x="100" y="44"/>
                  <a:pt x="100" y="47"/>
                </a:cubicBezTo>
                <a:cubicBezTo>
                  <a:pt x="100" y="56"/>
                  <a:pt x="100" y="56"/>
                  <a:pt x="100" y="56"/>
                </a:cubicBezTo>
                <a:cubicBezTo>
                  <a:pt x="95" y="61"/>
                  <a:pt x="95" y="61"/>
                  <a:pt x="95" y="61"/>
                </a:cubicBezTo>
                <a:cubicBezTo>
                  <a:pt x="95" y="47"/>
                  <a:pt x="95" y="47"/>
                  <a:pt x="95" y="47"/>
                </a:cubicBezTo>
                <a:cubicBezTo>
                  <a:pt x="95" y="46"/>
                  <a:pt x="94" y="44"/>
                  <a:pt x="93" y="42"/>
                </a:cubicBezTo>
                <a:cubicBezTo>
                  <a:pt x="91" y="41"/>
                  <a:pt x="90" y="40"/>
                  <a:pt x="88" y="40"/>
                </a:cubicBezTo>
                <a:cubicBezTo>
                  <a:pt x="86" y="40"/>
                  <a:pt x="84" y="41"/>
                  <a:pt x="83" y="42"/>
                </a:cubicBezTo>
                <a:cubicBezTo>
                  <a:pt x="81" y="44"/>
                  <a:pt x="81" y="46"/>
                  <a:pt x="81" y="47"/>
                </a:cubicBezTo>
                <a:cubicBezTo>
                  <a:pt x="81" y="75"/>
                  <a:pt x="81" y="75"/>
                  <a:pt x="81" y="75"/>
                </a:cubicBezTo>
                <a:cubicBezTo>
                  <a:pt x="78" y="77"/>
                  <a:pt x="78" y="77"/>
                  <a:pt x="78" y="77"/>
                </a:cubicBezTo>
                <a:cubicBezTo>
                  <a:pt x="106" y="50"/>
                  <a:pt x="106" y="50"/>
                  <a:pt x="106" y="50"/>
                </a:cubicBezTo>
                <a:cubicBezTo>
                  <a:pt x="106" y="50"/>
                  <a:pt x="106" y="50"/>
                  <a:pt x="106" y="50"/>
                </a:cubicBezTo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1669" name="Agrupar 1668">
            <a:extLst>
              <a:ext uri="{FF2B5EF4-FFF2-40B4-BE49-F238E27FC236}">
                <a16:creationId xmlns:a16="http://schemas.microsoft.com/office/drawing/2014/main" id="{670472BB-598C-4500-8137-958D8A059AF5}"/>
              </a:ext>
            </a:extLst>
          </p:cNvPr>
          <p:cNvGrpSpPr/>
          <p:nvPr/>
        </p:nvGrpSpPr>
        <p:grpSpPr>
          <a:xfrm>
            <a:off x="5163013" y="3797626"/>
            <a:ext cx="279473" cy="159337"/>
            <a:chOff x="5163013" y="3797626"/>
            <a:chExt cx="279473" cy="159337"/>
          </a:xfrm>
        </p:grpSpPr>
        <p:sp>
          <p:nvSpPr>
            <p:cNvPr id="1176" name="Freeform 1372">
              <a:extLst>
                <a:ext uri="{FF2B5EF4-FFF2-40B4-BE49-F238E27FC236}">
                  <a16:creationId xmlns:a16="http://schemas.microsoft.com/office/drawing/2014/main" id="{83F42F9D-543E-481B-BF82-EE108966E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3013" y="3800155"/>
              <a:ext cx="279473" cy="131517"/>
            </a:xfrm>
            <a:custGeom>
              <a:avLst/>
              <a:gdLst>
                <a:gd name="T0" fmla="*/ 77 w 154"/>
                <a:gd name="T1" fmla="*/ 0 h 73"/>
                <a:gd name="T2" fmla="*/ 150 w 154"/>
                <a:gd name="T3" fmla="*/ 0 h 73"/>
                <a:gd name="T4" fmla="*/ 154 w 154"/>
                <a:gd name="T5" fmla="*/ 3 h 73"/>
                <a:gd name="T6" fmla="*/ 154 w 154"/>
                <a:gd name="T7" fmla="*/ 70 h 73"/>
                <a:gd name="T8" fmla="*/ 150 w 154"/>
                <a:gd name="T9" fmla="*/ 73 h 73"/>
                <a:gd name="T10" fmla="*/ 132 w 154"/>
                <a:gd name="T11" fmla="*/ 73 h 73"/>
                <a:gd name="T12" fmla="*/ 129 w 154"/>
                <a:gd name="T13" fmla="*/ 71 h 73"/>
                <a:gd name="T14" fmla="*/ 126 w 154"/>
                <a:gd name="T15" fmla="*/ 67 h 73"/>
                <a:gd name="T16" fmla="*/ 121 w 154"/>
                <a:gd name="T17" fmla="*/ 65 h 73"/>
                <a:gd name="T18" fmla="*/ 117 w 154"/>
                <a:gd name="T19" fmla="*/ 67 h 73"/>
                <a:gd name="T20" fmla="*/ 114 w 154"/>
                <a:gd name="T21" fmla="*/ 71 h 73"/>
                <a:gd name="T22" fmla="*/ 111 w 154"/>
                <a:gd name="T23" fmla="*/ 73 h 73"/>
                <a:gd name="T24" fmla="*/ 111 w 154"/>
                <a:gd name="T25" fmla="*/ 73 h 73"/>
                <a:gd name="T26" fmla="*/ 77 w 154"/>
                <a:gd name="T27" fmla="*/ 73 h 73"/>
                <a:gd name="T28" fmla="*/ 77 w 154"/>
                <a:gd name="T29" fmla="*/ 67 h 73"/>
                <a:gd name="T30" fmla="*/ 109 w 154"/>
                <a:gd name="T31" fmla="*/ 67 h 73"/>
                <a:gd name="T32" fmla="*/ 113 w 154"/>
                <a:gd name="T33" fmla="*/ 62 h 73"/>
                <a:gd name="T34" fmla="*/ 121 w 154"/>
                <a:gd name="T35" fmla="*/ 59 h 73"/>
                <a:gd name="T36" fmla="*/ 130 w 154"/>
                <a:gd name="T37" fmla="*/ 62 h 73"/>
                <a:gd name="T38" fmla="*/ 134 w 154"/>
                <a:gd name="T39" fmla="*/ 67 h 73"/>
                <a:gd name="T40" fmla="*/ 147 w 154"/>
                <a:gd name="T41" fmla="*/ 67 h 73"/>
                <a:gd name="T42" fmla="*/ 147 w 154"/>
                <a:gd name="T43" fmla="*/ 6 h 73"/>
                <a:gd name="T44" fmla="*/ 77 w 154"/>
                <a:gd name="T45" fmla="*/ 6 h 73"/>
                <a:gd name="T46" fmla="*/ 77 w 154"/>
                <a:gd name="T47" fmla="*/ 0 h 73"/>
                <a:gd name="T48" fmla="*/ 26 w 154"/>
                <a:gd name="T49" fmla="*/ 0 h 73"/>
                <a:gd name="T50" fmla="*/ 77 w 154"/>
                <a:gd name="T51" fmla="*/ 0 h 73"/>
                <a:gd name="T52" fmla="*/ 77 w 154"/>
                <a:gd name="T53" fmla="*/ 6 h 73"/>
                <a:gd name="T54" fmla="*/ 26 w 154"/>
                <a:gd name="T55" fmla="*/ 6 h 73"/>
                <a:gd name="T56" fmla="*/ 18 w 154"/>
                <a:gd name="T57" fmla="*/ 21 h 73"/>
                <a:gd name="T58" fmla="*/ 7 w 154"/>
                <a:gd name="T59" fmla="*/ 53 h 73"/>
                <a:gd name="T60" fmla="*/ 7 w 154"/>
                <a:gd name="T61" fmla="*/ 61 h 73"/>
                <a:gd name="T62" fmla="*/ 8 w 154"/>
                <a:gd name="T63" fmla="*/ 65 h 73"/>
                <a:gd name="T64" fmla="*/ 13 w 154"/>
                <a:gd name="T65" fmla="*/ 67 h 73"/>
                <a:gd name="T66" fmla="*/ 17 w 154"/>
                <a:gd name="T67" fmla="*/ 67 h 73"/>
                <a:gd name="T68" fmla="*/ 21 w 154"/>
                <a:gd name="T69" fmla="*/ 62 h 73"/>
                <a:gd name="T70" fmla="*/ 30 w 154"/>
                <a:gd name="T71" fmla="*/ 59 h 73"/>
                <a:gd name="T72" fmla="*/ 39 w 154"/>
                <a:gd name="T73" fmla="*/ 62 h 73"/>
                <a:gd name="T74" fmla="*/ 43 w 154"/>
                <a:gd name="T75" fmla="*/ 67 h 73"/>
                <a:gd name="T76" fmla="*/ 77 w 154"/>
                <a:gd name="T77" fmla="*/ 67 h 73"/>
                <a:gd name="T78" fmla="*/ 77 w 154"/>
                <a:gd name="T79" fmla="*/ 73 h 73"/>
                <a:gd name="T80" fmla="*/ 40 w 154"/>
                <a:gd name="T81" fmla="*/ 73 h 73"/>
                <a:gd name="T82" fmla="*/ 37 w 154"/>
                <a:gd name="T83" fmla="*/ 71 h 73"/>
                <a:gd name="T84" fmla="*/ 35 w 154"/>
                <a:gd name="T85" fmla="*/ 67 h 73"/>
                <a:gd name="T86" fmla="*/ 30 w 154"/>
                <a:gd name="T87" fmla="*/ 65 h 73"/>
                <a:gd name="T88" fmla="*/ 25 w 154"/>
                <a:gd name="T89" fmla="*/ 67 h 73"/>
                <a:gd name="T90" fmla="*/ 22 w 154"/>
                <a:gd name="T91" fmla="*/ 71 h 73"/>
                <a:gd name="T92" fmla="*/ 19 w 154"/>
                <a:gd name="T93" fmla="*/ 73 h 73"/>
                <a:gd name="T94" fmla="*/ 19 w 154"/>
                <a:gd name="T95" fmla="*/ 73 h 73"/>
                <a:gd name="T96" fmla="*/ 13 w 154"/>
                <a:gd name="T97" fmla="*/ 73 h 73"/>
                <a:gd name="T98" fmla="*/ 4 w 154"/>
                <a:gd name="T99" fmla="*/ 70 h 73"/>
                <a:gd name="T100" fmla="*/ 0 w 154"/>
                <a:gd name="T101" fmla="*/ 61 h 73"/>
                <a:gd name="T102" fmla="*/ 0 w 154"/>
                <a:gd name="T103" fmla="*/ 53 h 73"/>
                <a:gd name="T104" fmla="*/ 12 w 154"/>
                <a:gd name="T105" fmla="*/ 19 h 73"/>
                <a:gd name="T106" fmla="*/ 26 w 154"/>
                <a:gd name="T10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4" h="73">
                  <a:moveTo>
                    <a:pt x="77" y="0"/>
                  </a:moveTo>
                  <a:cubicBezTo>
                    <a:pt x="150" y="0"/>
                    <a:pt x="150" y="0"/>
                    <a:pt x="150" y="0"/>
                  </a:cubicBezTo>
                  <a:cubicBezTo>
                    <a:pt x="152" y="0"/>
                    <a:pt x="154" y="1"/>
                    <a:pt x="154" y="3"/>
                  </a:cubicBezTo>
                  <a:cubicBezTo>
                    <a:pt x="154" y="70"/>
                    <a:pt x="154" y="70"/>
                    <a:pt x="154" y="70"/>
                  </a:cubicBezTo>
                  <a:cubicBezTo>
                    <a:pt x="154" y="72"/>
                    <a:pt x="152" y="73"/>
                    <a:pt x="150" y="73"/>
                  </a:cubicBezTo>
                  <a:cubicBezTo>
                    <a:pt x="132" y="73"/>
                    <a:pt x="132" y="73"/>
                    <a:pt x="132" y="73"/>
                  </a:cubicBezTo>
                  <a:cubicBezTo>
                    <a:pt x="130" y="73"/>
                    <a:pt x="129" y="72"/>
                    <a:pt x="129" y="71"/>
                  </a:cubicBezTo>
                  <a:cubicBezTo>
                    <a:pt x="128" y="69"/>
                    <a:pt x="127" y="68"/>
                    <a:pt x="126" y="67"/>
                  </a:cubicBezTo>
                  <a:cubicBezTo>
                    <a:pt x="125" y="66"/>
                    <a:pt x="123" y="65"/>
                    <a:pt x="121" y="65"/>
                  </a:cubicBezTo>
                  <a:cubicBezTo>
                    <a:pt x="120" y="65"/>
                    <a:pt x="118" y="66"/>
                    <a:pt x="117" y="67"/>
                  </a:cubicBezTo>
                  <a:cubicBezTo>
                    <a:pt x="115" y="68"/>
                    <a:pt x="114" y="69"/>
                    <a:pt x="114" y="71"/>
                  </a:cubicBezTo>
                  <a:cubicBezTo>
                    <a:pt x="114" y="72"/>
                    <a:pt x="112" y="73"/>
                    <a:pt x="111" y="73"/>
                  </a:cubicBezTo>
                  <a:cubicBezTo>
                    <a:pt x="111" y="73"/>
                    <a:pt x="111" y="73"/>
                    <a:pt x="111" y="73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11" y="63"/>
                    <a:pt x="113" y="62"/>
                  </a:cubicBezTo>
                  <a:cubicBezTo>
                    <a:pt x="115" y="60"/>
                    <a:pt x="118" y="59"/>
                    <a:pt x="121" y="59"/>
                  </a:cubicBezTo>
                  <a:cubicBezTo>
                    <a:pt x="125" y="59"/>
                    <a:pt x="128" y="60"/>
                    <a:pt x="130" y="62"/>
                  </a:cubicBezTo>
                  <a:cubicBezTo>
                    <a:pt x="132" y="63"/>
                    <a:pt x="133" y="65"/>
                    <a:pt x="134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"/>
                    <a:pt x="147" y="6"/>
                    <a:pt x="147" y="6"/>
                  </a:cubicBezTo>
                  <a:cubicBezTo>
                    <a:pt x="77" y="6"/>
                    <a:pt x="77" y="6"/>
                    <a:pt x="77" y="6"/>
                  </a:cubicBezTo>
                  <a:lnTo>
                    <a:pt x="77" y="0"/>
                  </a:lnTo>
                  <a:close/>
                  <a:moveTo>
                    <a:pt x="26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2" y="13"/>
                    <a:pt x="18" y="21"/>
                  </a:cubicBezTo>
                  <a:cubicBezTo>
                    <a:pt x="12" y="34"/>
                    <a:pt x="7" y="50"/>
                    <a:pt x="7" y="53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7" y="63"/>
                    <a:pt x="7" y="64"/>
                    <a:pt x="8" y="65"/>
                  </a:cubicBezTo>
                  <a:cubicBezTo>
                    <a:pt x="9" y="66"/>
                    <a:pt x="11" y="67"/>
                    <a:pt x="13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8" y="65"/>
                    <a:pt x="19" y="63"/>
                    <a:pt x="21" y="62"/>
                  </a:cubicBezTo>
                  <a:cubicBezTo>
                    <a:pt x="24" y="60"/>
                    <a:pt x="27" y="59"/>
                    <a:pt x="30" y="59"/>
                  </a:cubicBezTo>
                  <a:cubicBezTo>
                    <a:pt x="33" y="59"/>
                    <a:pt x="36" y="60"/>
                    <a:pt x="39" y="62"/>
                  </a:cubicBezTo>
                  <a:cubicBezTo>
                    <a:pt x="40" y="63"/>
                    <a:pt x="42" y="65"/>
                    <a:pt x="43" y="67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39" y="73"/>
                    <a:pt x="38" y="72"/>
                    <a:pt x="37" y="71"/>
                  </a:cubicBezTo>
                  <a:cubicBezTo>
                    <a:pt x="37" y="69"/>
                    <a:pt x="36" y="68"/>
                    <a:pt x="35" y="67"/>
                  </a:cubicBezTo>
                  <a:cubicBezTo>
                    <a:pt x="33" y="66"/>
                    <a:pt x="32" y="65"/>
                    <a:pt x="30" y="65"/>
                  </a:cubicBezTo>
                  <a:cubicBezTo>
                    <a:pt x="28" y="65"/>
                    <a:pt x="26" y="66"/>
                    <a:pt x="25" y="67"/>
                  </a:cubicBezTo>
                  <a:cubicBezTo>
                    <a:pt x="24" y="68"/>
                    <a:pt x="23" y="69"/>
                    <a:pt x="22" y="71"/>
                  </a:cubicBezTo>
                  <a:cubicBezTo>
                    <a:pt x="22" y="72"/>
                    <a:pt x="21" y="73"/>
                    <a:pt x="19" y="73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9" y="73"/>
                    <a:pt x="6" y="72"/>
                    <a:pt x="4" y="70"/>
                  </a:cubicBezTo>
                  <a:cubicBezTo>
                    <a:pt x="2" y="67"/>
                    <a:pt x="0" y="64"/>
                    <a:pt x="0" y="61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0"/>
                    <a:pt x="6" y="32"/>
                    <a:pt x="12" y="19"/>
                  </a:cubicBezTo>
                  <a:cubicBezTo>
                    <a:pt x="17" y="8"/>
                    <a:pt x="22" y="0"/>
                    <a:pt x="26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77" name="Freeform 1373">
              <a:extLst>
                <a:ext uri="{FF2B5EF4-FFF2-40B4-BE49-F238E27FC236}">
                  <a16:creationId xmlns:a16="http://schemas.microsoft.com/office/drawing/2014/main" id="{7CFDD138-B148-4627-8969-0FF3222DA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444" y="3800155"/>
              <a:ext cx="174513" cy="59436"/>
            </a:xfrm>
            <a:custGeom>
              <a:avLst/>
              <a:gdLst>
                <a:gd name="T0" fmla="*/ 93 w 96"/>
                <a:gd name="T1" fmla="*/ 27 h 33"/>
                <a:gd name="T2" fmla="*/ 96 w 96"/>
                <a:gd name="T3" fmla="*/ 30 h 33"/>
                <a:gd name="T4" fmla="*/ 93 w 96"/>
                <a:gd name="T5" fmla="*/ 33 h 33"/>
                <a:gd name="T6" fmla="*/ 41 w 96"/>
                <a:gd name="T7" fmla="*/ 33 h 33"/>
                <a:gd name="T8" fmla="*/ 26 w 96"/>
                <a:gd name="T9" fmla="*/ 31 h 33"/>
                <a:gd name="T10" fmla="*/ 16 w 96"/>
                <a:gd name="T11" fmla="*/ 24 h 33"/>
                <a:gd name="T12" fmla="*/ 1 w 96"/>
                <a:gd name="T13" fmla="*/ 6 h 33"/>
                <a:gd name="T14" fmla="*/ 1 w 96"/>
                <a:gd name="T15" fmla="*/ 1 h 33"/>
                <a:gd name="T16" fmla="*/ 6 w 96"/>
                <a:gd name="T17" fmla="*/ 2 h 33"/>
                <a:gd name="T18" fmla="*/ 21 w 96"/>
                <a:gd name="T19" fmla="*/ 20 h 33"/>
                <a:gd name="T20" fmla="*/ 29 w 96"/>
                <a:gd name="T21" fmla="*/ 25 h 33"/>
                <a:gd name="T22" fmla="*/ 41 w 96"/>
                <a:gd name="T23" fmla="*/ 27 h 33"/>
                <a:gd name="T24" fmla="*/ 93 w 96"/>
                <a:gd name="T2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33">
                  <a:moveTo>
                    <a:pt x="93" y="27"/>
                  </a:moveTo>
                  <a:cubicBezTo>
                    <a:pt x="95" y="27"/>
                    <a:pt x="96" y="28"/>
                    <a:pt x="96" y="30"/>
                  </a:cubicBezTo>
                  <a:cubicBezTo>
                    <a:pt x="96" y="32"/>
                    <a:pt x="95" y="33"/>
                    <a:pt x="93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6" y="33"/>
                    <a:pt x="31" y="33"/>
                    <a:pt x="26" y="31"/>
                  </a:cubicBezTo>
                  <a:cubicBezTo>
                    <a:pt x="22" y="30"/>
                    <a:pt x="19" y="28"/>
                    <a:pt x="16" y="2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2" y="0"/>
                    <a:pt x="4" y="1"/>
                    <a:pt x="6" y="2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3" y="23"/>
                    <a:pt x="26" y="24"/>
                    <a:pt x="29" y="25"/>
                  </a:cubicBezTo>
                  <a:cubicBezTo>
                    <a:pt x="33" y="27"/>
                    <a:pt x="37" y="27"/>
                    <a:pt x="41" y="27"/>
                  </a:cubicBezTo>
                  <a:lnTo>
                    <a:pt x="93" y="2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78" name="Freeform 1374">
              <a:extLst>
                <a:ext uri="{FF2B5EF4-FFF2-40B4-BE49-F238E27FC236}">
                  <a16:creationId xmlns:a16="http://schemas.microsoft.com/office/drawing/2014/main" id="{A3E40674-93BD-4811-9DC5-EF0D1AF13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390" y="3797626"/>
              <a:ext cx="63229" cy="121400"/>
            </a:xfrm>
            <a:custGeom>
              <a:avLst/>
              <a:gdLst>
                <a:gd name="T0" fmla="*/ 12 w 35"/>
                <a:gd name="T1" fmla="*/ 6 h 67"/>
                <a:gd name="T2" fmla="*/ 12 w 35"/>
                <a:gd name="T3" fmla="*/ 2 h 67"/>
                <a:gd name="T4" fmla="*/ 16 w 35"/>
                <a:gd name="T5" fmla="*/ 2 h 67"/>
                <a:gd name="T6" fmla="*/ 29 w 35"/>
                <a:gd name="T7" fmla="*/ 13 h 67"/>
                <a:gd name="T8" fmla="*/ 35 w 35"/>
                <a:gd name="T9" fmla="*/ 26 h 67"/>
                <a:gd name="T10" fmla="*/ 30 w 35"/>
                <a:gd name="T11" fmla="*/ 38 h 67"/>
                <a:gd name="T12" fmla="*/ 6 w 35"/>
                <a:gd name="T13" fmla="*/ 65 h 67"/>
                <a:gd name="T14" fmla="*/ 1 w 35"/>
                <a:gd name="T15" fmla="*/ 66 h 67"/>
                <a:gd name="T16" fmla="*/ 1 w 35"/>
                <a:gd name="T17" fmla="*/ 61 h 67"/>
                <a:gd name="T18" fmla="*/ 25 w 35"/>
                <a:gd name="T19" fmla="*/ 34 h 67"/>
                <a:gd name="T20" fmla="*/ 28 w 35"/>
                <a:gd name="T21" fmla="*/ 26 h 67"/>
                <a:gd name="T22" fmla="*/ 25 w 35"/>
                <a:gd name="T23" fmla="*/ 18 h 67"/>
                <a:gd name="T24" fmla="*/ 12 w 35"/>
                <a:gd name="T25" fmla="*/ 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67">
                  <a:moveTo>
                    <a:pt x="12" y="6"/>
                  </a:moveTo>
                  <a:cubicBezTo>
                    <a:pt x="10" y="5"/>
                    <a:pt x="10" y="3"/>
                    <a:pt x="12" y="2"/>
                  </a:cubicBezTo>
                  <a:cubicBezTo>
                    <a:pt x="13" y="0"/>
                    <a:pt x="15" y="0"/>
                    <a:pt x="16" y="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3" y="17"/>
                    <a:pt x="35" y="21"/>
                    <a:pt x="35" y="26"/>
                  </a:cubicBezTo>
                  <a:cubicBezTo>
                    <a:pt x="35" y="30"/>
                    <a:pt x="33" y="35"/>
                    <a:pt x="30" y="38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4" y="67"/>
                    <a:pt x="2" y="67"/>
                    <a:pt x="1" y="66"/>
                  </a:cubicBezTo>
                  <a:cubicBezTo>
                    <a:pt x="0" y="64"/>
                    <a:pt x="0" y="62"/>
                    <a:pt x="1" y="61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8" y="32"/>
                    <a:pt x="29" y="29"/>
                    <a:pt x="28" y="26"/>
                  </a:cubicBezTo>
                  <a:cubicBezTo>
                    <a:pt x="28" y="23"/>
                    <a:pt x="27" y="20"/>
                    <a:pt x="25" y="18"/>
                  </a:cubicBezTo>
                  <a:lnTo>
                    <a:pt x="12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79" name="Freeform 1375">
              <a:extLst>
                <a:ext uri="{FF2B5EF4-FFF2-40B4-BE49-F238E27FC236}">
                  <a16:creationId xmlns:a16="http://schemas.microsoft.com/office/drawing/2014/main" id="{B28B157B-83F4-4FE8-B7F3-186C0FC9B7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2098" y="3906380"/>
              <a:ext cx="50583" cy="50583"/>
            </a:xfrm>
            <a:custGeom>
              <a:avLst/>
              <a:gdLst>
                <a:gd name="T0" fmla="*/ 14 w 28"/>
                <a:gd name="T1" fmla="*/ 0 h 28"/>
                <a:gd name="T2" fmla="*/ 24 w 28"/>
                <a:gd name="T3" fmla="*/ 4 h 28"/>
                <a:gd name="T4" fmla="*/ 28 w 28"/>
                <a:gd name="T5" fmla="*/ 14 h 28"/>
                <a:gd name="T6" fmla="*/ 24 w 28"/>
                <a:gd name="T7" fmla="*/ 23 h 28"/>
                <a:gd name="T8" fmla="*/ 14 w 28"/>
                <a:gd name="T9" fmla="*/ 28 h 28"/>
                <a:gd name="T10" fmla="*/ 14 w 28"/>
                <a:gd name="T11" fmla="*/ 21 h 28"/>
                <a:gd name="T12" fmla="*/ 19 w 28"/>
                <a:gd name="T13" fmla="*/ 19 h 28"/>
                <a:gd name="T14" fmla="*/ 21 w 28"/>
                <a:gd name="T15" fmla="*/ 14 h 28"/>
                <a:gd name="T16" fmla="*/ 19 w 28"/>
                <a:gd name="T17" fmla="*/ 8 h 28"/>
                <a:gd name="T18" fmla="*/ 14 w 28"/>
                <a:gd name="T19" fmla="*/ 6 h 28"/>
                <a:gd name="T20" fmla="*/ 14 w 28"/>
                <a:gd name="T21" fmla="*/ 0 h 28"/>
                <a:gd name="T22" fmla="*/ 14 w 28"/>
                <a:gd name="T23" fmla="*/ 28 h 28"/>
                <a:gd name="T24" fmla="*/ 4 w 28"/>
                <a:gd name="T25" fmla="*/ 23 h 28"/>
                <a:gd name="T26" fmla="*/ 0 w 28"/>
                <a:gd name="T27" fmla="*/ 14 h 28"/>
                <a:gd name="T28" fmla="*/ 4 w 28"/>
                <a:gd name="T29" fmla="*/ 4 h 28"/>
                <a:gd name="T30" fmla="*/ 14 w 28"/>
                <a:gd name="T31" fmla="*/ 0 h 28"/>
                <a:gd name="T32" fmla="*/ 14 w 28"/>
                <a:gd name="T33" fmla="*/ 6 h 28"/>
                <a:gd name="T34" fmla="*/ 8 w 28"/>
                <a:gd name="T35" fmla="*/ 8 h 28"/>
                <a:gd name="T36" fmla="*/ 6 w 28"/>
                <a:gd name="T37" fmla="*/ 14 h 28"/>
                <a:gd name="T38" fmla="*/ 8 w 28"/>
                <a:gd name="T39" fmla="*/ 19 h 28"/>
                <a:gd name="T40" fmla="*/ 14 w 28"/>
                <a:gd name="T41" fmla="*/ 21 h 28"/>
                <a:gd name="T42" fmla="*/ 14 w 28"/>
                <a:gd name="T4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18" y="0"/>
                    <a:pt x="21" y="1"/>
                    <a:pt x="24" y="4"/>
                  </a:cubicBezTo>
                  <a:cubicBezTo>
                    <a:pt x="26" y="6"/>
                    <a:pt x="28" y="10"/>
                    <a:pt x="28" y="14"/>
                  </a:cubicBezTo>
                  <a:cubicBezTo>
                    <a:pt x="28" y="17"/>
                    <a:pt x="26" y="21"/>
                    <a:pt x="24" y="23"/>
                  </a:cubicBezTo>
                  <a:cubicBezTo>
                    <a:pt x="21" y="26"/>
                    <a:pt x="18" y="28"/>
                    <a:pt x="14" y="28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1"/>
                    <a:pt x="18" y="20"/>
                    <a:pt x="19" y="19"/>
                  </a:cubicBezTo>
                  <a:cubicBezTo>
                    <a:pt x="21" y="18"/>
                    <a:pt x="21" y="16"/>
                    <a:pt x="21" y="14"/>
                  </a:cubicBezTo>
                  <a:cubicBezTo>
                    <a:pt x="21" y="11"/>
                    <a:pt x="21" y="10"/>
                    <a:pt x="19" y="8"/>
                  </a:cubicBezTo>
                  <a:cubicBezTo>
                    <a:pt x="18" y="7"/>
                    <a:pt x="16" y="6"/>
                    <a:pt x="14" y="6"/>
                  </a:cubicBezTo>
                  <a:lnTo>
                    <a:pt x="14" y="0"/>
                  </a:lnTo>
                  <a:close/>
                  <a:moveTo>
                    <a:pt x="14" y="28"/>
                  </a:moveTo>
                  <a:cubicBezTo>
                    <a:pt x="10" y="28"/>
                    <a:pt x="7" y="26"/>
                    <a:pt x="4" y="23"/>
                  </a:cubicBezTo>
                  <a:cubicBezTo>
                    <a:pt x="1" y="21"/>
                    <a:pt x="0" y="17"/>
                    <a:pt x="0" y="14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2" y="6"/>
                    <a:pt x="10" y="7"/>
                    <a:pt x="8" y="8"/>
                  </a:cubicBezTo>
                  <a:cubicBezTo>
                    <a:pt x="7" y="10"/>
                    <a:pt x="6" y="11"/>
                    <a:pt x="6" y="14"/>
                  </a:cubicBezTo>
                  <a:cubicBezTo>
                    <a:pt x="6" y="16"/>
                    <a:pt x="7" y="18"/>
                    <a:pt x="8" y="19"/>
                  </a:cubicBezTo>
                  <a:cubicBezTo>
                    <a:pt x="10" y="20"/>
                    <a:pt x="12" y="21"/>
                    <a:pt x="14" y="21"/>
                  </a:cubicBezTo>
                  <a:lnTo>
                    <a:pt x="14" y="2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0" name="Freeform 1376">
              <a:extLst>
                <a:ext uri="{FF2B5EF4-FFF2-40B4-BE49-F238E27FC236}">
                  <a16:creationId xmlns:a16="http://schemas.microsoft.com/office/drawing/2014/main" id="{5210415F-BB4D-42F3-8DF2-710B79F48A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6494" y="3906380"/>
              <a:ext cx="50583" cy="50583"/>
            </a:xfrm>
            <a:custGeom>
              <a:avLst/>
              <a:gdLst>
                <a:gd name="T0" fmla="*/ 14 w 28"/>
                <a:gd name="T1" fmla="*/ 0 h 28"/>
                <a:gd name="T2" fmla="*/ 24 w 28"/>
                <a:gd name="T3" fmla="*/ 4 h 28"/>
                <a:gd name="T4" fmla="*/ 28 w 28"/>
                <a:gd name="T5" fmla="*/ 14 h 28"/>
                <a:gd name="T6" fmla="*/ 24 w 28"/>
                <a:gd name="T7" fmla="*/ 23 h 28"/>
                <a:gd name="T8" fmla="*/ 14 w 28"/>
                <a:gd name="T9" fmla="*/ 28 h 28"/>
                <a:gd name="T10" fmla="*/ 14 w 28"/>
                <a:gd name="T11" fmla="*/ 21 h 28"/>
                <a:gd name="T12" fmla="*/ 20 w 28"/>
                <a:gd name="T13" fmla="*/ 19 h 28"/>
                <a:gd name="T14" fmla="*/ 22 w 28"/>
                <a:gd name="T15" fmla="*/ 14 h 28"/>
                <a:gd name="T16" fmla="*/ 20 w 28"/>
                <a:gd name="T17" fmla="*/ 8 h 28"/>
                <a:gd name="T18" fmla="*/ 14 w 28"/>
                <a:gd name="T19" fmla="*/ 6 h 28"/>
                <a:gd name="T20" fmla="*/ 14 w 28"/>
                <a:gd name="T21" fmla="*/ 0 h 28"/>
                <a:gd name="T22" fmla="*/ 14 w 28"/>
                <a:gd name="T23" fmla="*/ 0 h 28"/>
                <a:gd name="T24" fmla="*/ 14 w 28"/>
                <a:gd name="T25" fmla="*/ 0 h 28"/>
                <a:gd name="T26" fmla="*/ 14 w 28"/>
                <a:gd name="T27" fmla="*/ 6 h 28"/>
                <a:gd name="T28" fmla="*/ 9 w 28"/>
                <a:gd name="T29" fmla="*/ 8 h 28"/>
                <a:gd name="T30" fmla="*/ 7 w 28"/>
                <a:gd name="T31" fmla="*/ 14 h 28"/>
                <a:gd name="T32" fmla="*/ 9 w 28"/>
                <a:gd name="T33" fmla="*/ 19 h 28"/>
                <a:gd name="T34" fmla="*/ 14 w 28"/>
                <a:gd name="T35" fmla="*/ 21 h 28"/>
                <a:gd name="T36" fmla="*/ 14 w 28"/>
                <a:gd name="T37" fmla="*/ 28 h 28"/>
                <a:gd name="T38" fmla="*/ 4 w 28"/>
                <a:gd name="T39" fmla="*/ 23 h 28"/>
                <a:gd name="T40" fmla="*/ 0 w 28"/>
                <a:gd name="T41" fmla="*/ 14 h 28"/>
                <a:gd name="T42" fmla="*/ 4 w 28"/>
                <a:gd name="T43" fmla="*/ 4 h 28"/>
                <a:gd name="T44" fmla="*/ 14 w 28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cubicBezTo>
                    <a:pt x="18" y="0"/>
                    <a:pt x="22" y="1"/>
                    <a:pt x="24" y="4"/>
                  </a:cubicBezTo>
                  <a:cubicBezTo>
                    <a:pt x="27" y="6"/>
                    <a:pt x="28" y="10"/>
                    <a:pt x="28" y="14"/>
                  </a:cubicBezTo>
                  <a:cubicBezTo>
                    <a:pt x="28" y="17"/>
                    <a:pt x="27" y="21"/>
                    <a:pt x="24" y="23"/>
                  </a:cubicBezTo>
                  <a:cubicBezTo>
                    <a:pt x="22" y="26"/>
                    <a:pt x="18" y="28"/>
                    <a:pt x="14" y="28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1"/>
                    <a:pt x="18" y="20"/>
                    <a:pt x="20" y="19"/>
                  </a:cubicBezTo>
                  <a:cubicBezTo>
                    <a:pt x="21" y="18"/>
                    <a:pt x="22" y="16"/>
                    <a:pt x="22" y="14"/>
                  </a:cubicBezTo>
                  <a:cubicBezTo>
                    <a:pt x="22" y="11"/>
                    <a:pt x="21" y="10"/>
                    <a:pt x="20" y="8"/>
                  </a:cubicBezTo>
                  <a:cubicBezTo>
                    <a:pt x="18" y="7"/>
                    <a:pt x="16" y="6"/>
                    <a:pt x="14" y="6"/>
                  </a:cubicBezTo>
                  <a:lnTo>
                    <a:pt x="14" y="0"/>
                  </a:lnTo>
                  <a:close/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2" y="6"/>
                    <a:pt x="10" y="7"/>
                    <a:pt x="9" y="8"/>
                  </a:cubicBezTo>
                  <a:cubicBezTo>
                    <a:pt x="8" y="10"/>
                    <a:pt x="7" y="11"/>
                    <a:pt x="7" y="14"/>
                  </a:cubicBezTo>
                  <a:cubicBezTo>
                    <a:pt x="7" y="16"/>
                    <a:pt x="8" y="18"/>
                    <a:pt x="9" y="19"/>
                  </a:cubicBezTo>
                  <a:cubicBezTo>
                    <a:pt x="10" y="20"/>
                    <a:pt x="12" y="21"/>
                    <a:pt x="14" y="21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0" y="28"/>
                    <a:pt x="7" y="26"/>
                    <a:pt x="4" y="23"/>
                  </a:cubicBezTo>
                  <a:cubicBezTo>
                    <a:pt x="2" y="21"/>
                    <a:pt x="0" y="17"/>
                    <a:pt x="0" y="14"/>
                  </a:cubicBezTo>
                  <a:cubicBezTo>
                    <a:pt x="0" y="10"/>
                    <a:pt x="2" y="6"/>
                    <a:pt x="4" y="4"/>
                  </a:cubicBezTo>
                  <a:cubicBezTo>
                    <a:pt x="7" y="1"/>
                    <a:pt x="10" y="0"/>
                    <a:pt x="14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1" name="Freeform 1377">
              <a:extLst>
                <a:ext uri="{FF2B5EF4-FFF2-40B4-BE49-F238E27FC236}">
                  <a16:creationId xmlns:a16="http://schemas.microsoft.com/office/drawing/2014/main" id="{439F0722-7256-4AF9-BF39-6240DC7A2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336" y="3870972"/>
              <a:ext cx="89786" cy="12646"/>
            </a:xfrm>
            <a:custGeom>
              <a:avLst/>
              <a:gdLst>
                <a:gd name="T0" fmla="*/ 3 w 49"/>
                <a:gd name="T1" fmla="*/ 7 h 7"/>
                <a:gd name="T2" fmla="*/ 0 w 49"/>
                <a:gd name="T3" fmla="*/ 4 h 7"/>
                <a:gd name="T4" fmla="*/ 3 w 49"/>
                <a:gd name="T5" fmla="*/ 0 h 7"/>
                <a:gd name="T6" fmla="*/ 45 w 49"/>
                <a:gd name="T7" fmla="*/ 0 h 7"/>
                <a:gd name="T8" fmla="*/ 49 w 49"/>
                <a:gd name="T9" fmla="*/ 4 h 7"/>
                <a:gd name="T10" fmla="*/ 45 w 49"/>
                <a:gd name="T11" fmla="*/ 7 h 7"/>
                <a:gd name="T12" fmla="*/ 3 w 4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7">
                  <a:moveTo>
                    <a:pt x="3" y="7"/>
                  </a:moveTo>
                  <a:cubicBezTo>
                    <a:pt x="2" y="7"/>
                    <a:pt x="0" y="5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7" y="0"/>
                    <a:pt x="49" y="2"/>
                    <a:pt x="49" y="4"/>
                  </a:cubicBezTo>
                  <a:cubicBezTo>
                    <a:pt x="49" y="5"/>
                    <a:pt x="47" y="7"/>
                    <a:pt x="45" y="7"/>
                  </a:cubicBezTo>
                  <a:lnTo>
                    <a:pt x="3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2" name="Freeform 1378">
              <a:extLst>
                <a:ext uri="{FF2B5EF4-FFF2-40B4-BE49-F238E27FC236}">
                  <a16:creationId xmlns:a16="http://schemas.microsoft.com/office/drawing/2014/main" id="{3CCD2039-FE12-4DFF-A65B-9D563F218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3167" y="3797626"/>
              <a:ext cx="20233" cy="60700"/>
            </a:xfrm>
            <a:custGeom>
              <a:avLst/>
              <a:gdLst>
                <a:gd name="T0" fmla="*/ 6 w 11"/>
                <a:gd name="T1" fmla="*/ 30 h 33"/>
                <a:gd name="T2" fmla="*/ 3 w 11"/>
                <a:gd name="T3" fmla="*/ 33 h 33"/>
                <a:gd name="T4" fmla="*/ 0 w 11"/>
                <a:gd name="T5" fmla="*/ 29 h 33"/>
                <a:gd name="T6" fmla="*/ 5 w 11"/>
                <a:gd name="T7" fmla="*/ 3 h 33"/>
                <a:gd name="T8" fmla="*/ 8 w 11"/>
                <a:gd name="T9" fmla="*/ 1 h 33"/>
                <a:gd name="T10" fmla="*/ 11 w 11"/>
                <a:gd name="T11" fmla="*/ 4 h 33"/>
                <a:gd name="T12" fmla="*/ 6 w 11"/>
                <a:gd name="T13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">
                  <a:moveTo>
                    <a:pt x="6" y="30"/>
                  </a:moveTo>
                  <a:cubicBezTo>
                    <a:pt x="6" y="32"/>
                    <a:pt x="5" y="33"/>
                    <a:pt x="3" y="33"/>
                  </a:cubicBezTo>
                  <a:cubicBezTo>
                    <a:pt x="1" y="32"/>
                    <a:pt x="0" y="31"/>
                    <a:pt x="0" y="29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7" y="0"/>
                    <a:pt x="8" y="1"/>
                  </a:cubicBezTo>
                  <a:cubicBezTo>
                    <a:pt x="10" y="1"/>
                    <a:pt x="11" y="3"/>
                    <a:pt x="11" y="4"/>
                  </a:cubicBezTo>
                  <a:lnTo>
                    <a:pt x="6" y="3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3" name="Freeform 1379">
              <a:extLst>
                <a:ext uri="{FF2B5EF4-FFF2-40B4-BE49-F238E27FC236}">
                  <a16:creationId xmlns:a16="http://schemas.microsoft.com/office/drawing/2014/main" id="{24B8EAED-2F6D-4104-9BDD-1778C9340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5230" y="3797626"/>
              <a:ext cx="21498" cy="60700"/>
            </a:xfrm>
            <a:custGeom>
              <a:avLst/>
              <a:gdLst>
                <a:gd name="T0" fmla="*/ 7 w 12"/>
                <a:gd name="T1" fmla="*/ 30 h 33"/>
                <a:gd name="T2" fmla="*/ 3 w 12"/>
                <a:gd name="T3" fmla="*/ 33 h 33"/>
                <a:gd name="T4" fmla="*/ 1 w 12"/>
                <a:gd name="T5" fmla="*/ 29 h 33"/>
                <a:gd name="T6" fmla="*/ 5 w 12"/>
                <a:gd name="T7" fmla="*/ 3 h 33"/>
                <a:gd name="T8" fmla="*/ 9 w 12"/>
                <a:gd name="T9" fmla="*/ 1 h 33"/>
                <a:gd name="T10" fmla="*/ 12 w 12"/>
                <a:gd name="T11" fmla="*/ 4 h 33"/>
                <a:gd name="T12" fmla="*/ 7 w 12"/>
                <a:gd name="T13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7" y="30"/>
                  </a:moveTo>
                  <a:cubicBezTo>
                    <a:pt x="7" y="32"/>
                    <a:pt x="5" y="33"/>
                    <a:pt x="3" y="33"/>
                  </a:cubicBezTo>
                  <a:cubicBezTo>
                    <a:pt x="2" y="32"/>
                    <a:pt x="0" y="31"/>
                    <a:pt x="1" y="29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7" y="0"/>
                    <a:pt x="9" y="1"/>
                  </a:cubicBezTo>
                  <a:cubicBezTo>
                    <a:pt x="11" y="1"/>
                    <a:pt x="12" y="3"/>
                    <a:pt x="12" y="4"/>
                  </a:cubicBezTo>
                  <a:lnTo>
                    <a:pt x="7" y="3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4" name="Freeform 1380">
              <a:extLst>
                <a:ext uri="{FF2B5EF4-FFF2-40B4-BE49-F238E27FC236}">
                  <a16:creationId xmlns:a16="http://schemas.microsoft.com/office/drawing/2014/main" id="{64BE67D8-B70F-4EB3-9FE2-F4615D6D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821" y="3797626"/>
              <a:ext cx="20233" cy="60700"/>
            </a:xfrm>
            <a:custGeom>
              <a:avLst/>
              <a:gdLst>
                <a:gd name="T0" fmla="*/ 6 w 11"/>
                <a:gd name="T1" fmla="*/ 30 h 33"/>
                <a:gd name="T2" fmla="*/ 3 w 11"/>
                <a:gd name="T3" fmla="*/ 33 h 33"/>
                <a:gd name="T4" fmla="*/ 0 w 11"/>
                <a:gd name="T5" fmla="*/ 29 h 33"/>
                <a:gd name="T6" fmla="*/ 5 w 11"/>
                <a:gd name="T7" fmla="*/ 3 h 33"/>
                <a:gd name="T8" fmla="*/ 8 w 11"/>
                <a:gd name="T9" fmla="*/ 1 h 33"/>
                <a:gd name="T10" fmla="*/ 11 w 11"/>
                <a:gd name="T11" fmla="*/ 4 h 33"/>
                <a:gd name="T12" fmla="*/ 6 w 11"/>
                <a:gd name="T13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">
                  <a:moveTo>
                    <a:pt x="6" y="30"/>
                  </a:moveTo>
                  <a:cubicBezTo>
                    <a:pt x="6" y="32"/>
                    <a:pt x="4" y="33"/>
                    <a:pt x="3" y="33"/>
                  </a:cubicBezTo>
                  <a:cubicBezTo>
                    <a:pt x="1" y="32"/>
                    <a:pt x="0" y="31"/>
                    <a:pt x="0" y="29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7" y="0"/>
                    <a:pt x="8" y="1"/>
                  </a:cubicBezTo>
                  <a:cubicBezTo>
                    <a:pt x="10" y="1"/>
                    <a:pt x="11" y="3"/>
                    <a:pt x="11" y="4"/>
                  </a:cubicBezTo>
                  <a:lnTo>
                    <a:pt x="6" y="3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6" name="Agrupar 1655">
            <a:extLst>
              <a:ext uri="{FF2B5EF4-FFF2-40B4-BE49-F238E27FC236}">
                <a16:creationId xmlns:a16="http://schemas.microsoft.com/office/drawing/2014/main" id="{9437A893-EAD7-4547-81D3-FAB3E036A197}"/>
              </a:ext>
            </a:extLst>
          </p:cNvPr>
          <p:cNvGrpSpPr/>
          <p:nvPr/>
        </p:nvGrpSpPr>
        <p:grpSpPr>
          <a:xfrm>
            <a:off x="6393454" y="2812514"/>
            <a:ext cx="260505" cy="259240"/>
            <a:chOff x="6393454" y="2812514"/>
            <a:chExt cx="260505" cy="259240"/>
          </a:xfrm>
        </p:grpSpPr>
        <p:sp>
          <p:nvSpPr>
            <p:cNvPr id="1185" name="Freeform 1381">
              <a:extLst>
                <a:ext uri="{FF2B5EF4-FFF2-40B4-BE49-F238E27FC236}">
                  <a16:creationId xmlns:a16="http://schemas.microsoft.com/office/drawing/2014/main" id="{35523285-7312-4D70-9908-A8FAF3190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454" y="2812514"/>
              <a:ext cx="260505" cy="220038"/>
            </a:xfrm>
            <a:custGeom>
              <a:avLst/>
              <a:gdLst>
                <a:gd name="T0" fmla="*/ 140 w 143"/>
                <a:gd name="T1" fmla="*/ 0 h 121"/>
                <a:gd name="T2" fmla="*/ 143 w 143"/>
                <a:gd name="T3" fmla="*/ 3 h 121"/>
                <a:gd name="T4" fmla="*/ 140 w 143"/>
                <a:gd name="T5" fmla="*/ 6 h 121"/>
                <a:gd name="T6" fmla="*/ 126 w 143"/>
                <a:gd name="T7" fmla="*/ 6 h 121"/>
                <a:gd name="T8" fmla="*/ 118 w 143"/>
                <a:gd name="T9" fmla="*/ 42 h 121"/>
                <a:gd name="T10" fmla="*/ 118 w 143"/>
                <a:gd name="T11" fmla="*/ 113 h 121"/>
                <a:gd name="T12" fmla="*/ 116 w 143"/>
                <a:gd name="T13" fmla="*/ 119 h 121"/>
                <a:gd name="T14" fmla="*/ 110 w 143"/>
                <a:gd name="T15" fmla="*/ 121 h 121"/>
                <a:gd name="T16" fmla="*/ 12 w 143"/>
                <a:gd name="T17" fmla="*/ 121 h 121"/>
                <a:gd name="T18" fmla="*/ 6 w 143"/>
                <a:gd name="T19" fmla="*/ 119 h 121"/>
                <a:gd name="T20" fmla="*/ 4 w 143"/>
                <a:gd name="T21" fmla="*/ 114 h 121"/>
                <a:gd name="T22" fmla="*/ 1 w 143"/>
                <a:gd name="T23" fmla="*/ 107 h 121"/>
                <a:gd name="T24" fmla="*/ 3 w 143"/>
                <a:gd name="T25" fmla="*/ 103 h 121"/>
                <a:gd name="T26" fmla="*/ 6 w 143"/>
                <a:gd name="T27" fmla="*/ 105 h 121"/>
                <a:gd name="T28" fmla="*/ 9 w 143"/>
                <a:gd name="T29" fmla="*/ 112 h 121"/>
                <a:gd name="T30" fmla="*/ 11 w 143"/>
                <a:gd name="T31" fmla="*/ 115 h 121"/>
                <a:gd name="T32" fmla="*/ 12 w 143"/>
                <a:gd name="T33" fmla="*/ 115 h 121"/>
                <a:gd name="T34" fmla="*/ 110 w 143"/>
                <a:gd name="T35" fmla="*/ 115 h 121"/>
                <a:gd name="T36" fmla="*/ 112 w 143"/>
                <a:gd name="T37" fmla="*/ 115 h 121"/>
                <a:gd name="T38" fmla="*/ 113 w 143"/>
                <a:gd name="T39" fmla="*/ 113 h 121"/>
                <a:gd name="T40" fmla="*/ 113 w 143"/>
                <a:gd name="T41" fmla="*/ 42 h 121"/>
                <a:gd name="T42" fmla="*/ 113 w 143"/>
                <a:gd name="T43" fmla="*/ 42 h 121"/>
                <a:gd name="T44" fmla="*/ 113 w 143"/>
                <a:gd name="T45" fmla="*/ 41 h 121"/>
                <a:gd name="T46" fmla="*/ 121 w 143"/>
                <a:gd name="T47" fmla="*/ 3 h 121"/>
                <a:gd name="T48" fmla="*/ 121 w 143"/>
                <a:gd name="T49" fmla="*/ 3 h 121"/>
                <a:gd name="T50" fmla="*/ 124 w 143"/>
                <a:gd name="T51" fmla="*/ 0 h 121"/>
                <a:gd name="T52" fmla="*/ 140 w 143"/>
                <a:gd name="T5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3" h="121">
                  <a:moveTo>
                    <a:pt x="140" y="0"/>
                  </a:moveTo>
                  <a:cubicBezTo>
                    <a:pt x="142" y="0"/>
                    <a:pt x="143" y="2"/>
                    <a:pt x="143" y="3"/>
                  </a:cubicBezTo>
                  <a:cubicBezTo>
                    <a:pt x="143" y="5"/>
                    <a:pt x="142" y="6"/>
                    <a:pt x="140" y="6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5"/>
                    <a:pt x="118" y="117"/>
                    <a:pt x="116" y="119"/>
                  </a:cubicBezTo>
                  <a:cubicBezTo>
                    <a:pt x="115" y="120"/>
                    <a:pt x="113" y="121"/>
                    <a:pt x="110" y="121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9" y="121"/>
                    <a:pt x="8" y="120"/>
                    <a:pt x="6" y="119"/>
                  </a:cubicBezTo>
                  <a:cubicBezTo>
                    <a:pt x="5" y="117"/>
                    <a:pt x="5" y="116"/>
                    <a:pt x="4" y="114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0" y="106"/>
                    <a:pt x="1" y="104"/>
                    <a:pt x="3" y="103"/>
                  </a:cubicBezTo>
                  <a:cubicBezTo>
                    <a:pt x="4" y="103"/>
                    <a:pt x="6" y="103"/>
                    <a:pt x="6" y="105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10" y="114"/>
                    <a:pt x="11" y="115"/>
                  </a:cubicBezTo>
                  <a:cubicBezTo>
                    <a:pt x="11" y="115"/>
                    <a:pt x="11" y="115"/>
                    <a:pt x="12" y="115"/>
                  </a:cubicBezTo>
                  <a:cubicBezTo>
                    <a:pt x="110" y="115"/>
                    <a:pt x="110" y="115"/>
                    <a:pt x="110" y="115"/>
                  </a:cubicBezTo>
                  <a:cubicBezTo>
                    <a:pt x="111" y="115"/>
                    <a:pt x="112" y="115"/>
                    <a:pt x="112" y="115"/>
                  </a:cubicBezTo>
                  <a:cubicBezTo>
                    <a:pt x="112" y="114"/>
                    <a:pt x="113" y="114"/>
                    <a:pt x="113" y="113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1"/>
                    <a:pt x="122" y="0"/>
                    <a:pt x="124" y="0"/>
                  </a:cubicBezTo>
                  <a:lnTo>
                    <a:pt x="140" y="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6" name="Freeform 1382">
              <a:extLst>
                <a:ext uri="{FF2B5EF4-FFF2-40B4-BE49-F238E27FC236}">
                  <a16:creationId xmlns:a16="http://schemas.microsoft.com/office/drawing/2014/main" id="{2CCCF7F9-D777-4FB6-A719-EBA09BBAD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1761" y="3033816"/>
              <a:ext cx="36673" cy="37938"/>
            </a:xfrm>
            <a:custGeom>
              <a:avLst/>
              <a:gdLst>
                <a:gd name="T0" fmla="*/ 10 w 20"/>
                <a:gd name="T1" fmla="*/ 0 h 21"/>
                <a:gd name="T2" fmla="*/ 17 w 20"/>
                <a:gd name="T3" fmla="*/ 3 h 21"/>
                <a:gd name="T4" fmla="*/ 20 w 20"/>
                <a:gd name="T5" fmla="*/ 10 h 21"/>
                <a:gd name="T6" fmla="*/ 17 w 20"/>
                <a:gd name="T7" fmla="*/ 18 h 21"/>
                <a:gd name="T8" fmla="*/ 10 w 20"/>
                <a:gd name="T9" fmla="*/ 21 h 21"/>
                <a:gd name="T10" fmla="*/ 10 w 20"/>
                <a:gd name="T11" fmla="*/ 15 h 21"/>
                <a:gd name="T12" fmla="*/ 13 w 20"/>
                <a:gd name="T13" fmla="*/ 14 h 21"/>
                <a:gd name="T14" fmla="*/ 15 w 20"/>
                <a:gd name="T15" fmla="*/ 10 h 21"/>
                <a:gd name="T16" fmla="*/ 13 w 20"/>
                <a:gd name="T17" fmla="*/ 7 h 21"/>
                <a:gd name="T18" fmla="*/ 10 w 20"/>
                <a:gd name="T19" fmla="*/ 6 h 21"/>
                <a:gd name="T20" fmla="*/ 10 w 20"/>
                <a:gd name="T21" fmla="*/ 0 h 21"/>
                <a:gd name="T22" fmla="*/ 10 w 20"/>
                <a:gd name="T23" fmla="*/ 21 h 21"/>
                <a:gd name="T24" fmla="*/ 3 w 20"/>
                <a:gd name="T25" fmla="*/ 18 h 21"/>
                <a:gd name="T26" fmla="*/ 0 w 20"/>
                <a:gd name="T27" fmla="*/ 10 h 21"/>
                <a:gd name="T28" fmla="*/ 3 w 20"/>
                <a:gd name="T29" fmla="*/ 3 h 21"/>
                <a:gd name="T30" fmla="*/ 10 w 20"/>
                <a:gd name="T31" fmla="*/ 0 h 21"/>
                <a:gd name="T32" fmla="*/ 10 w 20"/>
                <a:gd name="T33" fmla="*/ 6 h 21"/>
                <a:gd name="T34" fmla="*/ 7 w 20"/>
                <a:gd name="T35" fmla="*/ 7 h 21"/>
                <a:gd name="T36" fmla="*/ 6 w 20"/>
                <a:gd name="T37" fmla="*/ 10 h 21"/>
                <a:gd name="T38" fmla="*/ 7 w 20"/>
                <a:gd name="T39" fmla="*/ 14 h 21"/>
                <a:gd name="T40" fmla="*/ 10 w 20"/>
                <a:gd name="T41" fmla="*/ 15 h 21"/>
                <a:gd name="T42" fmla="*/ 10 w 20"/>
                <a:gd name="T4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21">
                  <a:moveTo>
                    <a:pt x="10" y="0"/>
                  </a:moveTo>
                  <a:cubicBezTo>
                    <a:pt x="13" y="0"/>
                    <a:pt x="16" y="1"/>
                    <a:pt x="17" y="3"/>
                  </a:cubicBezTo>
                  <a:cubicBezTo>
                    <a:pt x="19" y="5"/>
                    <a:pt x="20" y="8"/>
                    <a:pt x="20" y="10"/>
                  </a:cubicBezTo>
                  <a:cubicBezTo>
                    <a:pt x="20" y="13"/>
                    <a:pt x="19" y="16"/>
                    <a:pt x="17" y="18"/>
                  </a:cubicBezTo>
                  <a:cubicBezTo>
                    <a:pt x="16" y="20"/>
                    <a:pt x="13" y="21"/>
                    <a:pt x="10" y="2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5"/>
                    <a:pt x="13" y="14"/>
                    <a:pt x="13" y="14"/>
                  </a:cubicBezTo>
                  <a:cubicBezTo>
                    <a:pt x="14" y="13"/>
                    <a:pt x="15" y="12"/>
                    <a:pt x="15" y="10"/>
                  </a:cubicBezTo>
                  <a:cubicBezTo>
                    <a:pt x="15" y="9"/>
                    <a:pt x="14" y="8"/>
                    <a:pt x="13" y="7"/>
                  </a:cubicBezTo>
                  <a:cubicBezTo>
                    <a:pt x="13" y="6"/>
                    <a:pt x="11" y="6"/>
                    <a:pt x="10" y="6"/>
                  </a:cubicBezTo>
                  <a:lnTo>
                    <a:pt x="10" y="0"/>
                  </a:lnTo>
                  <a:close/>
                  <a:moveTo>
                    <a:pt x="10" y="21"/>
                  </a:moveTo>
                  <a:cubicBezTo>
                    <a:pt x="7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7" y="0"/>
                    <a:pt x="10" y="0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6"/>
                    <a:pt x="8" y="6"/>
                    <a:pt x="7" y="7"/>
                  </a:cubicBezTo>
                  <a:cubicBezTo>
                    <a:pt x="6" y="8"/>
                    <a:pt x="6" y="9"/>
                    <a:pt x="6" y="10"/>
                  </a:cubicBezTo>
                  <a:cubicBezTo>
                    <a:pt x="6" y="12"/>
                    <a:pt x="6" y="13"/>
                    <a:pt x="7" y="14"/>
                  </a:cubicBezTo>
                  <a:cubicBezTo>
                    <a:pt x="8" y="14"/>
                    <a:pt x="9" y="15"/>
                    <a:pt x="10" y="15"/>
                  </a:cubicBezTo>
                  <a:lnTo>
                    <a:pt x="10" y="2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7" name="Freeform 1383">
              <a:extLst>
                <a:ext uri="{FF2B5EF4-FFF2-40B4-BE49-F238E27FC236}">
                  <a16:creationId xmlns:a16="http://schemas.microsoft.com/office/drawing/2014/main" id="{8AE932D7-C0D2-409A-BCD0-13CFA379D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4836" y="3033816"/>
              <a:ext cx="37938" cy="37938"/>
            </a:xfrm>
            <a:custGeom>
              <a:avLst/>
              <a:gdLst>
                <a:gd name="T0" fmla="*/ 11 w 21"/>
                <a:gd name="T1" fmla="*/ 0 h 21"/>
                <a:gd name="T2" fmla="*/ 18 w 21"/>
                <a:gd name="T3" fmla="*/ 3 h 21"/>
                <a:gd name="T4" fmla="*/ 21 w 21"/>
                <a:gd name="T5" fmla="*/ 10 h 21"/>
                <a:gd name="T6" fmla="*/ 18 w 21"/>
                <a:gd name="T7" fmla="*/ 18 h 21"/>
                <a:gd name="T8" fmla="*/ 11 w 21"/>
                <a:gd name="T9" fmla="*/ 21 h 21"/>
                <a:gd name="T10" fmla="*/ 11 w 21"/>
                <a:gd name="T11" fmla="*/ 15 h 21"/>
                <a:gd name="T12" fmla="*/ 14 w 21"/>
                <a:gd name="T13" fmla="*/ 14 h 21"/>
                <a:gd name="T14" fmla="*/ 15 w 21"/>
                <a:gd name="T15" fmla="*/ 10 h 21"/>
                <a:gd name="T16" fmla="*/ 14 w 21"/>
                <a:gd name="T17" fmla="*/ 7 h 21"/>
                <a:gd name="T18" fmla="*/ 11 w 21"/>
                <a:gd name="T19" fmla="*/ 6 h 21"/>
                <a:gd name="T20" fmla="*/ 11 w 21"/>
                <a:gd name="T21" fmla="*/ 0 h 21"/>
                <a:gd name="T22" fmla="*/ 11 w 21"/>
                <a:gd name="T23" fmla="*/ 21 h 21"/>
                <a:gd name="T24" fmla="*/ 3 w 21"/>
                <a:gd name="T25" fmla="*/ 18 h 21"/>
                <a:gd name="T26" fmla="*/ 0 w 21"/>
                <a:gd name="T27" fmla="*/ 10 h 21"/>
                <a:gd name="T28" fmla="*/ 3 w 21"/>
                <a:gd name="T29" fmla="*/ 3 h 21"/>
                <a:gd name="T30" fmla="*/ 11 w 21"/>
                <a:gd name="T31" fmla="*/ 0 h 21"/>
                <a:gd name="T32" fmla="*/ 11 w 21"/>
                <a:gd name="T33" fmla="*/ 6 h 21"/>
                <a:gd name="T34" fmla="*/ 7 w 21"/>
                <a:gd name="T35" fmla="*/ 7 h 21"/>
                <a:gd name="T36" fmla="*/ 6 w 21"/>
                <a:gd name="T37" fmla="*/ 10 h 21"/>
                <a:gd name="T38" fmla="*/ 7 w 21"/>
                <a:gd name="T39" fmla="*/ 14 h 21"/>
                <a:gd name="T40" fmla="*/ 11 w 21"/>
                <a:gd name="T41" fmla="*/ 15 h 21"/>
                <a:gd name="T42" fmla="*/ 11 w 21"/>
                <a:gd name="T4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" h="21">
                  <a:moveTo>
                    <a:pt x="11" y="0"/>
                  </a:moveTo>
                  <a:cubicBezTo>
                    <a:pt x="13" y="0"/>
                    <a:pt x="16" y="1"/>
                    <a:pt x="18" y="3"/>
                  </a:cubicBezTo>
                  <a:cubicBezTo>
                    <a:pt x="20" y="5"/>
                    <a:pt x="21" y="8"/>
                    <a:pt x="21" y="10"/>
                  </a:cubicBezTo>
                  <a:cubicBezTo>
                    <a:pt x="21" y="13"/>
                    <a:pt x="20" y="16"/>
                    <a:pt x="18" y="18"/>
                  </a:cubicBezTo>
                  <a:cubicBezTo>
                    <a:pt x="16" y="20"/>
                    <a:pt x="13" y="21"/>
                    <a:pt x="11" y="21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3" y="14"/>
                    <a:pt x="14" y="14"/>
                  </a:cubicBezTo>
                  <a:cubicBezTo>
                    <a:pt x="14" y="13"/>
                    <a:pt x="15" y="12"/>
                    <a:pt x="15" y="10"/>
                  </a:cubicBezTo>
                  <a:cubicBezTo>
                    <a:pt x="15" y="9"/>
                    <a:pt x="14" y="8"/>
                    <a:pt x="14" y="7"/>
                  </a:cubicBezTo>
                  <a:cubicBezTo>
                    <a:pt x="13" y="6"/>
                    <a:pt x="12" y="6"/>
                    <a:pt x="11" y="6"/>
                  </a:cubicBezTo>
                  <a:lnTo>
                    <a:pt x="11" y="0"/>
                  </a:lnTo>
                  <a:close/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9" y="6"/>
                    <a:pt x="8" y="6"/>
                    <a:pt x="7" y="7"/>
                  </a:cubicBezTo>
                  <a:cubicBezTo>
                    <a:pt x="7" y="8"/>
                    <a:pt x="6" y="9"/>
                    <a:pt x="6" y="10"/>
                  </a:cubicBezTo>
                  <a:cubicBezTo>
                    <a:pt x="6" y="12"/>
                    <a:pt x="7" y="13"/>
                    <a:pt x="7" y="14"/>
                  </a:cubicBezTo>
                  <a:cubicBezTo>
                    <a:pt x="8" y="14"/>
                    <a:pt x="9" y="15"/>
                    <a:pt x="11" y="15"/>
                  </a:cubicBezTo>
                  <a:lnTo>
                    <a:pt x="11" y="2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8" name="Freeform 1384">
              <a:extLst>
                <a:ext uri="{FF2B5EF4-FFF2-40B4-BE49-F238E27FC236}">
                  <a16:creationId xmlns:a16="http://schemas.microsoft.com/office/drawing/2014/main" id="{C1CFFF3C-CA0F-4CA0-A5D7-F49F7CE43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2423" y="2899770"/>
              <a:ext cx="175777" cy="112548"/>
            </a:xfrm>
            <a:custGeom>
              <a:avLst/>
              <a:gdLst>
                <a:gd name="T0" fmla="*/ 49 w 97"/>
                <a:gd name="T1" fmla="*/ 0 h 62"/>
                <a:gd name="T2" fmla="*/ 94 w 97"/>
                <a:gd name="T3" fmla="*/ 0 h 62"/>
                <a:gd name="T4" fmla="*/ 97 w 97"/>
                <a:gd name="T5" fmla="*/ 3 h 62"/>
                <a:gd name="T6" fmla="*/ 97 w 97"/>
                <a:gd name="T7" fmla="*/ 59 h 62"/>
                <a:gd name="T8" fmla="*/ 94 w 97"/>
                <a:gd name="T9" fmla="*/ 62 h 62"/>
                <a:gd name="T10" fmla="*/ 49 w 97"/>
                <a:gd name="T11" fmla="*/ 62 h 62"/>
                <a:gd name="T12" fmla="*/ 49 w 97"/>
                <a:gd name="T13" fmla="*/ 56 h 62"/>
                <a:gd name="T14" fmla="*/ 91 w 97"/>
                <a:gd name="T15" fmla="*/ 56 h 62"/>
                <a:gd name="T16" fmla="*/ 91 w 97"/>
                <a:gd name="T17" fmla="*/ 6 h 62"/>
                <a:gd name="T18" fmla="*/ 49 w 97"/>
                <a:gd name="T19" fmla="*/ 6 h 62"/>
                <a:gd name="T20" fmla="*/ 49 w 97"/>
                <a:gd name="T21" fmla="*/ 0 h 62"/>
                <a:gd name="T22" fmla="*/ 3 w 97"/>
                <a:gd name="T23" fmla="*/ 0 h 62"/>
                <a:gd name="T24" fmla="*/ 49 w 97"/>
                <a:gd name="T25" fmla="*/ 0 h 62"/>
                <a:gd name="T26" fmla="*/ 49 w 97"/>
                <a:gd name="T27" fmla="*/ 6 h 62"/>
                <a:gd name="T28" fmla="*/ 6 w 97"/>
                <a:gd name="T29" fmla="*/ 6 h 62"/>
                <a:gd name="T30" fmla="*/ 6 w 97"/>
                <a:gd name="T31" fmla="*/ 56 h 62"/>
                <a:gd name="T32" fmla="*/ 49 w 97"/>
                <a:gd name="T33" fmla="*/ 56 h 62"/>
                <a:gd name="T34" fmla="*/ 49 w 97"/>
                <a:gd name="T35" fmla="*/ 62 h 62"/>
                <a:gd name="T36" fmla="*/ 3 w 97"/>
                <a:gd name="T37" fmla="*/ 62 h 62"/>
                <a:gd name="T38" fmla="*/ 0 w 97"/>
                <a:gd name="T39" fmla="*/ 59 h 62"/>
                <a:gd name="T40" fmla="*/ 0 w 97"/>
                <a:gd name="T41" fmla="*/ 3 h 62"/>
                <a:gd name="T42" fmla="*/ 3 w 97"/>
                <a:gd name="T4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" h="62">
                  <a:moveTo>
                    <a:pt x="49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96" y="0"/>
                    <a:pt x="97" y="2"/>
                    <a:pt x="97" y="3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60"/>
                    <a:pt x="96" y="62"/>
                    <a:pt x="94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49" y="6"/>
                    <a:pt x="49" y="6"/>
                    <a:pt x="49" y="6"/>
                  </a:cubicBezTo>
                  <a:lnTo>
                    <a:pt x="49" y="0"/>
                  </a:lnTo>
                  <a:close/>
                  <a:moveTo>
                    <a:pt x="3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2" y="62"/>
                    <a:pt x="0" y="60"/>
                    <a:pt x="0" y="5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9" name="Freeform 1385">
              <a:extLst>
                <a:ext uri="{FF2B5EF4-FFF2-40B4-BE49-F238E27FC236}">
                  <a16:creationId xmlns:a16="http://schemas.microsoft.com/office/drawing/2014/main" id="{A7C15CDF-198D-4712-BC72-699B03DE9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594" y="2879537"/>
              <a:ext cx="59436" cy="31615"/>
            </a:xfrm>
            <a:custGeom>
              <a:avLst/>
              <a:gdLst>
                <a:gd name="T0" fmla="*/ 6 w 33"/>
                <a:gd name="T1" fmla="*/ 14 h 17"/>
                <a:gd name="T2" fmla="*/ 3 w 33"/>
                <a:gd name="T3" fmla="*/ 17 h 17"/>
                <a:gd name="T4" fmla="*/ 0 w 33"/>
                <a:gd name="T5" fmla="*/ 14 h 17"/>
                <a:gd name="T6" fmla="*/ 0 w 33"/>
                <a:gd name="T7" fmla="*/ 7 h 17"/>
                <a:gd name="T8" fmla="*/ 2 w 33"/>
                <a:gd name="T9" fmla="*/ 2 h 17"/>
                <a:gd name="T10" fmla="*/ 7 w 33"/>
                <a:gd name="T11" fmla="*/ 0 h 17"/>
                <a:gd name="T12" fmla="*/ 26 w 33"/>
                <a:gd name="T13" fmla="*/ 0 h 17"/>
                <a:gd name="T14" fmla="*/ 31 w 33"/>
                <a:gd name="T15" fmla="*/ 2 h 17"/>
                <a:gd name="T16" fmla="*/ 33 w 33"/>
                <a:gd name="T17" fmla="*/ 8 h 17"/>
                <a:gd name="T18" fmla="*/ 33 w 33"/>
                <a:gd name="T19" fmla="*/ 14 h 17"/>
                <a:gd name="T20" fmla="*/ 30 w 33"/>
                <a:gd name="T21" fmla="*/ 17 h 17"/>
                <a:gd name="T22" fmla="*/ 28 w 33"/>
                <a:gd name="T23" fmla="*/ 14 h 17"/>
                <a:gd name="T24" fmla="*/ 28 w 33"/>
                <a:gd name="T25" fmla="*/ 8 h 17"/>
                <a:gd name="T26" fmla="*/ 27 w 33"/>
                <a:gd name="T27" fmla="*/ 7 h 17"/>
                <a:gd name="T28" fmla="*/ 26 w 33"/>
                <a:gd name="T29" fmla="*/ 6 h 17"/>
                <a:gd name="T30" fmla="*/ 7 w 33"/>
                <a:gd name="T31" fmla="*/ 6 h 17"/>
                <a:gd name="T32" fmla="*/ 6 w 33"/>
                <a:gd name="T33" fmla="*/ 7 h 17"/>
                <a:gd name="T34" fmla="*/ 6 w 33"/>
                <a:gd name="T35" fmla="*/ 7 h 17"/>
                <a:gd name="T36" fmla="*/ 6 w 33"/>
                <a:gd name="T3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" h="17">
                  <a:moveTo>
                    <a:pt x="6" y="14"/>
                  </a:moveTo>
                  <a:cubicBezTo>
                    <a:pt x="6" y="16"/>
                    <a:pt x="5" y="17"/>
                    <a:pt x="3" y="17"/>
                  </a:cubicBezTo>
                  <a:cubicBezTo>
                    <a:pt x="2" y="17"/>
                    <a:pt x="0" y="16"/>
                    <a:pt x="0" y="1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1"/>
                    <a:pt x="31" y="2"/>
                  </a:cubicBezTo>
                  <a:cubicBezTo>
                    <a:pt x="33" y="4"/>
                    <a:pt x="33" y="6"/>
                    <a:pt x="33" y="8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6"/>
                    <a:pt x="32" y="17"/>
                    <a:pt x="30" y="17"/>
                  </a:cubicBezTo>
                  <a:cubicBezTo>
                    <a:pt x="29" y="17"/>
                    <a:pt x="28" y="16"/>
                    <a:pt x="28" y="14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7"/>
                    <a:pt x="27" y="7"/>
                    <a:pt x="27" y="7"/>
                  </a:cubicBezTo>
                  <a:cubicBezTo>
                    <a:pt x="27" y="6"/>
                    <a:pt x="26" y="6"/>
                    <a:pt x="26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1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0" name="Freeform 1386">
              <a:extLst>
                <a:ext uri="{FF2B5EF4-FFF2-40B4-BE49-F238E27FC236}">
                  <a16:creationId xmlns:a16="http://schemas.microsoft.com/office/drawing/2014/main" id="{42995D64-E1C2-47AE-86EA-E9BC54F11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1509" y="2902300"/>
              <a:ext cx="6323" cy="108754"/>
            </a:xfrm>
            <a:custGeom>
              <a:avLst/>
              <a:gdLst>
                <a:gd name="T0" fmla="*/ 0 w 4"/>
                <a:gd name="T1" fmla="*/ 2 h 60"/>
                <a:gd name="T2" fmla="*/ 2 w 4"/>
                <a:gd name="T3" fmla="*/ 0 h 60"/>
                <a:gd name="T4" fmla="*/ 4 w 4"/>
                <a:gd name="T5" fmla="*/ 2 h 60"/>
                <a:gd name="T6" fmla="*/ 4 w 4"/>
                <a:gd name="T7" fmla="*/ 58 h 60"/>
                <a:gd name="T8" fmla="*/ 2 w 4"/>
                <a:gd name="T9" fmla="*/ 60 h 60"/>
                <a:gd name="T10" fmla="*/ 0 w 4"/>
                <a:gd name="T11" fmla="*/ 58 h 60"/>
                <a:gd name="T12" fmla="*/ 0 w 4"/>
                <a:gd name="T13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0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9"/>
                    <a:pt x="3" y="60"/>
                    <a:pt x="2" y="60"/>
                  </a:cubicBezTo>
                  <a:cubicBezTo>
                    <a:pt x="1" y="60"/>
                    <a:pt x="0" y="59"/>
                    <a:pt x="0" y="5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1" name="Freeform 1387">
              <a:extLst>
                <a:ext uri="{FF2B5EF4-FFF2-40B4-BE49-F238E27FC236}">
                  <a16:creationId xmlns:a16="http://schemas.microsoft.com/office/drawing/2014/main" id="{BB230125-A73E-4C04-B076-B5C062E78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528" y="2902300"/>
              <a:ext cx="8852" cy="106225"/>
            </a:xfrm>
            <a:custGeom>
              <a:avLst/>
              <a:gdLst>
                <a:gd name="T0" fmla="*/ 0 w 5"/>
                <a:gd name="T1" fmla="*/ 2 h 59"/>
                <a:gd name="T2" fmla="*/ 3 w 5"/>
                <a:gd name="T3" fmla="*/ 0 h 59"/>
                <a:gd name="T4" fmla="*/ 5 w 5"/>
                <a:gd name="T5" fmla="*/ 2 h 59"/>
                <a:gd name="T6" fmla="*/ 5 w 5"/>
                <a:gd name="T7" fmla="*/ 57 h 59"/>
                <a:gd name="T8" fmla="*/ 3 w 5"/>
                <a:gd name="T9" fmla="*/ 59 h 59"/>
                <a:gd name="T10" fmla="*/ 0 w 5"/>
                <a:gd name="T11" fmla="*/ 57 h 59"/>
                <a:gd name="T12" fmla="*/ 0 w 5"/>
                <a:gd name="T13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9">
                  <a:moveTo>
                    <a:pt x="0" y="2"/>
                  </a:move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4" y="59"/>
                    <a:pt x="3" y="59"/>
                  </a:cubicBezTo>
                  <a:cubicBezTo>
                    <a:pt x="1" y="59"/>
                    <a:pt x="0" y="58"/>
                    <a:pt x="0" y="5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5" name="Agrupar 1654">
            <a:extLst>
              <a:ext uri="{FF2B5EF4-FFF2-40B4-BE49-F238E27FC236}">
                <a16:creationId xmlns:a16="http://schemas.microsoft.com/office/drawing/2014/main" id="{CDD546E7-8006-44A8-80D1-3912161FD250}"/>
              </a:ext>
            </a:extLst>
          </p:cNvPr>
          <p:cNvGrpSpPr/>
          <p:nvPr/>
        </p:nvGrpSpPr>
        <p:grpSpPr>
          <a:xfrm>
            <a:off x="6781682" y="2798604"/>
            <a:ext cx="271886" cy="273150"/>
            <a:chOff x="6781682" y="2798604"/>
            <a:chExt cx="271886" cy="273150"/>
          </a:xfrm>
        </p:grpSpPr>
        <p:sp>
          <p:nvSpPr>
            <p:cNvPr id="1192" name="Freeform 1388">
              <a:extLst>
                <a:ext uri="{FF2B5EF4-FFF2-40B4-BE49-F238E27FC236}">
                  <a16:creationId xmlns:a16="http://schemas.microsoft.com/office/drawing/2014/main" id="{B818AD26-97D3-4AC0-828D-3043A4652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0553" y="2860568"/>
              <a:ext cx="153015" cy="193482"/>
            </a:xfrm>
            <a:custGeom>
              <a:avLst/>
              <a:gdLst>
                <a:gd name="T0" fmla="*/ 34 w 85"/>
                <a:gd name="T1" fmla="*/ 0 h 107"/>
                <a:gd name="T2" fmla="*/ 77 w 85"/>
                <a:gd name="T3" fmla="*/ 0 h 107"/>
                <a:gd name="T4" fmla="*/ 83 w 85"/>
                <a:gd name="T5" fmla="*/ 3 h 107"/>
                <a:gd name="T6" fmla="*/ 85 w 85"/>
                <a:gd name="T7" fmla="*/ 9 h 107"/>
                <a:gd name="T8" fmla="*/ 85 w 85"/>
                <a:gd name="T9" fmla="*/ 98 h 107"/>
                <a:gd name="T10" fmla="*/ 83 w 85"/>
                <a:gd name="T11" fmla="*/ 105 h 107"/>
                <a:gd name="T12" fmla="*/ 77 w 85"/>
                <a:gd name="T13" fmla="*/ 107 h 107"/>
                <a:gd name="T14" fmla="*/ 9 w 85"/>
                <a:gd name="T15" fmla="*/ 107 h 107"/>
                <a:gd name="T16" fmla="*/ 3 w 85"/>
                <a:gd name="T17" fmla="*/ 105 h 107"/>
                <a:gd name="T18" fmla="*/ 0 w 85"/>
                <a:gd name="T19" fmla="*/ 98 h 107"/>
                <a:gd name="T20" fmla="*/ 0 w 85"/>
                <a:gd name="T21" fmla="*/ 56 h 107"/>
                <a:gd name="T22" fmla="*/ 6 w 85"/>
                <a:gd name="T23" fmla="*/ 55 h 107"/>
                <a:gd name="T24" fmla="*/ 7 w 85"/>
                <a:gd name="T25" fmla="*/ 55 h 107"/>
                <a:gd name="T26" fmla="*/ 7 w 85"/>
                <a:gd name="T27" fmla="*/ 98 h 107"/>
                <a:gd name="T28" fmla="*/ 7 w 85"/>
                <a:gd name="T29" fmla="*/ 100 h 107"/>
                <a:gd name="T30" fmla="*/ 9 w 85"/>
                <a:gd name="T31" fmla="*/ 101 h 107"/>
                <a:gd name="T32" fmla="*/ 77 w 85"/>
                <a:gd name="T33" fmla="*/ 101 h 107"/>
                <a:gd name="T34" fmla="*/ 78 w 85"/>
                <a:gd name="T35" fmla="*/ 100 h 107"/>
                <a:gd name="T36" fmla="*/ 79 w 85"/>
                <a:gd name="T37" fmla="*/ 98 h 107"/>
                <a:gd name="T38" fmla="*/ 79 w 85"/>
                <a:gd name="T39" fmla="*/ 9 h 107"/>
                <a:gd name="T40" fmla="*/ 78 w 85"/>
                <a:gd name="T41" fmla="*/ 7 h 107"/>
                <a:gd name="T42" fmla="*/ 77 w 85"/>
                <a:gd name="T43" fmla="*/ 7 h 107"/>
                <a:gd name="T44" fmla="*/ 37 w 85"/>
                <a:gd name="T45" fmla="*/ 7 h 107"/>
                <a:gd name="T46" fmla="*/ 34 w 85"/>
                <a:gd name="T4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5" h="107">
                  <a:moveTo>
                    <a:pt x="34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79" y="0"/>
                    <a:pt x="81" y="1"/>
                    <a:pt x="83" y="3"/>
                  </a:cubicBezTo>
                  <a:cubicBezTo>
                    <a:pt x="84" y="4"/>
                    <a:pt x="85" y="6"/>
                    <a:pt x="85" y="9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85" y="101"/>
                    <a:pt x="84" y="103"/>
                    <a:pt x="83" y="105"/>
                  </a:cubicBezTo>
                  <a:cubicBezTo>
                    <a:pt x="81" y="106"/>
                    <a:pt x="79" y="107"/>
                    <a:pt x="77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6" y="107"/>
                    <a:pt x="4" y="106"/>
                    <a:pt x="3" y="105"/>
                  </a:cubicBezTo>
                  <a:cubicBezTo>
                    <a:pt x="1" y="103"/>
                    <a:pt x="0" y="101"/>
                    <a:pt x="0" y="9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" y="56"/>
                    <a:pt x="4" y="55"/>
                    <a:pt x="6" y="55"/>
                  </a:cubicBezTo>
                  <a:cubicBezTo>
                    <a:pt x="6" y="55"/>
                    <a:pt x="6" y="55"/>
                    <a:pt x="7" y="55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9"/>
                    <a:pt x="7" y="100"/>
                    <a:pt x="7" y="100"/>
                  </a:cubicBezTo>
                  <a:cubicBezTo>
                    <a:pt x="8" y="101"/>
                    <a:pt x="8" y="101"/>
                    <a:pt x="9" y="101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101"/>
                    <a:pt x="78" y="101"/>
                    <a:pt x="78" y="100"/>
                  </a:cubicBezTo>
                  <a:cubicBezTo>
                    <a:pt x="79" y="100"/>
                    <a:pt x="79" y="99"/>
                    <a:pt x="79" y="98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8"/>
                    <a:pt x="79" y="8"/>
                    <a:pt x="78" y="7"/>
                  </a:cubicBezTo>
                  <a:cubicBezTo>
                    <a:pt x="78" y="7"/>
                    <a:pt x="77" y="7"/>
                    <a:pt x="7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6" y="4"/>
                    <a:pt x="35" y="2"/>
                    <a:pt x="34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3" name="Freeform 1389">
              <a:extLst>
                <a:ext uri="{FF2B5EF4-FFF2-40B4-BE49-F238E27FC236}">
                  <a16:creationId xmlns:a16="http://schemas.microsoft.com/office/drawing/2014/main" id="{DAA5FA02-AB64-482F-B898-CEA68BA22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9639" y="2947825"/>
              <a:ext cx="10117" cy="106225"/>
            </a:xfrm>
            <a:custGeom>
              <a:avLst/>
              <a:gdLst>
                <a:gd name="T0" fmla="*/ 6 w 6"/>
                <a:gd name="T1" fmla="*/ 0 h 59"/>
                <a:gd name="T2" fmla="*/ 6 w 6"/>
                <a:gd name="T3" fmla="*/ 56 h 59"/>
                <a:gd name="T4" fmla="*/ 3 w 6"/>
                <a:gd name="T5" fmla="*/ 59 h 59"/>
                <a:gd name="T6" fmla="*/ 0 w 6"/>
                <a:gd name="T7" fmla="*/ 56 h 59"/>
                <a:gd name="T8" fmla="*/ 0 w 6"/>
                <a:gd name="T9" fmla="*/ 4 h 59"/>
                <a:gd name="T10" fmla="*/ 6 w 6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9">
                  <a:moveTo>
                    <a:pt x="6" y="0"/>
                  </a:moveTo>
                  <a:cubicBezTo>
                    <a:pt x="6" y="56"/>
                    <a:pt x="6" y="56"/>
                    <a:pt x="6" y="56"/>
                  </a:cubicBezTo>
                  <a:cubicBezTo>
                    <a:pt x="6" y="58"/>
                    <a:pt x="5" y="59"/>
                    <a:pt x="3" y="59"/>
                  </a:cubicBezTo>
                  <a:cubicBezTo>
                    <a:pt x="1" y="59"/>
                    <a:pt x="0" y="58"/>
                    <a:pt x="0" y="5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4" name="Freeform 1390">
              <a:extLst>
                <a:ext uri="{FF2B5EF4-FFF2-40B4-BE49-F238E27FC236}">
                  <a16:creationId xmlns:a16="http://schemas.microsoft.com/office/drawing/2014/main" id="{76FFBA99-C08B-4AEC-B68D-65DC3FDDC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7459" y="2931385"/>
              <a:ext cx="11381" cy="122665"/>
            </a:xfrm>
            <a:custGeom>
              <a:avLst/>
              <a:gdLst>
                <a:gd name="T0" fmla="*/ 0 w 6"/>
                <a:gd name="T1" fmla="*/ 3 h 68"/>
                <a:gd name="T2" fmla="*/ 3 w 6"/>
                <a:gd name="T3" fmla="*/ 0 h 68"/>
                <a:gd name="T4" fmla="*/ 6 w 6"/>
                <a:gd name="T5" fmla="*/ 3 h 68"/>
                <a:gd name="T6" fmla="*/ 6 w 6"/>
                <a:gd name="T7" fmla="*/ 65 h 68"/>
                <a:gd name="T8" fmla="*/ 3 w 6"/>
                <a:gd name="T9" fmla="*/ 68 h 68"/>
                <a:gd name="T10" fmla="*/ 0 w 6"/>
                <a:gd name="T11" fmla="*/ 65 h 68"/>
                <a:gd name="T12" fmla="*/ 0 w 6"/>
                <a:gd name="T13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7"/>
                    <a:pt x="5" y="68"/>
                    <a:pt x="3" y="68"/>
                  </a:cubicBezTo>
                  <a:cubicBezTo>
                    <a:pt x="1" y="68"/>
                    <a:pt x="0" y="67"/>
                    <a:pt x="0" y="65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5" name="Freeform 1391">
              <a:extLst>
                <a:ext uri="{FF2B5EF4-FFF2-40B4-BE49-F238E27FC236}">
                  <a16:creationId xmlns:a16="http://schemas.microsoft.com/office/drawing/2014/main" id="{652897E3-D65A-402D-825C-9665174FC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5280" y="2931385"/>
              <a:ext cx="12646" cy="122665"/>
            </a:xfrm>
            <a:custGeom>
              <a:avLst/>
              <a:gdLst>
                <a:gd name="T0" fmla="*/ 0 w 7"/>
                <a:gd name="T1" fmla="*/ 3 h 68"/>
                <a:gd name="T2" fmla="*/ 4 w 7"/>
                <a:gd name="T3" fmla="*/ 0 h 68"/>
                <a:gd name="T4" fmla="*/ 7 w 7"/>
                <a:gd name="T5" fmla="*/ 3 h 68"/>
                <a:gd name="T6" fmla="*/ 7 w 7"/>
                <a:gd name="T7" fmla="*/ 65 h 68"/>
                <a:gd name="T8" fmla="*/ 4 w 7"/>
                <a:gd name="T9" fmla="*/ 68 h 68"/>
                <a:gd name="T10" fmla="*/ 0 w 7"/>
                <a:gd name="T11" fmla="*/ 65 h 68"/>
                <a:gd name="T12" fmla="*/ 0 w 7"/>
                <a:gd name="T13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68">
                  <a:moveTo>
                    <a:pt x="0" y="3"/>
                  </a:move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7" y="67"/>
                    <a:pt x="5" y="68"/>
                    <a:pt x="4" y="68"/>
                  </a:cubicBezTo>
                  <a:cubicBezTo>
                    <a:pt x="2" y="68"/>
                    <a:pt x="0" y="67"/>
                    <a:pt x="0" y="65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6" name="Freeform 1392">
              <a:extLst>
                <a:ext uri="{FF2B5EF4-FFF2-40B4-BE49-F238E27FC236}">
                  <a16:creationId xmlns:a16="http://schemas.microsoft.com/office/drawing/2014/main" id="{FC85376E-0B85-4A57-9D06-E43BE8CF5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4366" y="2931385"/>
              <a:ext cx="11381" cy="122665"/>
            </a:xfrm>
            <a:custGeom>
              <a:avLst/>
              <a:gdLst>
                <a:gd name="T0" fmla="*/ 0 w 6"/>
                <a:gd name="T1" fmla="*/ 3 h 68"/>
                <a:gd name="T2" fmla="*/ 3 w 6"/>
                <a:gd name="T3" fmla="*/ 0 h 68"/>
                <a:gd name="T4" fmla="*/ 6 w 6"/>
                <a:gd name="T5" fmla="*/ 3 h 68"/>
                <a:gd name="T6" fmla="*/ 6 w 6"/>
                <a:gd name="T7" fmla="*/ 65 h 68"/>
                <a:gd name="T8" fmla="*/ 3 w 6"/>
                <a:gd name="T9" fmla="*/ 68 h 68"/>
                <a:gd name="T10" fmla="*/ 0 w 6"/>
                <a:gd name="T11" fmla="*/ 65 h 68"/>
                <a:gd name="T12" fmla="*/ 0 w 6"/>
                <a:gd name="T13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7"/>
                    <a:pt x="5" y="68"/>
                    <a:pt x="3" y="68"/>
                  </a:cubicBezTo>
                  <a:cubicBezTo>
                    <a:pt x="2" y="68"/>
                    <a:pt x="0" y="67"/>
                    <a:pt x="0" y="65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7" name="Freeform 1393">
              <a:extLst>
                <a:ext uri="{FF2B5EF4-FFF2-40B4-BE49-F238E27FC236}">
                  <a16:creationId xmlns:a16="http://schemas.microsoft.com/office/drawing/2014/main" id="{25B987CD-C13B-4722-80CD-FC5BE5458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4814" y="2798604"/>
              <a:ext cx="12646" cy="54377"/>
            </a:xfrm>
            <a:custGeom>
              <a:avLst/>
              <a:gdLst>
                <a:gd name="T0" fmla="*/ 0 w 7"/>
                <a:gd name="T1" fmla="*/ 3 h 30"/>
                <a:gd name="T2" fmla="*/ 4 w 7"/>
                <a:gd name="T3" fmla="*/ 0 h 30"/>
                <a:gd name="T4" fmla="*/ 7 w 7"/>
                <a:gd name="T5" fmla="*/ 3 h 30"/>
                <a:gd name="T6" fmla="*/ 7 w 7"/>
                <a:gd name="T7" fmla="*/ 30 h 30"/>
                <a:gd name="T8" fmla="*/ 0 w 7"/>
                <a:gd name="T9" fmla="*/ 22 h 30"/>
                <a:gd name="T10" fmla="*/ 0 w 7"/>
                <a:gd name="T11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0">
                  <a:moveTo>
                    <a:pt x="0" y="3"/>
                  </a:move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5" y="27"/>
                    <a:pt x="3" y="25"/>
                    <a:pt x="0" y="2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8" name="Freeform 1394">
              <a:extLst>
                <a:ext uri="{FF2B5EF4-FFF2-40B4-BE49-F238E27FC236}">
                  <a16:creationId xmlns:a16="http://schemas.microsoft.com/office/drawing/2014/main" id="{77099F67-3B6E-4B94-A495-71F0AA87F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926" y="2798604"/>
              <a:ext cx="11381" cy="74611"/>
            </a:xfrm>
            <a:custGeom>
              <a:avLst/>
              <a:gdLst>
                <a:gd name="T0" fmla="*/ 0 w 6"/>
                <a:gd name="T1" fmla="*/ 3 h 41"/>
                <a:gd name="T2" fmla="*/ 3 w 6"/>
                <a:gd name="T3" fmla="*/ 0 h 41"/>
                <a:gd name="T4" fmla="*/ 6 w 6"/>
                <a:gd name="T5" fmla="*/ 3 h 41"/>
                <a:gd name="T6" fmla="*/ 6 w 6"/>
                <a:gd name="T7" fmla="*/ 37 h 41"/>
                <a:gd name="T8" fmla="*/ 3 w 6"/>
                <a:gd name="T9" fmla="*/ 41 h 41"/>
                <a:gd name="T10" fmla="*/ 0 w 6"/>
                <a:gd name="T11" fmla="*/ 37 h 41"/>
                <a:gd name="T12" fmla="*/ 0 w 6"/>
                <a:gd name="T13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1">
                  <a:moveTo>
                    <a:pt x="0" y="3"/>
                  </a:move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5" y="41"/>
                    <a:pt x="3" y="41"/>
                  </a:cubicBezTo>
                  <a:cubicBezTo>
                    <a:pt x="1" y="41"/>
                    <a:pt x="0" y="39"/>
                    <a:pt x="0" y="37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9" name="Freeform 1395">
              <a:extLst>
                <a:ext uri="{FF2B5EF4-FFF2-40B4-BE49-F238E27FC236}">
                  <a16:creationId xmlns:a16="http://schemas.microsoft.com/office/drawing/2014/main" id="{59239197-09AF-458A-A1DA-1F8D731C1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576" y="2860568"/>
              <a:ext cx="58171" cy="45525"/>
            </a:xfrm>
            <a:custGeom>
              <a:avLst/>
              <a:gdLst>
                <a:gd name="T0" fmla="*/ 26 w 32"/>
                <a:gd name="T1" fmla="*/ 3 h 25"/>
                <a:gd name="T2" fmla="*/ 29 w 32"/>
                <a:gd name="T3" fmla="*/ 0 h 25"/>
                <a:gd name="T4" fmla="*/ 32 w 32"/>
                <a:gd name="T5" fmla="*/ 3 h 25"/>
                <a:gd name="T6" fmla="*/ 32 w 32"/>
                <a:gd name="T7" fmla="*/ 22 h 25"/>
                <a:gd name="T8" fmla="*/ 29 w 32"/>
                <a:gd name="T9" fmla="*/ 25 h 25"/>
                <a:gd name="T10" fmla="*/ 0 w 32"/>
                <a:gd name="T11" fmla="*/ 25 h 25"/>
                <a:gd name="T12" fmla="*/ 1 w 32"/>
                <a:gd name="T13" fmla="*/ 19 h 25"/>
                <a:gd name="T14" fmla="*/ 26 w 32"/>
                <a:gd name="T15" fmla="*/ 19 h 25"/>
                <a:gd name="T16" fmla="*/ 26 w 32"/>
                <a:gd name="T1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5">
                  <a:moveTo>
                    <a:pt x="26" y="3"/>
                  </a:moveTo>
                  <a:cubicBezTo>
                    <a:pt x="26" y="2"/>
                    <a:pt x="28" y="0"/>
                    <a:pt x="29" y="0"/>
                  </a:cubicBezTo>
                  <a:cubicBezTo>
                    <a:pt x="31" y="0"/>
                    <a:pt x="32" y="2"/>
                    <a:pt x="32" y="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4"/>
                    <a:pt x="31" y="25"/>
                    <a:pt x="29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3"/>
                    <a:pt x="1" y="21"/>
                    <a:pt x="1" y="19"/>
                  </a:cubicBezTo>
                  <a:cubicBezTo>
                    <a:pt x="26" y="19"/>
                    <a:pt x="26" y="19"/>
                    <a:pt x="26" y="19"/>
                  </a:cubicBezTo>
                  <a:lnTo>
                    <a:pt x="26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0" name="Freeform 1396">
              <a:extLst>
                <a:ext uri="{FF2B5EF4-FFF2-40B4-BE49-F238E27FC236}">
                  <a16:creationId xmlns:a16="http://schemas.microsoft.com/office/drawing/2014/main" id="{4005A304-3F65-469F-B810-014A50DAC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5961" y="2798604"/>
              <a:ext cx="82198" cy="11381"/>
            </a:xfrm>
            <a:custGeom>
              <a:avLst/>
              <a:gdLst>
                <a:gd name="T0" fmla="*/ 3 w 45"/>
                <a:gd name="T1" fmla="*/ 6 h 6"/>
                <a:gd name="T2" fmla="*/ 0 w 45"/>
                <a:gd name="T3" fmla="*/ 3 h 6"/>
                <a:gd name="T4" fmla="*/ 3 w 45"/>
                <a:gd name="T5" fmla="*/ 0 h 6"/>
                <a:gd name="T6" fmla="*/ 42 w 45"/>
                <a:gd name="T7" fmla="*/ 0 h 6"/>
                <a:gd name="T8" fmla="*/ 45 w 45"/>
                <a:gd name="T9" fmla="*/ 3 h 6"/>
                <a:gd name="T10" fmla="*/ 42 w 45"/>
                <a:gd name="T11" fmla="*/ 6 h 6"/>
                <a:gd name="T12" fmla="*/ 3 w 4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6">
                  <a:moveTo>
                    <a:pt x="3" y="6"/>
                  </a:move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4" y="0"/>
                    <a:pt x="45" y="1"/>
                    <a:pt x="45" y="3"/>
                  </a:cubicBezTo>
                  <a:cubicBezTo>
                    <a:pt x="45" y="5"/>
                    <a:pt x="44" y="6"/>
                    <a:pt x="42" y="6"/>
                  </a:cubicBezTo>
                  <a:lnTo>
                    <a:pt x="3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1" name="Freeform 1397">
              <a:extLst>
                <a:ext uri="{FF2B5EF4-FFF2-40B4-BE49-F238E27FC236}">
                  <a16:creationId xmlns:a16="http://schemas.microsoft.com/office/drawing/2014/main" id="{A2D26431-E6AA-4302-BF39-EE9A997F4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257" y="3045198"/>
              <a:ext cx="12646" cy="26556"/>
            </a:xfrm>
            <a:custGeom>
              <a:avLst/>
              <a:gdLst>
                <a:gd name="T0" fmla="*/ 0 w 7"/>
                <a:gd name="T1" fmla="*/ 4 h 15"/>
                <a:gd name="T2" fmla="*/ 3 w 7"/>
                <a:gd name="T3" fmla="*/ 0 h 15"/>
                <a:gd name="T4" fmla="*/ 7 w 7"/>
                <a:gd name="T5" fmla="*/ 4 h 15"/>
                <a:gd name="T6" fmla="*/ 7 w 7"/>
                <a:gd name="T7" fmla="*/ 12 h 15"/>
                <a:gd name="T8" fmla="*/ 3 w 7"/>
                <a:gd name="T9" fmla="*/ 15 h 15"/>
                <a:gd name="T10" fmla="*/ 0 w 7"/>
                <a:gd name="T11" fmla="*/ 12 h 15"/>
                <a:gd name="T12" fmla="*/ 0 w 7"/>
                <a:gd name="T13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0" y="4"/>
                  </a:move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3"/>
                    <a:pt x="5" y="15"/>
                    <a:pt x="3" y="15"/>
                  </a:cubicBezTo>
                  <a:cubicBezTo>
                    <a:pt x="2" y="15"/>
                    <a:pt x="0" y="13"/>
                    <a:pt x="0" y="12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2" name="Freeform 1398">
              <a:extLst>
                <a:ext uri="{FF2B5EF4-FFF2-40B4-BE49-F238E27FC236}">
                  <a16:creationId xmlns:a16="http://schemas.microsoft.com/office/drawing/2014/main" id="{23401D2C-3369-48CC-9977-74145C4F1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5747" y="3045198"/>
              <a:ext cx="10117" cy="26556"/>
            </a:xfrm>
            <a:custGeom>
              <a:avLst/>
              <a:gdLst>
                <a:gd name="T0" fmla="*/ 0 w 6"/>
                <a:gd name="T1" fmla="*/ 4 h 15"/>
                <a:gd name="T2" fmla="*/ 3 w 6"/>
                <a:gd name="T3" fmla="*/ 0 h 15"/>
                <a:gd name="T4" fmla="*/ 6 w 6"/>
                <a:gd name="T5" fmla="*/ 4 h 15"/>
                <a:gd name="T6" fmla="*/ 6 w 6"/>
                <a:gd name="T7" fmla="*/ 12 h 15"/>
                <a:gd name="T8" fmla="*/ 3 w 6"/>
                <a:gd name="T9" fmla="*/ 15 h 15"/>
                <a:gd name="T10" fmla="*/ 0 w 6"/>
                <a:gd name="T11" fmla="*/ 12 h 15"/>
                <a:gd name="T12" fmla="*/ 0 w 6"/>
                <a:gd name="T13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5">
                  <a:moveTo>
                    <a:pt x="0" y="4"/>
                  </a:move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5" y="15"/>
                    <a:pt x="3" y="15"/>
                  </a:cubicBezTo>
                  <a:cubicBezTo>
                    <a:pt x="1" y="15"/>
                    <a:pt x="0" y="13"/>
                    <a:pt x="0" y="12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3" name="Freeform 1399">
              <a:extLst>
                <a:ext uri="{FF2B5EF4-FFF2-40B4-BE49-F238E27FC236}">
                  <a16:creationId xmlns:a16="http://schemas.microsoft.com/office/drawing/2014/main" id="{DE399B07-4D27-4918-850C-25F397B8C7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8588" y="2832747"/>
              <a:ext cx="121400" cy="116342"/>
            </a:xfrm>
            <a:custGeom>
              <a:avLst/>
              <a:gdLst>
                <a:gd name="T0" fmla="*/ 52 w 67"/>
                <a:gd name="T1" fmla="*/ 6 h 64"/>
                <a:gd name="T2" fmla="*/ 65 w 67"/>
                <a:gd name="T3" fmla="*/ 27 h 64"/>
                <a:gd name="T4" fmla="*/ 60 w 67"/>
                <a:gd name="T5" fmla="*/ 51 h 64"/>
                <a:gd name="T6" fmla="*/ 39 w 67"/>
                <a:gd name="T7" fmla="*/ 64 h 64"/>
                <a:gd name="T8" fmla="*/ 34 w 67"/>
                <a:gd name="T9" fmla="*/ 64 h 64"/>
                <a:gd name="T10" fmla="*/ 34 w 67"/>
                <a:gd name="T11" fmla="*/ 58 h 64"/>
                <a:gd name="T12" fmla="*/ 38 w 67"/>
                <a:gd name="T13" fmla="*/ 58 h 64"/>
                <a:gd name="T14" fmla="*/ 55 w 67"/>
                <a:gd name="T15" fmla="*/ 47 h 64"/>
                <a:gd name="T16" fmla="*/ 59 w 67"/>
                <a:gd name="T17" fmla="*/ 28 h 64"/>
                <a:gd name="T18" fmla="*/ 49 w 67"/>
                <a:gd name="T19" fmla="*/ 11 h 64"/>
                <a:gd name="T20" fmla="*/ 34 w 67"/>
                <a:gd name="T21" fmla="*/ 6 h 64"/>
                <a:gd name="T22" fmla="*/ 34 w 67"/>
                <a:gd name="T23" fmla="*/ 0 h 64"/>
                <a:gd name="T24" fmla="*/ 52 w 67"/>
                <a:gd name="T25" fmla="*/ 6 h 64"/>
                <a:gd name="T26" fmla="*/ 34 w 67"/>
                <a:gd name="T27" fmla="*/ 64 h 64"/>
                <a:gd name="T28" fmla="*/ 15 w 67"/>
                <a:gd name="T29" fmla="*/ 58 h 64"/>
                <a:gd name="T30" fmla="*/ 15 w 67"/>
                <a:gd name="T31" fmla="*/ 58 h 64"/>
                <a:gd name="T32" fmla="*/ 2 w 67"/>
                <a:gd name="T33" fmla="*/ 37 h 64"/>
                <a:gd name="T34" fmla="*/ 7 w 67"/>
                <a:gd name="T35" fmla="*/ 13 h 64"/>
                <a:gd name="T36" fmla="*/ 7 w 67"/>
                <a:gd name="T37" fmla="*/ 13 h 64"/>
                <a:gd name="T38" fmla="*/ 28 w 67"/>
                <a:gd name="T39" fmla="*/ 0 h 64"/>
                <a:gd name="T40" fmla="*/ 34 w 67"/>
                <a:gd name="T41" fmla="*/ 0 h 64"/>
                <a:gd name="T42" fmla="*/ 34 w 67"/>
                <a:gd name="T43" fmla="*/ 6 h 64"/>
                <a:gd name="T44" fmla="*/ 29 w 67"/>
                <a:gd name="T45" fmla="*/ 6 h 64"/>
                <a:gd name="T46" fmla="*/ 13 w 67"/>
                <a:gd name="T47" fmla="*/ 17 h 64"/>
                <a:gd name="T48" fmla="*/ 12 w 67"/>
                <a:gd name="T49" fmla="*/ 17 h 64"/>
                <a:gd name="T50" fmla="*/ 8 w 67"/>
                <a:gd name="T51" fmla="*/ 36 h 64"/>
                <a:gd name="T52" fmla="*/ 18 w 67"/>
                <a:gd name="T53" fmla="*/ 53 h 64"/>
                <a:gd name="T54" fmla="*/ 19 w 67"/>
                <a:gd name="T55" fmla="*/ 53 h 64"/>
                <a:gd name="T56" fmla="*/ 34 w 67"/>
                <a:gd name="T57" fmla="*/ 58 h 64"/>
                <a:gd name="T58" fmla="*/ 34 w 67"/>
                <a:gd name="T5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" h="64">
                  <a:moveTo>
                    <a:pt x="52" y="6"/>
                  </a:moveTo>
                  <a:cubicBezTo>
                    <a:pt x="59" y="11"/>
                    <a:pt x="64" y="19"/>
                    <a:pt x="65" y="27"/>
                  </a:cubicBezTo>
                  <a:cubicBezTo>
                    <a:pt x="67" y="35"/>
                    <a:pt x="65" y="43"/>
                    <a:pt x="60" y="51"/>
                  </a:cubicBezTo>
                  <a:cubicBezTo>
                    <a:pt x="55" y="58"/>
                    <a:pt x="47" y="62"/>
                    <a:pt x="39" y="64"/>
                  </a:cubicBezTo>
                  <a:cubicBezTo>
                    <a:pt x="37" y="64"/>
                    <a:pt x="35" y="64"/>
                    <a:pt x="34" y="64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5" y="58"/>
                    <a:pt x="36" y="58"/>
                    <a:pt x="38" y="58"/>
                  </a:cubicBezTo>
                  <a:cubicBezTo>
                    <a:pt x="44" y="56"/>
                    <a:pt x="50" y="53"/>
                    <a:pt x="55" y="47"/>
                  </a:cubicBezTo>
                  <a:cubicBezTo>
                    <a:pt x="59" y="41"/>
                    <a:pt x="60" y="34"/>
                    <a:pt x="59" y="28"/>
                  </a:cubicBezTo>
                  <a:cubicBezTo>
                    <a:pt x="58" y="21"/>
                    <a:pt x="54" y="15"/>
                    <a:pt x="49" y="11"/>
                  </a:cubicBezTo>
                  <a:cubicBezTo>
                    <a:pt x="44" y="8"/>
                    <a:pt x="39" y="6"/>
                    <a:pt x="34" y="6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0" y="0"/>
                    <a:pt x="46" y="2"/>
                    <a:pt x="52" y="6"/>
                  </a:cubicBezTo>
                  <a:moveTo>
                    <a:pt x="34" y="64"/>
                  </a:moveTo>
                  <a:cubicBezTo>
                    <a:pt x="27" y="64"/>
                    <a:pt x="21" y="62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8" y="53"/>
                    <a:pt x="3" y="45"/>
                    <a:pt x="2" y="37"/>
                  </a:cubicBezTo>
                  <a:cubicBezTo>
                    <a:pt x="0" y="29"/>
                    <a:pt x="2" y="21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2" y="6"/>
                    <a:pt x="20" y="2"/>
                    <a:pt x="28" y="0"/>
                  </a:cubicBezTo>
                  <a:cubicBezTo>
                    <a:pt x="30" y="0"/>
                    <a:pt x="32" y="0"/>
                    <a:pt x="34" y="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6"/>
                    <a:pt x="31" y="6"/>
                    <a:pt x="29" y="6"/>
                  </a:cubicBezTo>
                  <a:cubicBezTo>
                    <a:pt x="23" y="8"/>
                    <a:pt x="17" y="11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8" y="23"/>
                    <a:pt x="7" y="30"/>
                    <a:pt x="8" y="36"/>
                  </a:cubicBezTo>
                  <a:cubicBezTo>
                    <a:pt x="9" y="43"/>
                    <a:pt x="13" y="49"/>
                    <a:pt x="18" y="53"/>
                  </a:cubicBezTo>
                  <a:cubicBezTo>
                    <a:pt x="18" y="53"/>
                    <a:pt x="19" y="53"/>
                    <a:pt x="19" y="53"/>
                  </a:cubicBezTo>
                  <a:cubicBezTo>
                    <a:pt x="23" y="56"/>
                    <a:pt x="28" y="58"/>
                    <a:pt x="34" y="58"/>
                  </a:cubicBezTo>
                  <a:lnTo>
                    <a:pt x="34" y="6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4" name="Freeform 1400">
              <a:extLst>
                <a:ext uri="{FF2B5EF4-FFF2-40B4-BE49-F238E27FC236}">
                  <a16:creationId xmlns:a16="http://schemas.microsoft.com/office/drawing/2014/main" id="{E42FB5EE-7D50-41E0-84C3-39E4376B71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682" y="2952883"/>
              <a:ext cx="79669" cy="93579"/>
            </a:xfrm>
            <a:custGeom>
              <a:avLst/>
              <a:gdLst>
                <a:gd name="T0" fmla="*/ 41 w 44"/>
                <a:gd name="T1" fmla="*/ 17 h 52"/>
                <a:gd name="T2" fmla="*/ 22 w 44"/>
                <a:gd name="T3" fmla="*/ 44 h 52"/>
                <a:gd name="T4" fmla="*/ 22 w 44"/>
                <a:gd name="T5" fmla="*/ 33 h 52"/>
                <a:gd name="T6" fmla="*/ 36 w 44"/>
                <a:gd name="T7" fmla="*/ 13 h 52"/>
                <a:gd name="T8" fmla="*/ 36 w 44"/>
                <a:gd name="T9" fmla="*/ 9 h 52"/>
                <a:gd name="T10" fmla="*/ 35 w 44"/>
                <a:gd name="T11" fmla="*/ 7 h 52"/>
                <a:gd name="T12" fmla="*/ 34 w 44"/>
                <a:gd name="T13" fmla="*/ 7 h 52"/>
                <a:gd name="T14" fmla="*/ 29 w 44"/>
                <a:gd name="T15" fmla="*/ 8 h 52"/>
                <a:gd name="T16" fmla="*/ 22 w 44"/>
                <a:gd name="T17" fmla="*/ 19 h 52"/>
                <a:gd name="T18" fmla="*/ 22 w 44"/>
                <a:gd name="T19" fmla="*/ 8 h 52"/>
                <a:gd name="T20" fmla="*/ 24 w 44"/>
                <a:gd name="T21" fmla="*/ 5 h 52"/>
                <a:gd name="T22" fmla="*/ 35 w 44"/>
                <a:gd name="T23" fmla="*/ 0 h 52"/>
                <a:gd name="T24" fmla="*/ 39 w 44"/>
                <a:gd name="T25" fmla="*/ 2 h 52"/>
                <a:gd name="T26" fmla="*/ 42 w 44"/>
                <a:gd name="T27" fmla="*/ 5 h 52"/>
                <a:gd name="T28" fmla="*/ 41 w 44"/>
                <a:gd name="T29" fmla="*/ 17 h 52"/>
                <a:gd name="T30" fmla="*/ 22 w 44"/>
                <a:gd name="T31" fmla="*/ 44 h 52"/>
                <a:gd name="T32" fmla="*/ 19 w 44"/>
                <a:gd name="T33" fmla="*/ 47 h 52"/>
                <a:gd name="T34" fmla="*/ 9 w 44"/>
                <a:gd name="T35" fmla="*/ 52 h 52"/>
                <a:gd name="T36" fmla="*/ 5 w 44"/>
                <a:gd name="T37" fmla="*/ 50 h 52"/>
                <a:gd name="T38" fmla="*/ 2 w 44"/>
                <a:gd name="T39" fmla="*/ 47 h 52"/>
                <a:gd name="T40" fmla="*/ 2 w 44"/>
                <a:gd name="T41" fmla="*/ 35 h 52"/>
                <a:gd name="T42" fmla="*/ 22 w 44"/>
                <a:gd name="T43" fmla="*/ 8 h 52"/>
                <a:gd name="T44" fmla="*/ 22 w 44"/>
                <a:gd name="T45" fmla="*/ 19 h 52"/>
                <a:gd name="T46" fmla="*/ 8 w 44"/>
                <a:gd name="T47" fmla="*/ 39 h 52"/>
                <a:gd name="T48" fmla="*/ 7 w 44"/>
                <a:gd name="T49" fmla="*/ 43 h 52"/>
                <a:gd name="T50" fmla="*/ 9 w 44"/>
                <a:gd name="T51" fmla="*/ 45 h 52"/>
                <a:gd name="T52" fmla="*/ 10 w 44"/>
                <a:gd name="T53" fmla="*/ 45 h 52"/>
                <a:gd name="T54" fmla="*/ 14 w 44"/>
                <a:gd name="T55" fmla="*/ 44 h 52"/>
                <a:gd name="T56" fmla="*/ 22 w 44"/>
                <a:gd name="T57" fmla="*/ 33 h 52"/>
                <a:gd name="T58" fmla="*/ 22 w 44"/>
                <a:gd name="T5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" h="52">
                  <a:moveTo>
                    <a:pt x="41" y="17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7" y="11"/>
                    <a:pt x="37" y="10"/>
                    <a:pt x="36" y="9"/>
                  </a:cubicBezTo>
                  <a:cubicBezTo>
                    <a:pt x="36" y="8"/>
                    <a:pt x="36" y="8"/>
                    <a:pt x="35" y="7"/>
                  </a:cubicBezTo>
                  <a:cubicBezTo>
                    <a:pt x="35" y="7"/>
                    <a:pt x="34" y="7"/>
                    <a:pt x="34" y="7"/>
                  </a:cubicBezTo>
                  <a:cubicBezTo>
                    <a:pt x="32" y="6"/>
                    <a:pt x="31" y="7"/>
                    <a:pt x="29" y="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7" y="1"/>
                    <a:pt x="31" y="0"/>
                    <a:pt x="35" y="0"/>
                  </a:cubicBezTo>
                  <a:cubicBezTo>
                    <a:pt x="36" y="1"/>
                    <a:pt x="38" y="1"/>
                    <a:pt x="39" y="2"/>
                  </a:cubicBezTo>
                  <a:cubicBezTo>
                    <a:pt x="40" y="3"/>
                    <a:pt x="41" y="4"/>
                    <a:pt x="42" y="5"/>
                  </a:cubicBezTo>
                  <a:cubicBezTo>
                    <a:pt x="44" y="8"/>
                    <a:pt x="44" y="13"/>
                    <a:pt x="41" y="17"/>
                  </a:cubicBezTo>
                  <a:moveTo>
                    <a:pt x="22" y="44"/>
                  </a:moveTo>
                  <a:cubicBezTo>
                    <a:pt x="19" y="47"/>
                    <a:pt x="19" y="47"/>
                    <a:pt x="19" y="47"/>
                  </a:cubicBezTo>
                  <a:cubicBezTo>
                    <a:pt x="17" y="51"/>
                    <a:pt x="12" y="52"/>
                    <a:pt x="9" y="52"/>
                  </a:cubicBezTo>
                  <a:cubicBezTo>
                    <a:pt x="7" y="51"/>
                    <a:pt x="6" y="51"/>
                    <a:pt x="5" y="50"/>
                  </a:cubicBezTo>
                  <a:cubicBezTo>
                    <a:pt x="4" y="49"/>
                    <a:pt x="3" y="48"/>
                    <a:pt x="2" y="47"/>
                  </a:cubicBezTo>
                  <a:cubicBezTo>
                    <a:pt x="0" y="44"/>
                    <a:pt x="0" y="39"/>
                    <a:pt x="2" y="35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6" y="41"/>
                    <a:pt x="7" y="42"/>
                    <a:pt x="7" y="43"/>
                  </a:cubicBezTo>
                  <a:cubicBezTo>
                    <a:pt x="8" y="44"/>
                    <a:pt x="8" y="44"/>
                    <a:pt x="9" y="45"/>
                  </a:cubicBezTo>
                  <a:cubicBezTo>
                    <a:pt x="9" y="45"/>
                    <a:pt x="10" y="45"/>
                    <a:pt x="10" y="45"/>
                  </a:cubicBezTo>
                  <a:cubicBezTo>
                    <a:pt x="12" y="46"/>
                    <a:pt x="13" y="45"/>
                    <a:pt x="14" y="44"/>
                  </a:cubicBezTo>
                  <a:cubicBezTo>
                    <a:pt x="22" y="33"/>
                    <a:pt x="22" y="33"/>
                    <a:pt x="22" y="33"/>
                  </a:cubicBezTo>
                  <a:lnTo>
                    <a:pt x="22" y="4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5" name="Freeform 1401">
              <a:extLst>
                <a:ext uri="{FF2B5EF4-FFF2-40B4-BE49-F238E27FC236}">
                  <a16:creationId xmlns:a16="http://schemas.microsoft.com/office/drawing/2014/main" id="{E58EB324-E5AF-415D-8C5E-3650C8E41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382" y="2928856"/>
              <a:ext cx="32879" cy="37938"/>
            </a:xfrm>
            <a:custGeom>
              <a:avLst/>
              <a:gdLst>
                <a:gd name="T0" fmla="*/ 12 w 18"/>
                <a:gd name="T1" fmla="*/ 2 h 21"/>
                <a:gd name="T2" fmla="*/ 16 w 18"/>
                <a:gd name="T3" fmla="*/ 1 h 21"/>
                <a:gd name="T4" fmla="*/ 17 w 18"/>
                <a:gd name="T5" fmla="*/ 5 h 21"/>
                <a:gd name="T6" fmla="*/ 7 w 18"/>
                <a:gd name="T7" fmla="*/ 20 h 21"/>
                <a:gd name="T8" fmla="*/ 2 w 18"/>
                <a:gd name="T9" fmla="*/ 20 h 21"/>
                <a:gd name="T10" fmla="*/ 1 w 18"/>
                <a:gd name="T11" fmla="*/ 16 h 21"/>
                <a:gd name="T12" fmla="*/ 12 w 18"/>
                <a:gd name="T13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1">
                  <a:moveTo>
                    <a:pt x="12" y="2"/>
                  </a:moveTo>
                  <a:cubicBezTo>
                    <a:pt x="13" y="0"/>
                    <a:pt x="15" y="0"/>
                    <a:pt x="16" y="1"/>
                  </a:cubicBezTo>
                  <a:cubicBezTo>
                    <a:pt x="17" y="2"/>
                    <a:pt x="18" y="4"/>
                    <a:pt x="17" y="5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4" y="21"/>
                    <a:pt x="2" y="20"/>
                  </a:cubicBezTo>
                  <a:cubicBezTo>
                    <a:pt x="1" y="19"/>
                    <a:pt x="0" y="17"/>
                    <a:pt x="1" y="16"/>
                  </a:cubicBezTo>
                  <a:lnTo>
                    <a:pt x="12" y="2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6" name="Freeform 1402">
              <a:extLst>
                <a:ext uri="{FF2B5EF4-FFF2-40B4-BE49-F238E27FC236}">
                  <a16:creationId xmlns:a16="http://schemas.microsoft.com/office/drawing/2014/main" id="{AE2F5D80-C8A9-436F-B776-9C4A957C8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7674" y="2873214"/>
              <a:ext cx="63229" cy="45525"/>
            </a:xfrm>
            <a:custGeom>
              <a:avLst/>
              <a:gdLst>
                <a:gd name="T0" fmla="*/ 29 w 35"/>
                <a:gd name="T1" fmla="*/ 1 h 25"/>
                <a:gd name="T2" fmla="*/ 33 w 35"/>
                <a:gd name="T3" fmla="*/ 1 h 25"/>
                <a:gd name="T4" fmla="*/ 33 w 35"/>
                <a:gd name="T5" fmla="*/ 6 h 25"/>
                <a:gd name="T6" fmla="*/ 16 w 35"/>
                <a:gd name="T7" fmla="*/ 23 h 25"/>
                <a:gd name="T8" fmla="*/ 11 w 35"/>
                <a:gd name="T9" fmla="*/ 23 h 25"/>
                <a:gd name="T10" fmla="*/ 2 w 35"/>
                <a:gd name="T11" fmla="*/ 14 h 25"/>
                <a:gd name="T12" fmla="*/ 2 w 35"/>
                <a:gd name="T13" fmla="*/ 9 h 25"/>
                <a:gd name="T14" fmla="*/ 6 w 35"/>
                <a:gd name="T15" fmla="*/ 9 h 25"/>
                <a:gd name="T16" fmla="*/ 14 w 35"/>
                <a:gd name="T17" fmla="*/ 17 h 25"/>
                <a:gd name="T18" fmla="*/ 29 w 35"/>
                <a:gd name="T19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5">
                  <a:moveTo>
                    <a:pt x="29" y="1"/>
                  </a:moveTo>
                  <a:cubicBezTo>
                    <a:pt x="30" y="0"/>
                    <a:pt x="32" y="0"/>
                    <a:pt x="33" y="1"/>
                  </a:cubicBezTo>
                  <a:cubicBezTo>
                    <a:pt x="35" y="2"/>
                    <a:pt x="35" y="4"/>
                    <a:pt x="33" y="6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5"/>
                    <a:pt x="13" y="25"/>
                    <a:pt x="11" y="2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2"/>
                    <a:pt x="0" y="10"/>
                    <a:pt x="2" y="9"/>
                  </a:cubicBezTo>
                  <a:cubicBezTo>
                    <a:pt x="3" y="8"/>
                    <a:pt x="5" y="8"/>
                    <a:pt x="6" y="9"/>
                  </a:cubicBezTo>
                  <a:cubicBezTo>
                    <a:pt x="14" y="17"/>
                    <a:pt x="14" y="17"/>
                    <a:pt x="14" y="17"/>
                  </a:cubicBezTo>
                  <a:lnTo>
                    <a:pt x="29" y="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66" name="Agrupar 1665">
            <a:extLst>
              <a:ext uri="{FF2B5EF4-FFF2-40B4-BE49-F238E27FC236}">
                <a16:creationId xmlns:a16="http://schemas.microsoft.com/office/drawing/2014/main" id="{3C5EB241-9C53-4705-93B5-1FE59B3988AD}"/>
              </a:ext>
            </a:extLst>
          </p:cNvPr>
          <p:cNvGrpSpPr/>
          <p:nvPr/>
        </p:nvGrpSpPr>
        <p:grpSpPr>
          <a:xfrm>
            <a:off x="6435186" y="3303173"/>
            <a:ext cx="178307" cy="280738"/>
            <a:chOff x="6435186" y="3303173"/>
            <a:chExt cx="178307" cy="280738"/>
          </a:xfrm>
        </p:grpSpPr>
        <p:sp>
          <p:nvSpPr>
            <p:cNvPr id="1207" name="Freeform 1403">
              <a:extLst>
                <a:ext uri="{FF2B5EF4-FFF2-40B4-BE49-F238E27FC236}">
                  <a16:creationId xmlns:a16="http://schemas.microsoft.com/office/drawing/2014/main" id="{9ADA2F0F-D74E-47CA-A273-DB04C005F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5186" y="3346169"/>
              <a:ext cx="178307" cy="237742"/>
            </a:xfrm>
            <a:custGeom>
              <a:avLst/>
              <a:gdLst>
                <a:gd name="T0" fmla="*/ 49 w 98"/>
                <a:gd name="T1" fmla="*/ 0 h 131"/>
                <a:gd name="T2" fmla="*/ 88 w 98"/>
                <a:gd name="T3" fmla="*/ 0 h 131"/>
                <a:gd name="T4" fmla="*/ 95 w 98"/>
                <a:gd name="T5" fmla="*/ 3 h 131"/>
                <a:gd name="T6" fmla="*/ 98 w 98"/>
                <a:gd name="T7" fmla="*/ 10 h 131"/>
                <a:gd name="T8" fmla="*/ 98 w 98"/>
                <a:gd name="T9" fmla="*/ 121 h 131"/>
                <a:gd name="T10" fmla="*/ 95 w 98"/>
                <a:gd name="T11" fmla="*/ 128 h 131"/>
                <a:gd name="T12" fmla="*/ 88 w 98"/>
                <a:gd name="T13" fmla="*/ 131 h 131"/>
                <a:gd name="T14" fmla="*/ 49 w 98"/>
                <a:gd name="T15" fmla="*/ 131 h 131"/>
                <a:gd name="T16" fmla="*/ 49 w 98"/>
                <a:gd name="T17" fmla="*/ 124 h 131"/>
                <a:gd name="T18" fmla="*/ 88 w 98"/>
                <a:gd name="T19" fmla="*/ 124 h 131"/>
                <a:gd name="T20" fmla="*/ 90 w 98"/>
                <a:gd name="T21" fmla="*/ 123 h 131"/>
                <a:gd name="T22" fmla="*/ 91 w 98"/>
                <a:gd name="T23" fmla="*/ 121 h 131"/>
                <a:gd name="T24" fmla="*/ 91 w 98"/>
                <a:gd name="T25" fmla="*/ 10 h 131"/>
                <a:gd name="T26" fmla="*/ 90 w 98"/>
                <a:gd name="T27" fmla="*/ 8 h 131"/>
                <a:gd name="T28" fmla="*/ 88 w 98"/>
                <a:gd name="T29" fmla="*/ 7 h 131"/>
                <a:gd name="T30" fmla="*/ 49 w 98"/>
                <a:gd name="T31" fmla="*/ 7 h 131"/>
                <a:gd name="T32" fmla="*/ 49 w 98"/>
                <a:gd name="T33" fmla="*/ 0 h 131"/>
                <a:gd name="T34" fmla="*/ 3 w 98"/>
                <a:gd name="T35" fmla="*/ 0 h 131"/>
                <a:gd name="T36" fmla="*/ 49 w 98"/>
                <a:gd name="T37" fmla="*/ 0 h 131"/>
                <a:gd name="T38" fmla="*/ 49 w 98"/>
                <a:gd name="T39" fmla="*/ 7 h 131"/>
                <a:gd name="T40" fmla="*/ 7 w 98"/>
                <a:gd name="T41" fmla="*/ 7 h 131"/>
                <a:gd name="T42" fmla="*/ 7 w 98"/>
                <a:gd name="T43" fmla="*/ 124 h 131"/>
                <a:gd name="T44" fmla="*/ 49 w 98"/>
                <a:gd name="T45" fmla="*/ 124 h 131"/>
                <a:gd name="T46" fmla="*/ 49 w 98"/>
                <a:gd name="T47" fmla="*/ 131 h 131"/>
                <a:gd name="T48" fmla="*/ 3 w 98"/>
                <a:gd name="T49" fmla="*/ 131 h 131"/>
                <a:gd name="T50" fmla="*/ 0 w 98"/>
                <a:gd name="T51" fmla="*/ 128 h 131"/>
                <a:gd name="T52" fmla="*/ 0 w 98"/>
                <a:gd name="T53" fmla="*/ 4 h 131"/>
                <a:gd name="T54" fmla="*/ 3 w 98"/>
                <a:gd name="T55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31">
                  <a:moveTo>
                    <a:pt x="49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91" y="0"/>
                    <a:pt x="93" y="2"/>
                    <a:pt x="95" y="3"/>
                  </a:cubicBezTo>
                  <a:cubicBezTo>
                    <a:pt x="97" y="5"/>
                    <a:pt x="98" y="8"/>
                    <a:pt x="98" y="10"/>
                  </a:cubicBezTo>
                  <a:cubicBezTo>
                    <a:pt x="98" y="121"/>
                    <a:pt x="98" y="121"/>
                    <a:pt x="98" y="121"/>
                  </a:cubicBezTo>
                  <a:cubicBezTo>
                    <a:pt x="98" y="124"/>
                    <a:pt x="97" y="126"/>
                    <a:pt x="95" y="128"/>
                  </a:cubicBezTo>
                  <a:cubicBezTo>
                    <a:pt x="93" y="130"/>
                    <a:pt x="91" y="131"/>
                    <a:pt x="88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88" y="124"/>
                    <a:pt x="88" y="124"/>
                    <a:pt x="88" y="124"/>
                  </a:cubicBezTo>
                  <a:cubicBezTo>
                    <a:pt x="89" y="124"/>
                    <a:pt x="90" y="124"/>
                    <a:pt x="90" y="123"/>
                  </a:cubicBezTo>
                  <a:cubicBezTo>
                    <a:pt x="91" y="123"/>
                    <a:pt x="91" y="122"/>
                    <a:pt x="91" y="12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91" y="9"/>
                    <a:pt x="91" y="8"/>
                    <a:pt x="90" y="8"/>
                  </a:cubicBezTo>
                  <a:cubicBezTo>
                    <a:pt x="90" y="7"/>
                    <a:pt x="89" y="7"/>
                    <a:pt x="88" y="7"/>
                  </a:cubicBezTo>
                  <a:cubicBezTo>
                    <a:pt x="49" y="7"/>
                    <a:pt x="49" y="7"/>
                    <a:pt x="49" y="7"/>
                  </a:cubicBezTo>
                  <a:lnTo>
                    <a:pt x="49" y="0"/>
                  </a:lnTo>
                  <a:close/>
                  <a:moveTo>
                    <a:pt x="3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2" y="131"/>
                    <a:pt x="0" y="129"/>
                    <a:pt x="0" y="12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8" name="Freeform 1404">
              <a:extLst>
                <a:ext uri="{FF2B5EF4-FFF2-40B4-BE49-F238E27FC236}">
                  <a16:creationId xmlns:a16="http://schemas.microsoft.com/office/drawing/2014/main" id="{BBA47611-3D1C-459E-A3BC-16A0DC238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5186" y="3303173"/>
              <a:ext cx="149221" cy="55642"/>
            </a:xfrm>
            <a:custGeom>
              <a:avLst/>
              <a:gdLst>
                <a:gd name="T0" fmla="*/ 4 w 82"/>
                <a:gd name="T1" fmla="*/ 31 h 31"/>
                <a:gd name="T2" fmla="*/ 0 w 82"/>
                <a:gd name="T3" fmla="*/ 29 h 31"/>
                <a:gd name="T4" fmla="*/ 2 w 82"/>
                <a:gd name="T5" fmla="*/ 25 h 31"/>
                <a:gd name="T6" fmla="*/ 72 w 82"/>
                <a:gd name="T7" fmla="*/ 1 h 31"/>
                <a:gd name="T8" fmla="*/ 75 w 82"/>
                <a:gd name="T9" fmla="*/ 0 h 31"/>
                <a:gd name="T10" fmla="*/ 79 w 82"/>
                <a:gd name="T11" fmla="*/ 2 h 31"/>
                <a:gd name="T12" fmla="*/ 81 w 82"/>
                <a:gd name="T13" fmla="*/ 5 h 31"/>
                <a:gd name="T14" fmla="*/ 82 w 82"/>
                <a:gd name="T15" fmla="*/ 8 h 31"/>
                <a:gd name="T16" fmla="*/ 82 w 82"/>
                <a:gd name="T17" fmla="*/ 28 h 31"/>
                <a:gd name="T18" fmla="*/ 78 w 82"/>
                <a:gd name="T19" fmla="*/ 31 h 31"/>
                <a:gd name="T20" fmla="*/ 75 w 82"/>
                <a:gd name="T21" fmla="*/ 28 h 31"/>
                <a:gd name="T22" fmla="*/ 75 w 82"/>
                <a:gd name="T23" fmla="*/ 8 h 31"/>
                <a:gd name="T24" fmla="*/ 75 w 82"/>
                <a:gd name="T25" fmla="*/ 7 h 31"/>
                <a:gd name="T26" fmla="*/ 75 w 82"/>
                <a:gd name="T27" fmla="*/ 7 h 31"/>
                <a:gd name="T28" fmla="*/ 75 w 82"/>
                <a:gd name="T29" fmla="*/ 7 h 31"/>
                <a:gd name="T30" fmla="*/ 74 w 82"/>
                <a:gd name="T31" fmla="*/ 7 h 31"/>
                <a:gd name="T32" fmla="*/ 4 w 82"/>
                <a:gd name="T3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31">
                  <a:moveTo>
                    <a:pt x="4" y="31"/>
                  </a:moveTo>
                  <a:cubicBezTo>
                    <a:pt x="3" y="31"/>
                    <a:pt x="1" y="30"/>
                    <a:pt x="0" y="29"/>
                  </a:cubicBezTo>
                  <a:cubicBezTo>
                    <a:pt x="0" y="27"/>
                    <a:pt x="1" y="25"/>
                    <a:pt x="2" y="25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3" y="1"/>
                    <a:pt x="74" y="0"/>
                    <a:pt x="75" y="0"/>
                  </a:cubicBezTo>
                  <a:cubicBezTo>
                    <a:pt x="76" y="0"/>
                    <a:pt x="77" y="1"/>
                    <a:pt x="79" y="2"/>
                  </a:cubicBezTo>
                  <a:cubicBezTo>
                    <a:pt x="80" y="3"/>
                    <a:pt x="81" y="4"/>
                    <a:pt x="81" y="5"/>
                  </a:cubicBezTo>
                  <a:cubicBezTo>
                    <a:pt x="81" y="6"/>
                    <a:pt x="82" y="7"/>
                    <a:pt x="82" y="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9"/>
                    <a:pt x="80" y="31"/>
                    <a:pt x="78" y="31"/>
                  </a:cubicBezTo>
                  <a:cubicBezTo>
                    <a:pt x="77" y="31"/>
                    <a:pt x="75" y="29"/>
                    <a:pt x="75" y="2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8"/>
                    <a:pt x="75" y="8"/>
                    <a:pt x="75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7"/>
                    <a:pt x="74" y="7"/>
                  </a:cubicBezTo>
                  <a:lnTo>
                    <a:pt x="4" y="3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9" name="Freeform 1405">
              <a:extLst>
                <a:ext uri="{FF2B5EF4-FFF2-40B4-BE49-F238E27FC236}">
                  <a16:creationId xmlns:a16="http://schemas.microsoft.com/office/drawing/2014/main" id="{D90634FA-3D22-408F-A912-7F3FFB809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652" y="3466305"/>
              <a:ext cx="97373" cy="21498"/>
            </a:xfrm>
            <a:custGeom>
              <a:avLst/>
              <a:gdLst>
                <a:gd name="T0" fmla="*/ 4 w 54"/>
                <a:gd name="T1" fmla="*/ 11 h 12"/>
                <a:gd name="T2" fmla="*/ 0 w 54"/>
                <a:gd name="T3" fmla="*/ 10 h 12"/>
                <a:gd name="T4" fmla="*/ 1 w 54"/>
                <a:gd name="T5" fmla="*/ 7 h 12"/>
                <a:gd name="T6" fmla="*/ 13 w 54"/>
                <a:gd name="T7" fmla="*/ 2 h 12"/>
                <a:gd name="T8" fmla="*/ 27 w 54"/>
                <a:gd name="T9" fmla="*/ 0 h 12"/>
                <a:gd name="T10" fmla="*/ 41 w 54"/>
                <a:gd name="T11" fmla="*/ 2 h 12"/>
                <a:gd name="T12" fmla="*/ 53 w 54"/>
                <a:gd name="T13" fmla="*/ 7 h 12"/>
                <a:gd name="T14" fmla="*/ 54 w 54"/>
                <a:gd name="T15" fmla="*/ 10 h 12"/>
                <a:gd name="T16" fmla="*/ 50 w 54"/>
                <a:gd name="T17" fmla="*/ 11 h 12"/>
                <a:gd name="T18" fmla="*/ 40 w 54"/>
                <a:gd name="T19" fmla="*/ 6 h 12"/>
                <a:gd name="T20" fmla="*/ 27 w 54"/>
                <a:gd name="T21" fmla="*/ 5 h 12"/>
                <a:gd name="T22" fmla="*/ 14 w 54"/>
                <a:gd name="T23" fmla="*/ 6 h 12"/>
                <a:gd name="T24" fmla="*/ 4 w 54"/>
                <a:gd name="T2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12">
                  <a:moveTo>
                    <a:pt x="4" y="11"/>
                  </a:moveTo>
                  <a:cubicBezTo>
                    <a:pt x="3" y="12"/>
                    <a:pt x="1" y="11"/>
                    <a:pt x="0" y="10"/>
                  </a:cubicBezTo>
                  <a:cubicBezTo>
                    <a:pt x="0" y="9"/>
                    <a:pt x="0" y="8"/>
                    <a:pt x="1" y="7"/>
                  </a:cubicBezTo>
                  <a:cubicBezTo>
                    <a:pt x="4" y="5"/>
                    <a:pt x="8" y="3"/>
                    <a:pt x="13" y="2"/>
                  </a:cubicBezTo>
                  <a:cubicBezTo>
                    <a:pt x="17" y="1"/>
                    <a:pt x="22" y="0"/>
                    <a:pt x="27" y="0"/>
                  </a:cubicBezTo>
                  <a:cubicBezTo>
                    <a:pt x="32" y="0"/>
                    <a:pt x="37" y="1"/>
                    <a:pt x="41" y="2"/>
                  </a:cubicBezTo>
                  <a:cubicBezTo>
                    <a:pt x="46" y="3"/>
                    <a:pt x="50" y="5"/>
                    <a:pt x="53" y="7"/>
                  </a:cubicBezTo>
                  <a:cubicBezTo>
                    <a:pt x="54" y="8"/>
                    <a:pt x="54" y="9"/>
                    <a:pt x="54" y="10"/>
                  </a:cubicBezTo>
                  <a:cubicBezTo>
                    <a:pt x="53" y="11"/>
                    <a:pt x="51" y="12"/>
                    <a:pt x="50" y="11"/>
                  </a:cubicBezTo>
                  <a:cubicBezTo>
                    <a:pt x="48" y="9"/>
                    <a:pt x="44" y="7"/>
                    <a:pt x="40" y="6"/>
                  </a:cubicBezTo>
                  <a:cubicBezTo>
                    <a:pt x="36" y="5"/>
                    <a:pt x="32" y="5"/>
                    <a:pt x="27" y="5"/>
                  </a:cubicBezTo>
                  <a:cubicBezTo>
                    <a:pt x="22" y="5"/>
                    <a:pt x="18" y="5"/>
                    <a:pt x="14" y="6"/>
                  </a:cubicBezTo>
                  <a:cubicBezTo>
                    <a:pt x="10" y="7"/>
                    <a:pt x="6" y="9"/>
                    <a:pt x="4" y="11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0" name="Freeform 1406">
              <a:extLst>
                <a:ext uri="{FF2B5EF4-FFF2-40B4-BE49-F238E27FC236}">
                  <a16:creationId xmlns:a16="http://schemas.microsoft.com/office/drawing/2014/main" id="{923AF232-0D96-49BC-9888-C93C03FA8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652" y="3400546"/>
              <a:ext cx="97373" cy="20233"/>
            </a:xfrm>
            <a:custGeom>
              <a:avLst/>
              <a:gdLst>
                <a:gd name="T0" fmla="*/ 1 w 54"/>
                <a:gd name="T1" fmla="*/ 5 h 11"/>
                <a:gd name="T2" fmla="*/ 0 w 54"/>
                <a:gd name="T3" fmla="*/ 1 h 11"/>
                <a:gd name="T4" fmla="*/ 4 w 54"/>
                <a:gd name="T5" fmla="*/ 0 h 11"/>
                <a:gd name="T6" fmla="*/ 14 w 54"/>
                <a:gd name="T7" fmla="*/ 5 h 11"/>
                <a:gd name="T8" fmla="*/ 27 w 54"/>
                <a:gd name="T9" fmla="*/ 6 h 11"/>
                <a:gd name="T10" fmla="*/ 40 w 54"/>
                <a:gd name="T11" fmla="*/ 5 h 11"/>
                <a:gd name="T12" fmla="*/ 50 w 54"/>
                <a:gd name="T13" fmla="*/ 0 h 11"/>
                <a:gd name="T14" fmla="*/ 54 w 54"/>
                <a:gd name="T15" fmla="*/ 1 h 11"/>
                <a:gd name="T16" fmla="*/ 53 w 54"/>
                <a:gd name="T17" fmla="*/ 5 h 11"/>
                <a:gd name="T18" fmla="*/ 41 w 54"/>
                <a:gd name="T19" fmla="*/ 10 h 11"/>
                <a:gd name="T20" fmla="*/ 27 w 54"/>
                <a:gd name="T21" fmla="*/ 11 h 11"/>
                <a:gd name="T22" fmla="*/ 13 w 54"/>
                <a:gd name="T23" fmla="*/ 10 h 11"/>
                <a:gd name="T24" fmla="*/ 1 w 54"/>
                <a:gd name="T2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11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6" y="2"/>
                    <a:pt x="10" y="4"/>
                    <a:pt x="14" y="5"/>
                  </a:cubicBezTo>
                  <a:cubicBezTo>
                    <a:pt x="18" y="6"/>
                    <a:pt x="22" y="6"/>
                    <a:pt x="27" y="6"/>
                  </a:cubicBezTo>
                  <a:cubicBezTo>
                    <a:pt x="32" y="6"/>
                    <a:pt x="36" y="6"/>
                    <a:pt x="40" y="5"/>
                  </a:cubicBezTo>
                  <a:cubicBezTo>
                    <a:pt x="44" y="4"/>
                    <a:pt x="48" y="2"/>
                    <a:pt x="50" y="0"/>
                  </a:cubicBezTo>
                  <a:cubicBezTo>
                    <a:pt x="51" y="0"/>
                    <a:pt x="53" y="0"/>
                    <a:pt x="54" y="1"/>
                  </a:cubicBezTo>
                  <a:cubicBezTo>
                    <a:pt x="54" y="2"/>
                    <a:pt x="54" y="4"/>
                    <a:pt x="53" y="5"/>
                  </a:cubicBezTo>
                  <a:cubicBezTo>
                    <a:pt x="50" y="7"/>
                    <a:pt x="46" y="8"/>
                    <a:pt x="41" y="10"/>
                  </a:cubicBezTo>
                  <a:cubicBezTo>
                    <a:pt x="37" y="11"/>
                    <a:pt x="32" y="11"/>
                    <a:pt x="27" y="11"/>
                  </a:cubicBezTo>
                  <a:cubicBezTo>
                    <a:pt x="22" y="11"/>
                    <a:pt x="17" y="11"/>
                    <a:pt x="13" y="10"/>
                  </a:cubicBezTo>
                  <a:cubicBezTo>
                    <a:pt x="8" y="8"/>
                    <a:pt x="4" y="7"/>
                    <a:pt x="1" y="5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1" name="Freeform 1407">
              <a:extLst>
                <a:ext uri="{FF2B5EF4-FFF2-40B4-BE49-F238E27FC236}">
                  <a16:creationId xmlns:a16="http://schemas.microsoft.com/office/drawing/2014/main" id="{88472206-87DB-4A69-8D13-B58D866783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7034" y="3380313"/>
              <a:ext cx="75875" cy="127723"/>
            </a:xfrm>
            <a:custGeom>
              <a:avLst/>
              <a:gdLst>
                <a:gd name="T0" fmla="*/ 21 w 42"/>
                <a:gd name="T1" fmla="*/ 0 h 70"/>
                <a:gd name="T2" fmla="*/ 36 w 42"/>
                <a:gd name="T3" fmla="*/ 11 h 70"/>
                <a:gd name="T4" fmla="*/ 42 w 42"/>
                <a:gd name="T5" fmla="*/ 35 h 70"/>
                <a:gd name="T6" fmla="*/ 36 w 42"/>
                <a:gd name="T7" fmla="*/ 59 h 70"/>
                <a:gd name="T8" fmla="*/ 21 w 42"/>
                <a:gd name="T9" fmla="*/ 70 h 70"/>
                <a:gd name="T10" fmla="*/ 21 w 42"/>
                <a:gd name="T11" fmla="*/ 65 h 70"/>
                <a:gd name="T12" fmla="*/ 32 w 42"/>
                <a:gd name="T13" fmla="*/ 56 h 70"/>
                <a:gd name="T14" fmla="*/ 37 w 42"/>
                <a:gd name="T15" fmla="*/ 35 h 70"/>
                <a:gd name="T16" fmla="*/ 32 w 42"/>
                <a:gd name="T17" fmla="*/ 13 h 70"/>
                <a:gd name="T18" fmla="*/ 21 w 42"/>
                <a:gd name="T19" fmla="*/ 5 h 70"/>
                <a:gd name="T20" fmla="*/ 21 w 42"/>
                <a:gd name="T21" fmla="*/ 0 h 70"/>
                <a:gd name="T22" fmla="*/ 21 w 42"/>
                <a:gd name="T23" fmla="*/ 70 h 70"/>
                <a:gd name="T24" fmla="*/ 6 w 42"/>
                <a:gd name="T25" fmla="*/ 59 h 70"/>
                <a:gd name="T26" fmla="*/ 0 w 42"/>
                <a:gd name="T27" fmla="*/ 35 h 70"/>
                <a:gd name="T28" fmla="*/ 6 w 42"/>
                <a:gd name="T29" fmla="*/ 11 h 70"/>
                <a:gd name="T30" fmla="*/ 21 w 42"/>
                <a:gd name="T31" fmla="*/ 0 h 70"/>
                <a:gd name="T32" fmla="*/ 21 w 42"/>
                <a:gd name="T33" fmla="*/ 5 h 70"/>
                <a:gd name="T34" fmla="*/ 10 w 42"/>
                <a:gd name="T35" fmla="*/ 13 h 70"/>
                <a:gd name="T36" fmla="*/ 5 w 42"/>
                <a:gd name="T37" fmla="*/ 35 h 70"/>
                <a:gd name="T38" fmla="*/ 10 w 42"/>
                <a:gd name="T39" fmla="*/ 56 h 70"/>
                <a:gd name="T40" fmla="*/ 21 w 42"/>
                <a:gd name="T41" fmla="*/ 65 h 70"/>
                <a:gd name="T42" fmla="*/ 21 w 42"/>
                <a:gd name="T4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70">
                  <a:moveTo>
                    <a:pt x="21" y="0"/>
                  </a:moveTo>
                  <a:cubicBezTo>
                    <a:pt x="27" y="0"/>
                    <a:pt x="32" y="4"/>
                    <a:pt x="36" y="11"/>
                  </a:cubicBezTo>
                  <a:cubicBezTo>
                    <a:pt x="40" y="17"/>
                    <a:pt x="42" y="25"/>
                    <a:pt x="42" y="35"/>
                  </a:cubicBezTo>
                  <a:cubicBezTo>
                    <a:pt x="42" y="44"/>
                    <a:pt x="40" y="53"/>
                    <a:pt x="36" y="59"/>
                  </a:cubicBezTo>
                  <a:cubicBezTo>
                    <a:pt x="32" y="65"/>
                    <a:pt x="27" y="70"/>
                    <a:pt x="21" y="70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5" y="65"/>
                    <a:pt x="29" y="62"/>
                    <a:pt x="32" y="56"/>
                  </a:cubicBezTo>
                  <a:cubicBezTo>
                    <a:pt x="35" y="51"/>
                    <a:pt x="37" y="43"/>
                    <a:pt x="37" y="35"/>
                  </a:cubicBezTo>
                  <a:cubicBezTo>
                    <a:pt x="37" y="26"/>
                    <a:pt x="35" y="18"/>
                    <a:pt x="32" y="13"/>
                  </a:cubicBezTo>
                  <a:cubicBezTo>
                    <a:pt x="29" y="8"/>
                    <a:pt x="25" y="5"/>
                    <a:pt x="21" y="5"/>
                  </a:cubicBezTo>
                  <a:lnTo>
                    <a:pt x="21" y="0"/>
                  </a:lnTo>
                  <a:close/>
                  <a:moveTo>
                    <a:pt x="21" y="70"/>
                  </a:moveTo>
                  <a:cubicBezTo>
                    <a:pt x="15" y="70"/>
                    <a:pt x="10" y="65"/>
                    <a:pt x="6" y="59"/>
                  </a:cubicBezTo>
                  <a:cubicBezTo>
                    <a:pt x="2" y="53"/>
                    <a:pt x="0" y="44"/>
                    <a:pt x="0" y="35"/>
                  </a:cubicBezTo>
                  <a:cubicBezTo>
                    <a:pt x="0" y="25"/>
                    <a:pt x="2" y="17"/>
                    <a:pt x="6" y="11"/>
                  </a:cubicBezTo>
                  <a:cubicBezTo>
                    <a:pt x="10" y="4"/>
                    <a:pt x="15" y="0"/>
                    <a:pt x="21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7" y="5"/>
                    <a:pt x="13" y="8"/>
                    <a:pt x="10" y="13"/>
                  </a:cubicBezTo>
                  <a:cubicBezTo>
                    <a:pt x="7" y="18"/>
                    <a:pt x="5" y="26"/>
                    <a:pt x="5" y="35"/>
                  </a:cubicBezTo>
                  <a:cubicBezTo>
                    <a:pt x="5" y="43"/>
                    <a:pt x="7" y="51"/>
                    <a:pt x="10" y="56"/>
                  </a:cubicBezTo>
                  <a:cubicBezTo>
                    <a:pt x="13" y="62"/>
                    <a:pt x="17" y="65"/>
                    <a:pt x="21" y="65"/>
                  </a:cubicBezTo>
                  <a:lnTo>
                    <a:pt x="21" y="7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2" name="Freeform 1408">
              <a:extLst>
                <a:ext uri="{FF2B5EF4-FFF2-40B4-BE49-F238E27FC236}">
                  <a16:creationId xmlns:a16="http://schemas.microsoft.com/office/drawing/2014/main" id="{70F7CBF3-D1E9-440D-B61A-E42450123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1177" y="3382842"/>
              <a:ext cx="7588" cy="121400"/>
            </a:xfrm>
            <a:custGeom>
              <a:avLst/>
              <a:gdLst>
                <a:gd name="T0" fmla="*/ 0 w 4"/>
                <a:gd name="T1" fmla="*/ 3 h 67"/>
                <a:gd name="T2" fmla="*/ 2 w 4"/>
                <a:gd name="T3" fmla="*/ 0 h 67"/>
                <a:gd name="T4" fmla="*/ 4 w 4"/>
                <a:gd name="T5" fmla="*/ 3 h 67"/>
                <a:gd name="T6" fmla="*/ 4 w 4"/>
                <a:gd name="T7" fmla="*/ 65 h 67"/>
                <a:gd name="T8" fmla="*/ 2 w 4"/>
                <a:gd name="T9" fmla="*/ 67 h 67"/>
                <a:gd name="T10" fmla="*/ 0 w 4"/>
                <a:gd name="T11" fmla="*/ 65 h 67"/>
                <a:gd name="T12" fmla="*/ 0 w 4"/>
                <a:gd name="T13" fmla="*/ 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7">
                  <a:moveTo>
                    <a:pt x="0" y="3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3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6"/>
                    <a:pt x="3" y="67"/>
                    <a:pt x="2" y="67"/>
                  </a:cubicBezTo>
                  <a:cubicBezTo>
                    <a:pt x="1" y="67"/>
                    <a:pt x="0" y="66"/>
                    <a:pt x="0" y="65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3" name="Freeform 1409">
              <a:extLst>
                <a:ext uri="{FF2B5EF4-FFF2-40B4-BE49-F238E27FC236}">
                  <a16:creationId xmlns:a16="http://schemas.microsoft.com/office/drawing/2014/main" id="{28D7283F-4714-4819-BA99-B55AA808E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271" y="3438484"/>
              <a:ext cx="120136" cy="8852"/>
            </a:xfrm>
            <a:custGeom>
              <a:avLst/>
              <a:gdLst>
                <a:gd name="T0" fmla="*/ 2 w 66"/>
                <a:gd name="T1" fmla="*/ 5 h 5"/>
                <a:gd name="T2" fmla="*/ 0 w 66"/>
                <a:gd name="T3" fmla="*/ 3 h 5"/>
                <a:gd name="T4" fmla="*/ 2 w 66"/>
                <a:gd name="T5" fmla="*/ 0 h 5"/>
                <a:gd name="T6" fmla="*/ 64 w 66"/>
                <a:gd name="T7" fmla="*/ 0 h 5"/>
                <a:gd name="T8" fmla="*/ 66 w 66"/>
                <a:gd name="T9" fmla="*/ 3 h 5"/>
                <a:gd name="T10" fmla="*/ 64 w 66"/>
                <a:gd name="T11" fmla="*/ 5 h 5"/>
                <a:gd name="T12" fmla="*/ 2 w 66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5">
                  <a:moveTo>
                    <a:pt x="2" y="5"/>
                  </a:move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6" y="1"/>
                    <a:pt x="66" y="3"/>
                  </a:cubicBezTo>
                  <a:cubicBezTo>
                    <a:pt x="66" y="4"/>
                    <a:pt x="65" y="5"/>
                    <a:pt x="64" y="5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4" name="Freeform 1410">
              <a:extLst>
                <a:ext uri="{FF2B5EF4-FFF2-40B4-BE49-F238E27FC236}">
                  <a16:creationId xmlns:a16="http://schemas.microsoft.com/office/drawing/2014/main" id="{EB7C09F9-E403-48E9-865E-B6A8A1F614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1742" y="3380313"/>
              <a:ext cx="126459" cy="127723"/>
            </a:xfrm>
            <a:custGeom>
              <a:avLst/>
              <a:gdLst>
                <a:gd name="T0" fmla="*/ 35 w 70"/>
                <a:gd name="T1" fmla="*/ 0 h 70"/>
                <a:gd name="T2" fmla="*/ 60 w 70"/>
                <a:gd name="T3" fmla="*/ 10 h 70"/>
                <a:gd name="T4" fmla="*/ 70 w 70"/>
                <a:gd name="T5" fmla="*/ 35 h 70"/>
                <a:gd name="T6" fmla="*/ 60 w 70"/>
                <a:gd name="T7" fmla="*/ 59 h 70"/>
                <a:gd name="T8" fmla="*/ 35 w 70"/>
                <a:gd name="T9" fmla="*/ 70 h 70"/>
                <a:gd name="T10" fmla="*/ 35 w 70"/>
                <a:gd name="T11" fmla="*/ 65 h 70"/>
                <a:gd name="T12" fmla="*/ 56 w 70"/>
                <a:gd name="T13" fmla="*/ 56 h 70"/>
                <a:gd name="T14" fmla="*/ 65 w 70"/>
                <a:gd name="T15" fmla="*/ 35 h 70"/>
                <a:gd name="T16" fmla="*/ 56 w 70"/>
                <a:gd name="T17" fmla="*/ 13 h 70"/>
                <a:gd name="T18" fmla="*/ 35 w 70"/>
                <a:gd name="T19" fmla="*/ 5 h 70"/>
                <a:gd name="T20" fmla="*/ 35 w 70"/>
                <a:gd name="T21" fmla="*/ 0 h 70"/>
                <a:gd name="T22" fmla="*/ 35 w 70"/>
                <a:gd name="T23" fmla="*/ 70 h 70"/>
                <a:gd name="T24" fmla="*/ 10 w 70"/>
                <a:gd name="T25" fmla="*/ 59 h 70"/>
                <a:gd name="T26" fmla="*/ 0 w 70"/>
                <a:gd name="T27" fmla="*/ 35 h 70"/>
                <a:gd name="T28" fmla="*/ 10 w 70"/>
                <a:gd name="T29" fmla="*/ 10 h 70"/>
                <a:gd name="T30" fmla="*/ 35 w 70"/>
                <a:gd name="T31" fmla="*/ 0 h 70"/>
                <a:gd name="T32" fmla="*/ 35 w 70"/>
                <a:gd name="T33" fmla="*/ 5 h 70"/>
                <a:gd name="T34" fmla="*/ 14 w 70"/>
                <a:gd name="T35" fmla="*/ 13 h 70"/>
                <a:gd name="T36" fmla="*/ 5 w 70"/>
                <a:gd name="T37" fmla="*/ 35 h 70"/>
                <a:gd name="T38" fmla="*/ 14 w 70"/>
                <a:gd name="T39" fmla="*/ 56 h 70"/>
                <a:gd name="T40" fmla="*/ 35 w 70"/>
                <a:gd name="T41" fmla="*/ 65 h 70"/>
                <a:gd name="T42" fmla="*/ 35 w 70"/>
                <a:gd name="T4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" h="70">
                  <a:moveTo>
                    <a:pt x="35" y="0"/>
                  </a:moveTo>
                  <a:cubicBezTo>
                    <a:pt x="45" y="0"/>
                    <a:pt x="53" y="4"/>
                    <a:pt x="60" y="10"/>
                  </a:cubicBezTo>
                  <a:cubicBezTo>
                    <a:pt x="66" y="16"/>
                    <a:pt x="70" y="25"/>
                    <a:pt x="70" y="35"/>
                  </a:cubicBezTo>
                  <a:cubicBezTo>
                    <a:pt x="70" y="44"/>
                    <a:pt x="66" y="53"/>
                    <a:pt x="60" y="59"/>
                  </a:cubicBezTo>
                  <a:cubicBezTo>
                    <a:pt x="53" y="66"/>
                    <a:pt x="45" y="70"/>
                    <a:pt x="35" y="70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43" y="65"/>
                    <a:pt x="51" y="61"/>
                    <a:pt x="56" y="56"/>
                  </a:cubicBezTo>
                  <a:cubicBezTo>
                    <a:pt x="62" y="51"/>
                    <a:pt x="65" y="43"/>
                    <a:pt x="65" y="35"/>
                  </a:cubicBezTo>
                  <a:cubicBezTo>
                    <a:pt x="65" y="26"/>
                    <a:pt x="62" y="19"/>
                    <a:pt x="56" y="13"/>
                  </a:cubicBezTo>
                  <a:cubicBezTo>
                    <a:pt x="51" y="8"/>
                    <a:pt x="43" y="5"/>
                    <a:pt x="35" y="5"/>
                  </a:cubicBezTo>
                  <a:lnTo>
                    <a:pt x="35" y="0"/>
                  </a:lnTo>
                  <a:close/>
                  <a:moveTo>
                    <a:pt x="35" y="70"/>
                  </a:moveTo>
                  <a:cubicBezTo>
                    <a:pt x="25" y="70"/>
                    <a:pt x="17" y="66"/>
                    <a:pt x="10" y="59"/>
                  </a:cubicBezTo>
                  <a:cubicBezTo>
                    <a:pt x="4" y="53"/>
                    <a:pt x="0" y="44"/>
                    <a:pt x="0" y="35"/>
                  </a:cubicBezTo>
                  <a:cubicBezTo>
                    <a:pt x="0" y="25"/>
                    <a:pt x="4" y="16"/>
                    <a:pt x="10" y="10"/>
                  </a:cubicBezTo>
                  <a:cubicBezTo>
                    <a:pt x="17" y="4"/>
                    <a:pt x="25" y="0"/>
                    <a:pt x="35" y="0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27" y="5"/>
                    <a:pt x="19" y="8"/>
                    <a:pt x="14" y="13"/>
                  </a:cubicBezTo>
                  <a:cubicBezTo>
                    <a:pt x="8" y="19"/>
                    <a:pt x="5" y="26"/>
                    <a:pt x="5" y="35"/>
                  </a:cubicBezTo>
                  <a:cubicBezTo>
                    <a:pt x="5" y="43"/>
                    <a:pt x="8" y="51"/>
                    <a:pt x="14" y="56"/>
                  </a:cubicBezTo>
                  <a:cubicBezTo>
                    <a:pt x="19" y="61"/>
                    <a:pt x="27" y="65"/>
                    <a:pt x="35" y="65"/>
                  </a:cubicBezTo>
                  <a:lnTo>
                    <a:pt x="35" y="7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5" name="Freeform 1411">
              <a:extLst>
                <a:ext uri="{FF2B5EF4-FFF2-40B4-BE49-F238E27FC236}">
                  <a16:creationId xmlns:a16="http://schemas.microsoft.com/office/drawing/2014/main" id="{8A5041CF-1E26-460C-898C-045195AAB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2" y="3525740"/>
              <a:ext cx="65758" cy="11381"/>
            </a:xfrm>
            <a:custGeom>
              <a:avLst/>
              <a:gdLst>
                <a:gd name="T0" fmla="*/ 4 w 36"/>
                <a:gd name="T1" fmla="*/ 6 h 6"/>
                <a:gd name="T2" fmla="*/ 0 w 36"/>
                <a:gd name="T3" fmla="*/ 3 h 6"/>
                <a:gd name="T4" fmla="*/ 4 w 36"/>
                <a:gd name="T5" fmla="*/ 0 h 6"/>
                <a:gd name="T6" fmla="*/ 32 w 36"/>
                <a:gd name="T7" fmla="*/ 0 h 6"/>
                <a:gd name="T8" fmla="*/ 36 w 36"/>
                <a:gd name="T9" fmla="*/ 3 h 6"/>
                <a:gd name="T10" fmla="*/ 32 w 36"/>
                <a:gd name="T11" fmla="*/ 6 h 6"/>
                <a:gd name="T12" fmla="*/ 4 w 3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4" y="6"/>
                  </a:move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6" y="1"/>
                    <a:pt x="36" y="3"/>
                  </a:cubicBezTo>
                  <a:cubicBezTo>
                    <a:pt x="36" y="5"/>
                    <a:pt x="34" y="6"/>
                    <a:pt x="32" y="6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6" name="Freeform 1412">
              <a:extLst>
                <a:ext uri="{FF2B5EF4-FFF2-40B4-BE49-F238E27FC236}">
                  <a16:creationId xmlns:a16="http://schemas.microsoft.com/office/drawing/2014/main" id="{559A4E87-A448-450A-8900-7DDA5FA26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3007" y="3542180"/>
              <a:ext cx="122665" cy="12646"/>
            </a:xfrm>
            <a:custGeom>
              <a:avLst/>
              <a:gdLst>
                <a:gd name="T0" fmla="*/ 3 w 68"/>
                <a:gd name="T1" fmla="*/ 7 h 7"/>
                <a:gd name="T2" fmla="*/ 0 w 68"/>
                <a:gd name="T3" fmla="*/ 4 h 7"/>
                <a:gd name="T4" fmla="*/ 3 w 68"/>
                <a:gd name="T5" fmla="*/ 0 h 7"/>
                <a:gd name="T6" fmla="*/ 65 w 68"/>
                <a:gd name="T7" fmla="*/ 0 h 7"/>
                <a:gd name="T8" fmla="*/ 68 w 68"/>
                <a:gd name="T9" fmla="*/ 4 h 7"/>
                <a:gd name="T10" fmla="*/ 65 w 68"/>
                <a:gd name="T11" fmla="*/ 7 h 7"/>
                <a:gd name="T12" fmla="*/ 3 w 6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7">
                  <a:moveTo>
                    <a:pt x="3" y="7"/>
                  </a:moveTo>
                  <a:cubicBezTo>
                    <a:pt x="2" y="7"/>
                    <a:pt x="0" y="5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8" y="2"/>
                    <a:pt x="68" y="4"/>
                  </a:cubicBezTo>
                  <a:cubicBezTo>
                    <a:pt x="68" y="5"/>
                    <a:pt x="66" y="7"/>
                    <a:pt x="65" y="7"/>
                  </a:cubicBezTo>
                  <a:lnTo>
                    <a:pt x="3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7" name="Agrupar 1646">
            <a:extLst>
              <a:ext uri="{FF2B5EF4-FFF2-40B4-BE49-F238E27FC236}">
                <a16:creationId xmlns:a16="http://schemas.microsoft.com/office/drawing/2014/main" id="{D5604C4C-D689-44CE-922B-C0F9F7EE4029}"/>
              </a:ext>
            </a:extLst>
          </p:cNvPr>
          <p:cNvGrpSpPr/>
          <p:nvPr/>
        </p:nvGrpSpPr>
        <p:grpSpPr>
          <a:xfrm>
            <a:off x="7173703" y="1822344"/>
            <a:ext cx="292120" cy="290855"/>
            <a:chOff x="7173703" y="1822344"/>
            <a:chExt cx="292120" cy="290855"/>
          </a:xfrm>
        </p:grpSpPr>
        <p:sp>
          <p:nvSpPr>
            <p:cNvPr id="1217" name="Freeform 1413">
              <a:extLst>
                <a:ext uri="{FF2B5EF4-FFF2-40B4-BE49-F238E27FC236}">
                  <a16:creationId xmlns:a16="http://schemas.microsoft.com/office/drawing/2014/main" id="{AD575B69-E3BD-493F-9D42-FD9B6D14C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6252" y="1855223"/>
              <a:ext cx="179571" cy="175777"/>
            </a:xfrm>
            <a:custGeom>
              <a:avLst/>
              <a:gdLst>
                <a:gd name="T0" fmla="*/ 7 w 99"/>
                <a:gd name="T1" fmla="*/ 0 h 97"/>
                <a:gd name="T2" fmla="*/ 84 w 99"/>
                <a:gd name="T3" fmla="*/ 0 h 97"/>
                <a:gd name="T4" fmla="*/ 87 w 99"/>
                <a:gd name="T5" fmla="*/ 4 h 97"/>
                <a:gd name="T6" fmla="*/ 97 w 99"/>
                <a:gd name="T7" fmla="*/ 82 h 97"/>
                <a:gd name="T8" fmla="*/ 98 w 99"/>
                <a:gd name="T9" fmla="*/ 87 h 97"/>
                <a:gd name="T10" fmla="*/ 98 w 99"/>
                <a:gd name="T11" fmla="*/ 95 h 97"/>
                <a:gd name="T12" fmla="*/ 86 w 99"/>
                <a:gd name="T13" fmla="*/ 97 h 97"/>
                <a:gd name="T14" fmla="*/ 86 w 99"/>
                <a:gd name="T15" fmla="*/ 97 h 97"/>
                <a:gd name="T16" fmla="*/ 86 w 99"/>
                <a:gd name="T17" fmla="*/ 97 h 97"/>
                <a:gd name="T18" fmla="*/ 55 w 99"/>
                <a:gd name="T19" fmla="*/ 97 h 97"/>
                <a:gd name="T20" fmla="*/ 55 w 99"/>
                <a:gd name="T21" fmla="*/ 91 h 97"/>
                <a:gd name="T22" fmla="*/ 86 w 99"/>
                <a:gd name="T23" fmla="*/ 91 h 97"/>
                <a:gd name="T24" fmla="*/ 86 w 99"/>
                <a:gd name="T25" fmla="*/ 91 h 97"/>
                <a:gd name="T26" fmla="*/ 86 w 99"/>
                <a:gd name="T27" fmla="*/ 91 h 97"/>
                <a:gd name="T28" fmla="*/ 92 w 99"/>
                <a:gd name="T29" fmla="*/ 91 h 97"/>
                <a:gd name="T30" fmla="*/ 92 w 99"/>
                <a:gd name="T31" fmla="*/ 88 h 97"/>
                <a:gd name="T32" fmla="*/ 91 w 99"/>
                <a:gd name="T33" fmla="*/ 83 h 97"/>
                <a:gd name="T34" fmla="*/ 81 w 99"/>
                <a:gd name="T35" fmla="*/ 7 h 97"/>
                <a:gd name="T36" fmla="*/ 10 w 99"/>
                <a:gd name="T37" fmla="*/ 7 h 97"/>
                <a:gd name="T38" fmla="*/ 7 w 99"/>
                <a:gd name="T39" fmla="*/ 33 h 97"/>
                <a:gd name="T40" fmla="*/ 0 w 99"/>
                <a:gd name="T41" fmla="*/ 37 h 97"/>
                <a:gd name="T42" fmla="*/ 4 w 99"/>
                <a:gd name="T43" fmla="*/ 3 h 97"/>
                <a:gd name="T44" fmla="*/ 7 w 99"/>
                <a:gd name="T4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97">
                  <a:moveTo>
                    <a:pt x="7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6" y="0"/>
                    <a:pt x="87" y="2"/>
                    <a:pt x="87" y="4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8" y="84"/>
                    <a:pt x="98" y="85"/>
                    <a:pt x="98" y="87"/>
                  </a:cubicBezTo>
                  <a:cubicBezTo>
                    <a:pt x="99" y="90"/>
                    <a:pt x="99" y="93"/>
                    <a:pt x="98" y="95"/>
                  </a:cubicBezTo>
                  <a:cubicBezTo>
                    <a:pt x="96" y="97"/>
                    <a:pt x="93" y="97"/>
                    <a:pt x="86" y="9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86" y="91"/>
                    <a:pt x="86" y="91"/>
                    <a:pt x="86" y="91"/>
                  </a:cubicBezTo>
                  <a:cubicBezTo>
                    <a:pt x="86" y="91"/>
                    <a:pt x="86" y="91"/>
                    <a:pt x="86" y="91"/>
                  </a:cubicBezTo>
                  <a:cubicBezTo>
                    <a:pt x="86" y="91"/>
                    <a:pt x="86" y="91"/>
                    <a:pt x="86" y="91"/>
                  </a:cubicBezTo>
                  <a:cubicBezTo>
                    <a:pt x="91" y="91"/>
                    <a:pt x="92" y="91"/>
                    <a:pt x="92" y="91"/>
                  </a:cubicBezTo>
                  <a:cubicBezTo>
                    <a:pt x="92" y="91"/>
                    <a:pt x="92" y="90"/>
                    <a:pt x="92" y="88"/>
                  </a:cubicBezTo>
                  <a:cubicBezTo>
                    <a:pt x="91" y="86"/>
                    <a:pt x="91" y="85"/>
                    <a:pt x="91" y="83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4" y="34"/>
                    <a:pt x="2" y="35"/>
                    <a:pt x="0" y="3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6" y="0"/>
                    <a:pt x="7" y="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18" name="Freeform 1415">
              <a:extLst>
                <a:ext uri="{FF2B5EF4-FFF2-40B4-BE49-F238E27FC236}">
                  <a16:creationId xmlns:a16="http://schemas.microsoft.com/office/drawing/2014/main" id="{D933AED9-A02C-45EF-83D9-B392BCF44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4189" y="1822344"/>
              <a:ext cx="88521" cy="73346"/>
            </a:xfrm>
            <a:custGeom>
              <a:avLst/>
              <a:gdLst>
                <a:gd name="T0" fmla="*/ 6 w 49"/>
                <a:gd name="T1" fmla="*/ 36 h 40"/>
                <a:gd name="T2" fmla="*/ 3 w 49"/>
                <a:gd name="T3" fmla="*/ 40 h 40"/>
                <a:gd name="T4" fmla="*/ 0 w 49"/>
                <a:gd name="T5" fmla="*/ 36 h 40"/>
                <a:gd name="T6" fmla="*/ 0 w 49"/>
                <a:gd name="T7" fmla="*/ 18 h 40"/>
                <a:gd name="T8" fmla="*/ 5 w 49"/>
                <a:gd name="T9" fmla="*/ 5 h 40"/>
                <a:gd name="T10" fmla="*/ 18 w 49"/>
                <a:gd name="T11" fmla="*/ 0 h 40"/>
                <a:gd name="T12" fmla="*/ 25 w 49"/>
                <a:gd name="T13" fmla="*/ 0 h 40"/>
                <a:gd name="T14" fmla="*/ 31 w 49"/>
                <a:gd name="T15" fmla="*/ 0 h 40"/>
                <a:gd name="T16" fmla="*/ 44 w 49"/>
                <a:gd name="T17" fmla="*/ 5 h 40"/>
                <a:gd name="T18" fmla="*/ 49 w 49"/>
                <a:gd name="T19" fmla="*/ 18 h 40"/>
                <a:gd name="T20" fmla="*/ 49 w 49"/>
                <a:gd name="T21" fmla="*/ 36 h 40"/>
                <a:gd name="T22" fmla="*/ 46 w 49"/>
                <a:gd name="T23" fmla="*/ 40 h 40"/>
                <a:gd name="T24" fmla="*/ 43 w 49"/>
                <a:gd name="T25" fmla="*/ 36 h 40"/>
                <a:gd name="T26" fmla="*/ 43 w 49"/>
                <a:gd name="T27" fmla="*/ 18 h 40"/>
                <a:gd name="T28" fmla="*/ 40 w 49"/>
                <a:gd name="T29" fmla="*/ 10 h 40"/>
                <a:gd name="T30" fmla="*/ 30 w 49"/>
                <a:gd name="T31" fmla="*/ 6 h 40"/>
                <a:gd name="T32" fmla="*/ 25 w 49"/>
                <a:gd name="T33" fmla="*/ 6 h 40"/>
                <a:gd name="T34" fmla="*/ 19 w 49"/>
                <a:gd name="T35" fmla="*/ 6 h 40"/>
                <a:gd name="T36" fmla="*/ 9 w 49"/>
                <a:gd name="T37" fmla="*/ 10 h 40"/>
                <a:gd name="T38" fmla="*/ 6 w 49"/>
                <a:gd name="T39" fmla="*/ 18 h 40"/>
                <a:gd name="T40" fmla="*/ 6 w 49"/>
                <a:gd name="T41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40">
                  <a:moveTo>
                    <a:pt x="6" y="36"/>
                  </a:moveTo>
                  <a:cubicBezTo>
                    <a:pt x="6" y="38"/>
                    <a:pt x="5" y="40"/>
                    <a:pt x="3" y="40"/>
                  </a:cubicBezTo>
                  <a:cubicBezTo>
                    <a:pt x="1" y="40"/>
                    <a:pt x="0" y="38"/>
                    <a:pt x="0" y="3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9" y="2"/>
                    <a:pt x="13" y="0"/>
                    <a:pt x="18" y="0"/>
                  </a:cubicBezTo>
                  <a:cubicBezTo>
                    <a:pt x="19" y="0"/>
                    <a:pt x="22" y="0"/>
                    <a:pt x="25" y="0"/>
                  </a:cubicBezTo>
                  <a:cubicBezTo>
                    <a:pt x="28" y="0"/>
                    <a:pt x="30" y="0"/>
                    <a:pt x="31" y="0"/>
                  </a:cubicBezTo>
                  <a:cubicBezTo>
                    <a:pt x="36" y="0"/>
                    <a:pt x="41" y="2"/>
                    <a:pt x="44" y="5"/>
                  </a:cubicBezTo>
                  <a:cubicBezTo>
                    <a:pt x="47" y="8"/>
                    <a:pt x="49" y="13"/>
                    <a:pt x="49" y="18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8"/>
                    <a:pt x="48" y="40"/>
                    <a:pt x="46" y="40"/>
                  </a:cubicBezTo>
                  <a:cubicBezTo>
                    <a:pt x="44" y="40"/>
                    <a:pt x="43" y="38"/>
                    <a:pt x="43" y="36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3" y="14"/>
                    <a:pt x="42" y="12"/>
                    <a:pt x="40" y="10"/>
                  </a:cubicBezTo>
                  <a:cubicBezTo>
                    <a:pt x="37" y="8"/>
                    <a:pt x="34" y="7"/>
                    <a:pt x="30" y="6"/>
                  </a:cubicBezTo>
                  <a:cubicBezTo>
                    <a:pt x="30" y="6"/>
                    <a:pt x="27" y="6"/>
                    <a:pt x="25" y="6"/>
                  </a:cubicBezTo>
                  <a:cubicBezTo>
                    <a:pt x="22" y="6"/>
                    <a:pt x="20" y="6"/>
                    <a:pt x="19" y="6"/>
                  </a:cubicBezTo>
                  <a:cubicBezTo>
                    <a:pt x="15" y="7"/>
                    <a:pt x="12" y="8"/>
                    <a:pt x="9" y="10"/>
                  </a:cubicBezTo>
                  <a:cubicBezTo>
                    <a:pt x="8" y="12"/>
                    <a:pt x="6" y="14"/>
                    <a:pt x="6" y="18"/>
                  </a:cubicBezTo>
                  <a:lnTo>
                    <a:pt x="6" y="3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19" name="Freeform 1416">
              <a:extLst>
                <a:ext uri="{FF2B5EF4-FFF2-40B4-BE49-F238E27FC236}">
                  <a16:creationId xmlns:a16="http://schemas.microsoft.com/office/drawing/2014/main" id="{8C6C2C0C-7750-466A-A899-D6D3A9A659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3703" y="1947538"/>
              <a:ext cx="220038" cy="56906"/>
            </a:xfrm>
            <a:custGeom>
              <a:avLst/>
              <a:gdLst>
                <a:gd name="T0" fmla="*/ 61 w 121"/>
                <a:gd name="T1" fmla="*/ 0 h 31"/>
                <a:gd name="T2" fmla="*/ 118 w 121"/>
                <a:gd name="T3" fmla="*/ 0 h 31"/>
                <a:gd name="T4" fmla="*/ 121 w 121"/>
                <a:gd name="T5" fmla="*/ 4 h 31"/>
                <a:gd name="T6" fmla="*/ 121 w 121"/>
                <a:gd name="T7" fmla="*/ 28 h 31"/>
                <a:gd name="T8" fmla="*/ 118 w 121"/>
                <a:gd name="T9" fmla="*/ 31 h 31"/>
                <a:gd name="T10" fmla="*/ 61 w 121"/>
                <a:gd name="T11" fmla="*/ 31 h 31"/>
                <a:gd name="T12" fmla="*/ 61 w 121"/>
                <a:gd name="T13" fmla="*/ 25 h 31"/>
                <a:gd name="T14" fmla="*/ 115 w 121"/>
                <a:gd name="T15" fmla="*/ 25 h 31"/>
                <a:gd name="T16" fmla="*/ 115 w 121"/>
                <a:gd name="T17" fmla="*/ 7 h 31"/>
                <a:gd name="T18" fmla="*/ 61 w 121"/>
                <a:gd name="T19" fmla="*/ 7 h 31"/>
                <a:gd name="T20" fmla="*/ 61 w 121"/>
                <a:gd name="T21" fmla="*/ 0 h 31"/>
                <a:gd name="T22" fmla="*/ 4 w 121"/>
                <a:gd name="T23" fmla="*/ 0 h 31"/>
                <a:gd name="T24" fmla="*/ 61 w 121"/>
                <a:gd name="T25" fmla="*/ 0 h 31"/>
                <a:gd name="T26" fmla="*/ 61 w 121"/>
                <a:gd name="T27" fmla="*/ 7 h 31"/>
                <a:gd name="T28" fmla="*/ 7 w 121"/>
                <a:gd name="T29" fmla="*/ 7 h 31"/>
                <a:gd name="T30" fmla="*/ 7 w 121"/>
                <a:gd name="T31" fmla="*/ 25 h 31"/>
                <a:gd name="T32" fmla="*/ 61 w 121"/>
                <a:gd name="T33" fmla="*/ 25 h 31"/>
                <a:gd name="T34" fmla="*/ 61 w 121"/>
                <a:gd name="T35" fmla="*/ 31 h 31"/>
                <a:gd name="T36" fmla="*/ 4 w 121"/>
                <a:gd name="T37" fmla="*/ 31 h 31"/>
                <a:gd name="T38" fmla="*/ 0 w 121"/>
                <a:gd name="T39" fmla="*/ 28 h 31"/>
                <a:gd name="T40" fmla="*/ 0 w 121"/>
                <a:gd name="T41" fmla="*/ 4 h 31"/>
                <a:gd name="T42" fmla="*/ 4 w 121"/>
                <a:gd name="T4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1" h="31">
                  <a:moveTo>
                    <a:pt x="61" y="0"/>
                  </a:moveTo>
                  <a:cubicBezTo>
                    <a:pt x="118" y="0"/>
                    <a:pt x="118" y="0"/>
                    <a:pt x="118" y="0"/>
                  </a:cubicBezTo>
                  <a:cubicBezTo>
                    <a:pt x="120" y="0"/>
                    <a:pt x="121" y="2"/>
                    <a:pt x="121" y="4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30"/>
                    <a:pt x="120" y="31"/>
                    <a:pt x="118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5" y="7"/>
                    <a:pt x="115" y="7"/>
                    <a:pt x="115" y="7"/>
                  </a:cubicBezTo>
                  <a:cubicBezTo>
                    <a:pt x="61" y="7"/>
                    <a:pt x="61" y="7"/>
                    <a:pt x="61" y="7"/>
                  </a:cubicBezTo>
                  <a:lnTo>
                    <a:pt x="61" y="0"/>
                  </a:lnTo>
                  <a:close/>
                  <a:moveTo>
                    <a:pt x="4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2" y="31"/>
                    <a:pt x="0" y="30"/>
                    <a:pt x="0" y="2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0" name="Freeform 1417">
              <a:extLst>
                <a:ext uri="{FF2B5EF4-FFF2-40B4-BE49-F238E27FC236}">
                  <a16:creationId xmlns:a16="http://schemas.microsoft.com/office/drawing/2014/main" id="{7E6E3EC8-F856-44B1-8858-123ED672D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8878" y="1993063"/>
              <a:ext cx="192217" cy="120136"/>
            </a:xfrm>
            <a:custGeom>
              <a:avLst/>
              <a:gdLst>
                <a:gd name="T0" fmla="*/ 99 w 106"/>
                <a:gd name="T1" fmla="*/ 3 h 66"/>
                <a:gd name="T2" fmla="*/ 103 w 106"/>
                <a:gd name="T3" fmla="*/ 0 h 66"/>
                <a:gd name="T4" fmla="*/ 106 w 106"/>
                <a:gd name="T5" fmla="*/ 3 h 66"/>
                <a:gd name="T6" fmla="*/ 106 w 106"/>
                <a:gd name="T7" fmla="*/ 63 h 66"/>
                <a:gd name="T8" fmla="*/ 103 w 106"/>
                <a:gd name="T9" fmla="*/ 66 h 66"/>
                <a:gd name="T10" fmla="*/ 3 w 106"/>
                <a:gd name="T11" fmla="*/ 66 h 66"/>
                <a:gd name="T12" fmla="*/ 0 w 106"/>
                <a:gd name="T13" fmla="*/ 63 h 66"/>
                <a:gd name="T14" fmla="*/ 0 w 106"/>
                <a:gd name="T15" fmla="*/ 3 h 66"/>
                <a:gd name="T16" fmla="*/ 3 w 106"/>
                <a:gd name="T17" fmla="*/ 0 h 66"/>
                <a:gd name="T18" fmla="*/ 6 w 106"/>
                <a:gd name="T19" fmla="*/ 3 h 66"/>
                <a:gd name="T20" fmla="*/ 6 w 106"/>
                <a:gd name="T21" fmla="*/ 60 h 66"/>
                <a:gd name="T22" fmla="*/ 99 w 106"/>
                <a:gd name="T23" fmla="*/ 60 h 66"/>
                <a:gd name="T24" fmla="*/ 99 w 106"/>
                <a:gd name="T25" fmla="*/ 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66">
                  <a:moveTo>
                    <a:pt x="99" y="3"/>
                  </a:moveTo>
                  <a:cubicBezTo>
                    <a:pt x="99" y="1"/>
                    <a:pt x="101" y="0"/>
                    <a:pt x="103" y="0"/>
                  </a:cubicBezTo>
                  <a:cubicBezTo>
                    <a:pt x="105" y="0"/>
                    <a:pt x="106" y="1"/>
                    <a:pt x="106" y="3"/>
                  </a:cubicBezTo>
                  <a:cubicBezTo>
                    <a:pt x="106" y="63"/>
                    <a:pt x="106" y="63"/>
                    <a:pt x="106" y="63"/>
                  </a:cubicBezTo>
                  <a:cubicBezTo>
                    <a:pt x="106" y="65"/>
                    <a:pt x="105" y="66"/>
                    <a:pt x="10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1" y="66"/>
                    <a:pt x="0" y="65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99" y="60"/>
                    <a:pt x="99" y="60"/>
                    <a:pt x="99" y="60"/>
                  </a:cubicBezTo>
                  <a:lnTo>
                    <a:pt x="99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1" name="Freeform 1418">
              <a:extLst>
                <a:ext uri="{FF2B5EF4-FFF2-40B4-BE49-F238E27FC236}">
                  <a16:creationId xmlns:a16="http://schemas.microsoft.com/office/drawing/2014/main" id="{C621E619-75FB-46B6-BDED-949D0E653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664" y="1951332"/>
              <a:ext cx="11381" cy="159338"/>
            </a:xfrm>
            <a:custGeom>
              <a:avLst/>
              <a:gdLst>
                <a:gd name="T0" fmla="*/ 0 w 6"/>
                <a:gd name="T1" fmla="*/ 3 h 88"/>
                <a:gd name="T2" fmla="*/ 3 w 6"/>
                <a:gd name="T3" fmla="*/ 0 h 88"/>
                <a:gd name="T4" fmla="*/ 6 w 6"/>
                <a:gd name="T5" fmla="*/ 3 h 88"/>
                <a:gd name="T6" fmla="*/ 6 w 6"/>
                <a:gd name="T7" fmla="*/ 85 h 88"/>
                <a:gd name="T8" fmla="*/ 3 w 6"/>
                <a:gd name="T9" fmla="*/ 88 h 88"/>
                <a:gd name="T10" fmla="*/ 0 w 6"/>
                <a:gd name="T11" fmla="*/ 85 h 88"/>
                <a:gd name="T12" fmla="*/ 0 w 6"/>
                <a:gd name="T13" fmla="*/ 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8">
                  <a:moveTo>
                    <a:pt x="0" y="3"/>
                  </a:move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7"/>
                    <a:pt x="5" y="88"/>
                    <a:pt x="3" y="88"/>
                  </a:cubicBezTo>
                  <a:cubicBezTo>
                    <a:pt x="1" y="88"/>
                    <a:pt x="0" y="87"/>
                    <a:pt x="0" y="85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2" name="Freeform 1419">
              <a:extLst>
                <a:ext uri="{FF2B5EF4-FFF2-40B4-BE49-F238E27FC236}">
                  <a16:creationId xmlns:a16="http://schemas.microsoft.com/office/drawing/2014/main" id="{BB7CBCDA-6981-48BF-9E83-A1D101A8A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28081" y="1917188"/>
              <a:ext cx="61965" cy="42996"/>
            </a:xfrm>
            <a:custGeom>
              <a:avLst/>
              <a:gdLst>
                <a:gd name="T0" fmla="*/ 31 w 34"/>
                <a:gd name="T1" fmla="*/ 23 h 24"/>
                <a:gd name="T2" fmla="*/ 28 w 34"/>
                <a:gd name="T3" fmla="*/ 23 h 24"/>
                <a:gd name="T4" fmla="*/ 17 w 34"/>
                <a:gd name="T5" fmla="*/ 24 h 24"/>
                <a:gd name="T6" fmla="*/ 17 w 34"/>
                <a:gd name="T7" fmla="*/ 24 h 24"/>
                <a:gd name="T8" fmla="*/ 17 w 34"/>
                <a:gd name="T9" fmla="*/ 17 h 24"/>
                <a:gd name="T10" fmla="*/ 17 w 34"/>
                <a:gd name="T11" fmla="*/ 17 h 24"/>
                <a:gd name="T12" fmla="*/ 27 w 34"/>
                <a:gd name="T13" fmla="*/ 16 h 24"/>
                <a:gd name="T14" fmla="*/ 27 w 34"/>
                <a:gd name="T15" fmla="*/ 16 h 24"/>
                <a:gd name="T16" fmla="*/ 19 w 34"/>
                <a:gd name="T17" fmla="*/ 7 h 24"/>
                <a:gd name="T18" fmla="*/ 17 w 34"/>
                <a:gd name="T19" fmla="*/ 7 h 24"/>
                <a:gd name="T20" fmla="*/ 17 w 34"/>
                <a:gd name="T21" fmla="*/ 0 h 24"/>
                <a:gd name="T22" fmla="*/ 21 w 34"/>
                <a:gd name="T23" fmla="*/ 1 h 24"/>
                <a:gd name="T24" fmla="*/ 34 w 34"/>
                <a:gd name="T25" fmla="*/ 19 h 24"/>
                <a:gd name="T26" fmla="*/ 31 w 34"/>
                <a:gd name="T27" fmla="*/ 23 h 24"/>
                <a:gd name="T28" fmla="*/ 17 w 34"/>
                <a:gd name="T29" fmla="*/ 24 h 24"/>
                <a:gd name="T30" fmla="*/ 0 w 34"/>
                <a:gd name="T31" fmla="*/ 10 h 24"/>
                <a:gd name="T32" fmla="*/ 8 w 34"/>
                <a:gd name="T33" fmla="*/ 1 h 24"/>
                <a:gd name="T34" fmla="*/ 14 w 34"/>
                <a:gd name="T35" fmla="*/ 0 h 24"/>
                <a:gd name="T36" fmla="*/ 17 w 34"/>
                <a:gd name="T37" fmla="*/ 0 h 24"/>
                <a:gd name="T38" fmla="*/ 17 w 34"/>
                <a:gd name="T39" fmla="*/ 7 h 24"/>
                <a:gd name="T40" fmla="*/ 14 w 34"/>
                <a:gd name="T41" fmla="*/ 6 h 24"/>
                <a:gd name="T42" fmla="*/ 10 w 34"/>
                <a:gd name="T43" fmla="*/ 7 h 24"/>
                <a:gd name="T44" fmla="*/ 7 w 34"/>
                <a:gd name="T45" fmla="*/ 10 h 24"/>
                <a:gd name="T46" fmla="*/ 17 w 34"/>
                <a:gd name="T47" fmla="*/ 17 h 24"/>
                <a:gd name="T48" fmla="*/ 17 w 34"/>
                <a:gd name="T4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" h="24">
                  <a:moveTo>
                    <a:pt x="31" y="23"/>
                  </a:moveTo>
                  <a:cubicBezTo>
                    <a:pt x="30" y="23"/>
                    <a:pt x="29" y="23"/>
                    <a:pt x="28" y="23"/>
                  </a:cubicBezTo>
                  <a:cubicBezTo>
                    <a:pt x="25" y="23"/>
                    <a:pt x="21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21" y="17"/>
                    <a:pt x="24" y="17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6" y="12"/>
                    <a:pt x="23" y="9"/>
                    <a:pt x="19" y="7"/>
                  </a:cubicBezTo>
                  <a:cubicBezTo>
                    <a:pt x="18" y="7"/>
                    <a:pt x="18" y="7"/>
                    <a:pt x="17" y="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20" y="1"/>
                    <a:pt x="21" y="1"/>
                  </a:cubicBezTo>
                  <a:cubicBezTo>
                    <a:pt x="28" y="4"/>
                    <a:pt x="34" y="10"/>
                    <a:pt x="34" y="19"/>
                  </a:cubicBezTo>
                  <a:cubicBezTo>
                    <a:pt x="34" y="21"/>
                    <a:pt x="33" y="23"/>
                    <a:pt x="31" y="23"/>
                  </a:cubicBezTo>
                  <a:moveTo>
                    <a:pt x="17" y="24"/>
                  </a:moveTo>
                  <a:cubicBezTo>
                    <a:pt x="9" y="24"/>
                    <a:pt x="0" y="21"/>
                    <a:pt x="0" y="10"/>
                  </a:cubicBezTo>
                  <a:cubicBezTo>
                    <a:pt x="0" y="5"/>
                    <a:pt x="3" y="2"/>
                    <a:pt x="8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5" y="6"/>
                    <a:pt x="14" y="6"/>
                  </a:cubicBezTo>
                  <a:cubicBezTo>
                    <a:pt x="12" y="6"/>
                    <a:pt x="11" y="6"/>
                    <a:pt x="10" y="7"/>
                  </a:cubicBezTo>
                  <a:cubicBezTo>
                    <a:pt x="8" y="7"/>
                    <a:pt x="7" y="9"/>
                    <a:pt x="7" y="10"/>
                  </a:cubicBezTo>
                  <a:cubicBezTo>
                    <a:pt x="7" y="16"/>
                    <a:pt x="12" y="17"/>
                    <a:pt x="17" y="17"/>
                  </a:cubicBezTo>
                  <a:lnTo>
                    <a:pt x="17" y="2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3" name="Freeform 1420">
              <a:extLst>
                <a:ext uri="{FF2B5EF4-FFF2-40B4-BE49-F238E27FC236}">
                  <a16:creationId xmlns:a16="http://schemas.microsoft.com/office/drawing/2014/main" id="{29D96F1B-77AD-433A-9FB5-085E8E48FA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8664" y="1917188"/>
              <a:ext cx="60700" cy="42996"/>
            </a:xfrm>
            <a:custGeom>
              <a:avLst/>
              <a:gdLst>
                <a:gd name="T0" fmla="*/ 17 w 33"/>
                <a:gd name="T1" fmla="*/ 17 h 24"/>
                <a:gd name="T2" fmla="*/ 27 w 33"/>
                <a:gd name="T3" fmla="*/ 10 h 24"/>
                <a:gd name="T4" fmla="*/ 24 w 33"/>
                <a:gd name="T5" fmla="*/ 7 h 24"/>
                <a:gd name="T6" fmla="*/ 20 w 33"/>
                <a:gd name="T7" fmla="*/ 6 h 24"/>
                <a:gd name="T8" fmla="*/ 17 w 33"/>
                <a:gd name="T9" fmla="*/ 7 h 24"/>
                <a:gd name="T10" fmla="*/ 17 w 33"/>
                <a:gd name="T11" fmla="*/ 0 h 24"/>
                <a:gd name="T12" fmla="*/ 19 w 33"/>
                <a:gd name="T13" fmla="*/ 0 h 24"/>
                <a:gd name="T14" fmla="*/ 26 w 33"/>
                <a:gd name="T15" fmla="*/ 1 h 24"/>
                <a:gd name="T16" fmla="*/ 33 w 33"/>
                <a:gd name="T17" fmla="*/ 10 h 24"/>
                <a:gd name="T18" fmla="*/ 17 w 33"/>
                <a:gd name="T19" fmla="*/ 24 h 24"/>
                <a:gd name="T20" fmla="*/ 17 w 33"/>
                <a:gd name="T21" fmla="*/ 17 h 24"/>
                <a:gd name="T22" fmla="*/ 6 w 33"/>
                <a:gd name="T23" fmla="*/ 16 h 24"/>
                <a:gd name="T24" fmla="*/ 7 w 33"/>
                <a:gd name="T25" fmla="*/ 16 h 24"/>
                <a:gd name="T26" fmla="*/ 16 w 33"/>
                <a:gd name="T27" fmla="*/ 17 h 24"/>
                <a:gd name="T28" fmla="*/ 17 w 33"/>
                <a:gd name="T29" fmla="*/ 17 h 24"/>
                <a:gd name="T30" fmla="*/ 17 w 33"/>
                <a:gd name="T31" fmla="*/ 24 h 24"/>
                <a:gd name="T32" fmla="*/ 16 w 33"/>
                <a:gd name="T33" fmla="*/ 24 h 24"/>
                <a:gd name="T34" fmla="*/ 6 w 33"/>
                <a:gd name="T35" fmla="*/ 23 h 24"/>
                <a:gd name="T36" fmla="*/ 3 w 33"/>
                <a:gd name="T37" fmla="*/ 23 h 24"/>
                <a:gd name="T38" fmla="*/ 0 w 33"/>
                <a:gd name="T39" fmla="*/ 19 h 24"/>
                <a:gd name="T40" fmla="*/ 13 w 33"/>
                <a:gd name="T41" fmla="*/ 1 h 24"/>
                <a:gd name="T42" fmla="*/ 17 w 33"/>
                <a:gd name="T43" fmla="*/ 0 h 24"/>
                <a:gd name="T44" fmla="*/ 17 w 33"/>
                <a:gd name="T45" fmla="*/ 7 h 24"/>
                <a:gd name="T46" fmla="*/ 15 w 33"/>
                <a:gd name="T47" fmla="*/ 7 h 24"/>
                <a:gd name="T48" fmla="*/ 6 w 33"/>
                <a:gd name="T49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" h="24">
                  <a:moveTo>
                    <a:pt x="17" y="17"/>
                  </a:moveTo>
                  <a:cubicBezTo>
                    <a:pt x="22" y="17"/>
                    <a:pt x="27" y="16"/>
                    <a:pt x="27" y="10"/>
                  </a:cubicBezTo>
                  <a:cubicBezTo>
                    <a:pt x="27" y="9"/>
                    <a:pt x="26" y="7"/>
                    <a:pt x="24" y="7"/>
                  </a:cubicBezTo>
                  <a:cubicBezTo>
                    <a:pt x="23" y="6"/>
                    <a:pt x="21" y="6"/>
                    <a:pt x="20" y="6"/>
                  </a:cubicBezTo>
                  <a:cubicBezTo>
                    <a:pt x="19" y="6"/>
                    <a:pt x="18" y="7"/>
                    <a:pt x="17" y="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22" y="0"/>
                    <a:pt x="24" y="0"/>
                    <a:pt x="26" y="1"/>
                  </a:cubicBezTo>
                  <a:cubicBezTo>
                    <a:pt x="30" y="2"/>
                    <a:pt x="33" y="5"/>
                    <a:pt x="33" y="10"/>
                  </a:cubicBezTo>
                  <a:cubicBezTo>
                    <a:pt x="33" y="21"/>
                    <a:pt x="25" y="24"/>
                    <a:pt x="17" y="24"/>
                  </a:cubicBezTo>
                  <a:lnTo>
                    <a:pt x="17" y="17"/>
                  </a:lnTo>
                  <a:close/>
                  <a:moveTo>
                    <a:pt x="6" y="16"/>
                  </a:moveTo>
                  <a:cubicBezTo>
                    <a:pt x="7" y="16"/>
                    <a:pt x="7" y="16"/>
                    <a:pt x="7" y="16"/>
                  </a:cubicBezTo>
                  <a:cubicBezTo>
                    <a:pt x="9" y="17"/>
                    <a:pt x="13" y="17"/>
                    <a:pt x="16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24"/>
                    <a:pt x="9" y="23"/>
                    <a:pt x="6" y="23"/>
                  </a:cubicBezTo>
                  <a:cubicBezTo>
                    <a:pt x="4" y="23"/>
                    <a:pt x="3" y="23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cubicBezTo>
                    <a:pt x="0" y="10"/>
                    <a:pt x="6" y="4"/>
                    <a:pt x="13" y="1"/>
                  </a:cubicBezTo>
                  <a:cubicBezTo>
                    <a:pt x="14" y="1"/>
                    <a:pt x="15" y="0"/>
                    <a:pt x="17" y="0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5" y="7"/>
                  </a:cubicBezTo>
                  <a:cubicBezTo>
                    <a:pt x="11" y="9"/>
                    <a:pt x="8" y="12"/>
                    <a:pt x="6" y="1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48" name="Agrupar 1647">
            <a:extLst>
              <a:ext uri="{FF2B5EF4-FFF2-40B4-BE49-F238E27FC236}">
                <a16:creationId xmlns:a16="http://schemas.microsoft.com/office/drawing/2014/main" id="{43F22730-B8EC-49C7-8C38-680E49005DDC}"/>
              </a:ext>
            </a:extLst>
          </p:cNvPr>
          <p:cNvGrpSpPr/>
          <p:nvPr/>
        </p:nvGrpSpPr>
        <p:grpSpPr>
          <a:xfrm>
            <a:off x="4381499" y="2290241"/>
            <a:ext cx="303500" cy="304765"/>
            <a:chOff x="4381499" y="2290241"/>
            <a:chExt cx="303500" cy="304765"/>
          </a:xfrm>
        </p:grpSpPr>
        <p:sp>
          <p:nvSpPr>
            <p:cNvPr id="824" name="Freeform 1421">
              <a:extLst>
                <a:ext uri="{FF2B5EF4-FFF2-40B4-BE49-F238E27FC236}">
                  <a16:creationId xmlns:a16="http://schemas.microsoft.com/office/drawing/2014/main" id="{29587BF8-E0F7-4E90-A248-BF8E0996E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8639" y="2396466"/>
              <a:ext cx="74611" cy="46790"/>
            </a:xfrm>
            <a:custGeom>
              <a:avLst/>
              <a:gdLst>
                <a:gd name="T0" fmla="*/ 11 w 41"/>
                <a:gd name="T1" fmla="*/ 6 h 26"/>
                <a:gd name="T2" fmla="*/ 10 w 41"/>
                <a:gd name="T3" fmla="*/ 2 h 26"/>
                <a:gd name="T4" fmla="*/ 14 w 41"/>
                <a:gd name="T5" fmla="*/ 1 h 26"/>
                <a:gd name="T6" fmla="*/ 39 w 41"/>
                <a:gd name="T7" fmla="*/ 16 h 26"/>
                <a:gd name="T8" fmla="*/ 40 w 41"/>
                <a:gd name="T9" fmla="*/ 19 h 26"/>
                <a:gd name="T10" fmla="*/ 39 w 41"/>
                <a:gd name="T11" fmla="*/ 20 h 26"/>
                <a:gd name="T12" fmla="*/ 31 w 41"/>
                <a:gd name="T13" fmla="*/ 26 h 26"/>
                <a:gd name="T14" fmla="*/ 25 w 41"/>
                <a:gd name="T15" fmla="*/ 26 h 26"/>
                <a:gd name="T16" fmla="*/ 25 w 41"/>
                <a:gd name="T17" fmla="*/ 26 h 26"/>
                <a:gd name="T18" fmla="*/ 25 w 41"/>
                <a:gd name="T19" fmla="*/ 26 h 26"/>
                <a:gd name="T20" fmla="*/ 2 w 41"/>
                <a:gd name="T21" fmla="*/ 17 h 26"/>
                <a:gd name="T22" fmla="*/ 0 w 41"/>
                <a:gd name="T23" fmla="*/ 13 h 26"/>
                <a:gd name="T24" fmla="*/ 4 w 41"/>
                <a:gd name="T25" fmla="*/ 12 h 26"/>
                <a:gd name="T26" fmla="*/ 27 w 41"/>
                <a:gd name="T27" fmla="*/ 21 h 26"/>
                <a:gd name="T28" fmla="*/ 30 w 41"/>
                <a:gd name="T29" fmla="*/ 21 h 26"/>
                <a:gd name="T30" fmla="*/ 33 w 41"/>
                <a:gd name="T31" fmla="*/ 19 h 26"/>
                <a:gd name="T32" fmla="*/ 11 w 41"/>
                <a:gd name="T33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6">
                  <a:moveTo>
                    <a:pt x="11" y="6"/>
                  </a:moveTo>
                  <a:cubicBezTo>
                    <a:pt x="10" y="5"/>
                    <a:pt x="9" y="3"/>
                    <a:pt x="10" y="2"/>
                  </a:cubicBezTo>
                  <a:cubicBezTo>
                    <a:pt x="11" y="1"/>
                    <a:pt x="12" y="0"/>
                    <a:pt x="14" y="1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7"/>
                    <a:pt x="41" y="18"/>
                    <a:pt x="40" y="19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36" y="23"/>
                    <a:pt x="34" y="25"/>
                    <a:pt x="31" y="26"/>
                  </a:cubicBezTo>
                  <a:cubicBezTo>
                    <a:pt x="29" y="26"/>
                    <a:pt x="27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4"/>
                    <a:pt x="0" y="13"/>
                  </a:cubicBezTo>
                  <a:cubicBezTo>
                    <a:pt x="1" y="12"/>
                    <a:pt x="2" y="11"/>
                    <a:pt x="4" y="12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8" y="21"/>
                    <a:pt x="29" y="21"/>
                    <a:pt x="30" y="21"/>
                  </a:cubicBezTo>
                  <a:cubicBezTo>
                    <a:pt x="31" y="20"/>
                    <a:pt x="32" y="20"/>
                    <a:pt x="33" y="19"/>
                  </a:cubicBezTo>
                  <a:lnTo>
                    <a:pt x="11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5" name="Freeform 1422">
              <a:extLst>
                <a:ext uri="{FF2B5EF4-FFF2-40B4-BE49-F238E27FC236}">
                  <a16:creationId xmlns:a16="http://schemas.microsoft.com/office/drawing/2014/main" id="{D40013E2-C132-4FE0-A601-09D62284B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437" y="2331972"/>
              <a:ext cx="48054" cy="74611"/>
            </a:xfrm>
            <a:custGeom>
              <a:avLst/>
              <a:gdLst>
                <a:gd name="T0" fmla="*/ 26 w 27"/>
                <a:gd name="T1" fmla="*/ 26 h 41"/>
                <a:gd name="T2" fmla="*/ 25 w 27"/>
                <a:gd name="T3" fmla="*/ 30 h 41"/>
                <a:gd name="T4" fmla="*/ 21 w 27"/>
                <a:gd name="T5" fmla="*/ 29 h 41"/>
                <a:gd name="T6" fmla="*/ 8 w 27"/>
                <a:gd name="T7" fmla="*/ 8 h 41"/>
                <a:gd name="T8" fmla="*/ 6 w 27"/>
                <a:gd name="T9" fmla="*/ 11 h 41"/>
                <a:gd name="T10" fmla="*/ 6 w 27"/>
                <a:gd name="T11" fmla="*/ 14 h 41"/>
                <a:gd name="T12" fmla="*/ 16 w 27"/>
                <a:gd name="T13" fmla="*/ 37 h 41"/>
                <a:gd name="T14" fmla="*/ 14 w 27"/>
                <a:gd name="T15" fmla="*/ 40 h 41"/>
                <a:gd name="T16" fmla="*/ 11 w 27"/>
                <a:gd name="T17" fmla="*/ 39 h 41"/>
                <a:gd name="T18" fmla="*/ 1 w 27"/>
                <a:gd name="T19" fmla="*/ 16 h 41"/>
                <a:gd name="T20" fmla="*/ 1 w 27"/>
                <a:gd name="T21" fmla="*/ 16 h 41"/>
                <a:gd name="T22" fmla="*/ 1 w 27"/>
                <a:gd name="T23" fmla="*/ 16 h 41"/>
                <a:gd name="T24" fmla="*/ 1 w 27"/>
                <a:gd name="T25" fmla="*/ 10 h 41"/>
                <a:gd name="T26" fmla="*/ 6 w 27"/>
                <a:gd name="T27" fmla="*/ 1 h 41"/>
                <a:gd name="T28" fmla="*/ 6 w 27"/>
                <a:gd name="T29" fmla="*/ 1 h 41"/>
                <a:gd name="T30" fmla="*/ 10 w 27"/>
                <a:gd name="T31" fmla="*/ 2 h 41"/>
                <a:gd name="T32" fmla="*/ 26 w 27"/>
                <a:gd name="T33" fmla="*/ 2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41">
                  <a:moveTo>
                    <a:pt x="26" y="26"/>
                  </a:moveTo>
                  <a:cubicBezTo>
                    <a:pt x="27" y="28"/>
                    <a:pt x="26" y="29"/>
                    <a:pt x="25" y="30"/>
                  </a:cubicBezTo>
                  <a:cubicBezTo>
                    <a:pt x="24" y="31"/>
                    <a:pt x="22" y="30"/>
                    <a:pt x="21" y="2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" y="9"/>
                    <a:pt x="6" y="10"/>
                    <a:pt x="6" y="11"/>
                  </a:cubicBezTo>
                  <a:cubicBezTo>
                    <a:pt x="5" y="12"/>
                    <a:pt x="5" y="13"/>
                    <a:pt x="6" y="14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8"/>
                    <a:pt x="15" y="40"/>
                    <a:pt x="14" y="40"/>
                  </a:cubicBezTo>
                  <a:cubicBezTo>
                    <a:pt x="13" y="41"/>
                    <a:pt x="11" y="40"/>
                    <a:pt x="11" y="39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4"/>
                    <a:pt x="0" y="12"/>
                    <a:pt x="1" y="10"/>
                  </a:cubicBezTo>
                  <a:cubicBezTo>
                    <a:pt x="1" y="7"/>
                    <a:pt x="3" y="5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8" y="0"/>
                    <a:pt x="9" y="0"/>
                    <a:pt x="10" y="2"/>
                  </a:cubicBezTo>
                  <a:lnTo>
                    <a:pt x="26" y="2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6" name="Freeform 1423">
              <a:extLst>
                <a:ext uri="{FF2B5EF4-FFF2-40B4-BE49-F238E27FC236}">
                  <a16:creationId xmlns:a16="http://schemas.microsoft.com/office/drawing/2014/main" id="{FD85DDEE-1966-42B7-87FF-2945992BC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751" y="2339559"/>
              <a:ext cx="41731" cy="29085"/>
            </a:xfrm>
            <a:custGeom>
              <a:avLst/>
              <a:gdLst>
                <a:gd name="T0" fmla="*/ 6 w 23"/>
                <a:gd name="T1" fmla="*/ 5 h 16"/>
                <a:gd name="T2" fmla="*/ 5 w 23"/>
                <a:gd name="T3" fmla="*/ 1 h 16"/>
                <a:gd name="T4" fmla="*/ 9 w 23"/>
                <a:gd name="T5" fmla="*/ 0 h 16"/>
                <a:gd name="T6" fmla="*/ 21 w 23"/>
                <a:gd name="T7" fmla="*/ 8 h 16"/>
                <a:gd name="T8" fmla="*/ 22 w 23"/>
                <a:gd name="T9" fmla="*/ 11 h 16"/>
                <a:gd name="T10" fmla="*/ 22 w 23"/>
                <a:gd name="T11" fmla="*/ 12 h 16"/>
                <a:gd name="T12" fmla="*/ 17 w 23"/>
                <a:gd name="T13" fmla="*/ 15 h 16"/>
                <a:gd name="T14" fmla="*/ 13 w 23"/>
                <a:gd name="T15" fmla="*/ 15 h 16"/>
                <a:gd name="T16" fmla="*/ 13 w 23"/>
                <a:gd name="T17" fmla="*/ 15 h 16"/>
                <a:gd name="T18" fmla="*/ 2 w 23"/>
                <a:gd name="T19" fmla="*/ 11 h 16"/>
                <a:gd name="T20" fmla="*/ 1 w 23"/>
                <a:gd name="T21" fmla="*/ 8 h 16"/>
                <a:gd name="T22" fmla="*/ 4 w 23"/>
                <a:gd name="T23" fmla="*/ 6 h 16"/>
                <a:gd name="T24" fmla="*/ 15 w 23"/>
                <a:gd name="T25" fmla="*/ 10 h 16"/>
                <a:gd name="T26" fmla="*/ 15 w 23"/>
                <a:gd name="T27" fmla="*/ 10 h 16"/>
                <a:gd name="T28" fmla="*/ 6 w 23"/>
                <a:gd name="T2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" h="16">
                  <a:moveTo>
                    <a:pt x="6" y="5"/>
                  </a:moveTo>
                  <a:cubicBezTo>
                    <a:pt x="5" y="4"/>
                    <a:pt x="4" y="3"/>
                    <a:pt x="5" y="1"/>
                  </a:cubicBezTo>
                  <a:cubicBezTo>
                    <a:pt x="6" y="0"/>
                    <a:pt x="8" y="0"/>
                    <a:pt x="9" y="0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3" y="8"/>
                    <a:pt x="23" y="10"/>
                    <a:pt x="22" y="1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0" y="14"/>
                    <a:pt x="18" y="15"/>
                    <a:pt x="17" y="15"/>
                  </a:cubicBezTo>
                  <a:cubicBezTo>
                    <a:pt x="15" y="16"/>
                    <a:pt x="14" y="16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0" y="9"/>
                    <a:pt x="1" y="8"/>
                  </a:cubicBezTo>
                  <a:cubicBezTo>
                    <a:pt x="1" y="6"/>
                    <a:pt x="3" y="6"/>
                    <a:pt x="4" y="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7" name="Freeform 1424">
              <a:extLst>
                <a:ext uri="{FF2B5EF4-FFF2-40B4-BE49-F238E27FC236}">
                  <a16:creationId xmlns:a16="http://schemas.microsoft.com/office/drawing/2014/main" id="{96415E5A-ABBA-4791-AA22-D20FEC783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2783" y="2309209"/>
              <a:ext cx="29085" cy="41731"/>
            </a:xfrm>
            <a:custGeom>
              <a:avLst/>
              <a:gdLst>
                <a:gd name="T0" fmla="*/ 16 w 16"/>
                <a:gd name="T1" fmla="*/ 14 h 23"/>
                <a:gd name="T2" fmla="*/ 15 w 16"/>
                <a:gd name="T3" fmla="*/ 18 h 23"/>
                <a:gd name="T4" fmla="*/ 11 w 16"/>
                <a:gd name="T5" fmla="*/ 17 h 23"/>
                <a:gd name="T6" fmla="*/ 5 w 16"/>
                <a:gd name="T7" fmla="*/ 8 h 23"/>
                <a:gd name="T8" fmla="*/ 6 w 16"/>
                <a:gd name="T9" fmla="*/ 9 h 23"/>
                <a:gd name="T10" fmla="*/ 10 w 16"/>
                <a:gd name="T11" fmla="*/ 19 h 23"/>
                <a:gd name="T12" fmla="*/ 9 w 16"/>
                <a:gd name="T13" fmla="*/ 23 h 23"/>
                <a:gd name="T14" fmla="*/ 5 w 16"/>
                <a:gd name="T15" fmla="*/ 21 h 23"/>
                <a:gd name="T16" fmla="*/ 1 w 16"/>
                <a:gd name="T17" fmla="*/ 11 h 23"/>
                <a:gd name="T18" fmla="*/ 1 w 16"/>
                <a:gd name="T19" fmla="*/ 11 h 23"/>
                <a:gd name="T20" fmla="*/ 0 w 16"/>
                <a:gd name="T21" fmla="*/ 10 h 23"/>
                <a:gd name="T22" fmla="*/ 0 w 16"/>
                <a:gd name="T23" fmla="*/ 6 h 23"/>
                <a:gd name="T24" fmla="*/ 3 w 16"/>
                <a:gd name="T25" fmla="*/ 2 h 23"/>
                <a:gd name="T26" fmla="*/ 4 w 16"/>
                <a:gd name="T27" fmla="*/ 1 h 23"/>
                <a:gd name="T28" fmla="*/ 8 w 16"/>
                <a:gd name="T29" fmla="*/ 2 h 23"/>
                <a:gd name="T30" fmla="*/ 16 w 16"/>
                <a:gd name="T31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23">
                  <a:moveTo>
                    <a:pt x="16" y="14"/>
                  </a:moveTo>
                  <a:cubicBezTo>
                    <a:pt x="16" y="15"/>
                    <a:pt x="16" y="17"/>
                    <a:pt x="15" y="18"/>
                  </a:cubicBezTo>
                  <a:cubicBezTo>
                    <a:pt x="13" y="19"/>
                    <a:pt x="12" y="18"/>
                    <a:pt x="11" y="1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9"/>
                    <a:pt x="6" y="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1" y="20"/>
                    <a:pt x="10" y="22"/>
                    <a:pt x="9" y="23"/>
                  </a:cubicBezTo>
                  <a:cubicBezTo>
                    <a:pt x="7" y="23"/>
                    <a:pt x="6" y="23"/>
                    <a:pt x="5" y="2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9"/>
                    <a:pt x="0" y="8"/>
                    <a:pt x="0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7" y="1"/>
                    <a:pt x="8" y="2"/>
                  </a:cubicBezTo>
                  <a:lnTo>
                    <a:pt x="16" y="1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8" name="Freeform 1425">
              <a:extLst>
                <a:ext uri="{FF2B5EF4-FFF2-40B4-BE49-F238E27FC236}">
                  <a16:creationId xmlns:a16="http://schemas.microsoft.com/office/drawing/2014/main" id="{03A603D7-CE5C-49C4-A4F1-1D46DB20B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0701" y="2330707"/>
              <a:ext cx="111284" cy="112548"/>
            </a:xfrm>
            <a:custGeom>
              <a:avLst/>
              <a:gdLst>
                <a:gd name="T0" fmla="*/ 60 w 61"/>
                <a:gd name="T1" fmla="*/ 2 h 62"/>
                <a:gd name="T2" fmla="*/ 61 w 61"/>
                <a:gd name="T3" fmla="*/ 7 h 62"/>
                <a:gd name="T4" fmla="*/ 59 w 61"/>
                <a:gd name="T5" fmla="*/ 11 h 62"/>
                <a:gd name="T6" fmla="*/ 32 w 61"/>
                <a:gd name="T7" fmla="*/ 45 h 62"/>
                <a:gd name="T8" fmla="*/ 31 w 61"/>
                <a:gd name="T9" fmla="*/ 46 h 62"/>
                <a:gd name="T10" fmla="*/ 31 w 61"/>
                <a:gd name="T11" fmla="*/ 38 h 62"/>
                <a:gd name="T12" fmla="*/ 54 w 61"/>
                <a:gd name="T13" fmla="*/ 7 h 62"/>
                <a:gd name="T14" fmla="*/ 54 w 61"/>
                <a:gd name="T15" fmla="*/ 7 h 62"/>
                <a:gd name="T16" fmla="*/ 55 w 61"/>
                <a:gd name="T17" fmla="*/ 7 h 62"/>
                <a:gd name="T18" fmla="*/ 55 w 61"/>
                <a:gd name="T19" fmla="*/ 6 h 62"/>
                <a:gd name="T20" fmla="*/ 55 w 61"/>
                <a:gd name="T21" fmla="*/ 6 h 62"/>
                <a:gd name="T22" fmla="*/ 55 w 61"/>
                <a:gd name="T23" fmla="*/ 6 h 62"/>
                <a:gd name="T24" fmla="*/ 54 w 61"/>
                <a:gd name="T25" fmla="*/ 7 h 62"/>
                <a:gd name="T26" fmla="*/ 54 w 61"/>
                <a:gd name="T27" fmla="*/ 7 h 62"/>
                <a:gd name="T28" fmla="*/ 31 w 61"/>
                <a:gd name="T29" fmla="*/ 25 h 62"/>
                <a:gd name="T30" fmla="*/ 31 w 61"/>
                <a:gd name="T31" fmla="*/ 18 h 62"/>
                <a:gd name="T32" fmla="*/ 50 w 61"/>
                <a:gd name="T33" fmla="*/ 3 h 62"/>
                <a:gd name="T34" fmla="*/ 54 w 61"/>
                <a:gd name="T35" fmla="*/ 0 h 62"/>
                <a:gd name="T36" fmla="*/ 59 w 61"/>
                <a:gd name="T37" fmla="*/ 1 h 62"/>
                <a:gd name="T38" fmla="*/ 60 w 61"/>
                <a:gd name="T39" fmla="*/ 2 h 62"/>
                <a:gd name="T40" fmla="*/ 31 w 61"/>
                <a:gd name="T41" fmla="*/ 46 h 62"/>
                <a:gd name="T42" fmla="*/ 17 w 61"/>
                <a:gd name="T43" fmla="*/ 58 h 62"/>
                <a:gd name="T44" fmla="*/ 4 w 61"/>
                <a:gd name="T45" fmla="*/ 61 h 62"/>
                <a:gd name="T46" fmla="*/ 2 w 61"/>
                <a:gd name="T47" fmla="*/ 59 h 62"/>
                <a:gd name="T48" fmla="*/ 4 w 61"/>
                <a:gd name="T49" fmla="*/ 45 h 62"/>
                <a:gd name="T50" fmla="*/ 17 w 61"/>
                <a:gd name="T51" fmla="*/ 30 h 62"/>
                <a:gd name="T52" fmla="*/ 31 w 61"/>
                <a:gd name="T53" fmla="*/ 18 h 62"/>
                <a:gd name="T54" fmla="*/ 31 w 61"/>
                <a:gd name="T55" fmla="*/ 25 h 62"/>
                <a:gd name="T56" fmla="*/ 20 w 61"/>
                <a:gd name="T57" fmla="*/ 34 h 62"/>
                <a:gd name="T58" fmla="*/ 9 w 61"/>
                <a:gd name="T59" fmla="*/ 48 h 62"/>
                <a:gd name="T60" fmla="*/ 7 w 61"/>
                <a:gd name="T61" fmla="*/ 56 h 62"/>
                <a:gd name="T62" fmla="*/ 15 w 61"/>
                <a:gd name="T63" fmla="*/ 53 h 62"/>
                <a:gd name="T64" fmla="*/ 28 w 61"/>
                <a:gd name="T65" fmla="*/ 42 h 62"/>
                <a:gd name="T66" fmla="*/ 31 w 61"/>
                <a:gd name="T67" fmla="*/ 38 h 62"/>
                <a:gd name="T68" fmla="*/ 31 w 61"/>
                <a:gd name="T69" fmla="*/ 4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1" h="62">
                  <a:moveTo>
                    <a:pt x="60" y="2"/>
                  </a:moveTo>
                  <a:cubicBezTo>
                    <a:pt x="61" y="4"/>
                    <a:pt x="61" y="5"/>
                    <a:pt x="61" y="7"/>
                  </a:cubicBezTo>
                  <a:cubicBezTo>
                    <a:pt x="60" y="8"/>
                    <a:pt x="60" y="9"/>
                    <a:pt x="59" y="11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2" y="46"/>
                    <a:pt x="31" y="46"/>
                    <a:pt x="31" y="46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5" y="7"/>
                    <a:pt x="55" y="7"/>
                  </a:cubicBezTo>
                  <a:cubicBezTo>
                    <a:pt x="55" y="7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4" y="6"/>
                    <a:pt x="54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1" y="1"/>
                    <a:pt x="53" y="1"/>
                    <a:pt x="54" y="0"/>
                  </a:cubicBezTo>
                  <a:cubicBezTo>
                    <a:pt x="56" y="0"/>
                    <a:pt x="57" y="0"/>
                    <a:pt x="59" y="1"/>
                  </a:cubicBezTo>
                  <a:cubicBezTo>
                    <a:pt x="59" y="1"/>
                    <a:pt x="60" y="2"/>
                    <a:pt x="60" y="2"/>
                  </a:cubicBezTo>
                  <a:moveTo>
                    <a:pt x="31" y="46"/>
                  </a:moveTo>
                  <a:cubicBezTo>
                    <a:pt x="28" y="50"/>
                    <a:pt x="23" y="55"/>
                    <a:pt x="17" y="58"/>
                  </a:cubicBezTo>
                  <a:cubicBezTo>
                    <a:pt x="13" y="61"/>
                    <a:pt x="8" y="62"/>
                    <a:pt x="4" y="61"/>
                  </a:cubicBezTo>
                  <a:cubicBezTo>
                    <a:pt x="3" y="61"/>
                    <a:pt x="2" y="60"/>
                    <a:pt x="2" y="59"/>
                  </a:cubicBezTo>
                  <a:cubicBezTo>
                    <a:pt x="0" y="55"/>
                    <a:pt x="2" y="50"/>
                    <a:pt x="4" y="45"/>
                  </a:cubicBezTo>
                  <a:cubicBezTo>
                    <a:pt x="8" y="39"/>
                    <a:pt x="13" y="33"/>
                    <a:pt x="17" y="30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7" y="37"/>
                    <a:pt x="12" y="42"/>
                    <a:pt x="9" y="48"/>
                  </a:cubicBezTo>
                  <a:cubicBezTo>
                    <a:pt x="8" y="51"/>
                    <a:pt x="7" y="54"/>
                    <a:pt x="7" y="56"/>
                  </a:cubicBezTo>
                  <a:cubicBezTo>
                    <a:pt x="9" y="56"/>
                    <a:pt x="12" y="55"/>
                    <a:pt x="15" y="53"/>
                  </a:cubicBezTo>
                  <a:cubicBezTo>
                    <a:pt x="20" y="50"/>
                    <a:pt x="25" y="45"/>
                    <a:pt x="28" y="42"/>
                  </a:cubicBezTo>
                  <a:cubicBezTo>
                    <a:pt x="31" y="38"/>
                    <a:pt x="31" y="38"/>
                    <a:pt x="31" y="38"/>
                  </a:cubicBezTo>
                  <a:lnTo>
                    <a:pt x="31" y="4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9" name="Freeform 1426">
              <a:extLst>
                <a:ext uri="{FF2B5EF4-FFF2-40B4-BE49-F238E27FC236}">
                  <a16:creationId xmlns:a16="http://schemas.microsoft.com/office/drawing/2014/main" id="{AC9B5E0D-7E55-4B22-8375-33BA5BD8C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514" y="2444520"/>
              <a:ext cx="74611" cy="48054"/>
            </a:xfrm>
            <a:custGeom>
              <a:avLst/>
              <a:gdLst>
                <a:gd name="T0" fmla="*/ 30 w 41"/>
                <a:gd name="T1" fmla="*/ 21 h 26"/>
                <a:gd name="T2" fmla="*/ 31 w 41"/>
                <a:gd name="T3" fmla="*/ 25 h 26"/>
                <a:gd name="T4" fmla="*/ 27 w 41"/>
                <a:gd name="T5" fmla="*/ 26 h 26"/>
                <a:gd name="T6" fmla="*/ 2 w 41"/>
                <a:gd name="T7" fmla="*/ 11 h 26"/>
                <a:gd name="T8" fmla="*/ 1 w 41"/>
                <a:gd name="T9" fmla="*/ 7 h 26"/>
                <a:gd name="T10" fmla="*/ 1 w 41"/>
                <a:gd name="T11" fmla="*/ 6 h 26"/>
                <a:gd name="T12" fmla="*/ 9 w 41"/>
                <a:gd name="T13" fmla="*/ 1 h 26"/>
                <a:gd name="T14" fmla="*/ 15 w 41"/>
                <a:gd name="T15" fmla="*/ 1 h 26"/>
                <a:gd name="T16" fmla="*/ 16 w 41"/>
                <a:gd name="T17" fmla="*/ 1 h 26"/>
                <a:gd name="T18" fmla="*/ 16 w 41"/>
                <a:gd name="T19" fmla="*/ 1 h 26"/>
                <a:gd name="T20" fmla="*/ 39 w 41"/>
                <a:gd name="T21" fmla="*/ 10 h 26"/>
                <a:gd name="T22" fmla="*/ 40 w 41"/>
                <a:gd name="T23" fmla="*/ 13 h 26"/>
                <a:gd name="T24" fmla="*/ 37 w 41"/>
                <a:gd name="T25" fmla="*/ 15 h 26"/>
                <a:gd name="T26" fmla="*/ 14 w 41"/>
                <a:gd name="T27" fmla="*/ 6 h 26"/>
                <a:gd name="T28" fmla="*/ 11 w 41"/>
                <a:gd name="T29" fmla="*/ 6 h 26"/>
                <a:gd name="T30" fmla="*/ 8 w 41"/>
                <a:gd name="T31" fmla="*/ 8 h 26"/>
                <a:gd name="T32" fmla="*/ 30 w 41"/>
                <a:gd name="T33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6">
                  <a:moveTo>
                    <a:pt x="30" y="21"/>
                  </a:moveTo>
                  <a:cubicBezTo>
                    <a:pt x="31" y="22"/>
                    <a:pt x="31" y="23"/>
                    <a:pt x="31" y="25"/>
                  </a:cubicBezTo>
                  <a:cubicBezTo>
                    <a:pt x="30" y="26"/>
                    <a:pt x="28" y="26"/>
                    <a:pt x="27" y="2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10"/>
                    <a:pt x="0" y="8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4" y="3"/>
                    <a:pt x="7" y="1"/>
                    <a:pt x="9" y="1"/>
                  </a:cubicBezTo>
                  <a:cubicBezTo>
                    <a:pt x="12" y="0"/>
                    <a:pt x="14" y="0"/>
                    <a:pt x="15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40" y="10"/>
                    <a:pt x="41" y="12"/>
                    <a:pt x="40" y="13"/>
                  </a:cubicBezTo>
                  <a:cubicBezTo>
                    <a:pt x="40" y="15"/>
                    <a:pt x="38" y="15"/>
                    <a:pt x="37" y="15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2" y="6"/>
                    <a:pt x="11" y="6"/>
                  </a:cubicBezTo>
                  <a:cubicBezTo>
                    <a:pt x="10" y="6"/>
                    <a:pt x="9" y="7"/>
                    <a:pt x="8" y="8"/>
                  </a:cubicBezTo>
                  <a:lnTo>
                    <a:pt x="30" y="2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30" name="Freeform 1427">
              <a:extLst>
                <a:ext uri="{FF2B5EF4-FFF2-40B4-BE49-F238E27FC236}">
                  <a16:creationId xmlns:a16="http://schemas.microsoft.com/office/drawing/2014/main" id="{8676CD93-11D1-4BBC-AFF5-69119475D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0272" y="2482458"/>
              <a:ext cx="49319" cy="73346"/>
            </a:xfrm>
            <a:custGeom>
              <a:avLst/>
              <a:gdLst>
                <a:gd name="T0" fmla="*/ 1 w 27"/>
                <a:gd name="T1" fmla="*/ 14 h 40"/>
                <a:gd name="T2" fmla="*/ 2 w 27"/>
                <a:gd name="T3" fmla="*/ 10 h 40"/>
                <a:gd name="T4" fmla="*/ 5 w 27"/>
                <a:gd name="T5" fmla="*/ 11 h 40"/>
                <a:gd name="T6" fmla="*/ 19 w 27"/>
                <a:gd name="T7" fmla="*/ 33 h 40"/>
                <a:gd name="T8" fmla="*/ 21 w 27"/>
                <a:gd name="T9" fmla="*/ 29 h 40"/>
                <a:gd name="T10" fmla="*/ 21 w 27"/>
                <a:gd name="T11" fmla="*/ 26 h 40"/>
                <a:gd name="T12" fmla="*/ 11 w 27"/>
                <a:gd name="T13" fmla="*/ 4 h 40"/>
                <a:gd name="T14" fmla="*/ 12 w 27"/>
                <a:gd name="T15" fmla="*/ 0 h 40"/>
                <a:gd name="T16" fmla="*/ 16 w 27"/>
                <a:gd name="T17" fmla="*/ 2 h 40"/>
                <a:gd name="T18" fmla="*/ 26 w 27"/>
                <a:gd name="T19" fmla="*/ 24 h 40"/>
                <a:gd name="T20" fmla="*/ 26 w 27"/>
                <a:gd name="T21" fmla="*/ 24 h 40"/>
                <a:gd name="T22" fmla="*/ 26 w 27"/>
                <a:gd name="T23" fmla="*/ 25 h 40"/>
                <a:gd name="T24" fmla="*/ 26 w 27"/>
                <a:gd name="T25" fmla="*/ 31 h 40"/>
                <a:gd name="T26" fmla="*/ 21 w 27"/>
                <a:gd name="T27" fmla="*/ 39 h 40"/>
                <a:gd name="T28" fmla="*/ 20 w 27"/>
                <a:gd name="T29" fmla="*/ 40 h 40"/>
                <a:gd name="T30" fmla="*/ 16 w 27"/>
                <a:gd name="T31" fmla="*/ 39 h 40"/>
                <a:gd name="T32" fmla="*/ 1 w 27"/>
                <a:gd name="T33" fmla="*/ 1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40">
                  <a:moveTo>
                    <a:pt x="1" y="14"/>
                  </a:moveTo>
                  <a:cubicBezTo>
                    <a:pt x="0" y="13"/>
                    <a:pt x="0" y="11"/>
                    <a:pt x="2" y="10"/>
                  </a:cubicBezTo>
                  <a:cubicBezTo>
                    <a:pt x="3" y="10"/>
                    <a:pt x="5" y="10"/>
                    <a:pt x="5" y="11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20" y="32"/>
                    <a:pt x="21" y="30"/>
                    <a:pt x="21" y="29"/>
                  </a:cubicBezTo>
                  <a:cubicBezTo>
                    <a:pt x="21" y="28"/>
                    <a:pt x="21" y="27"/>
                    <a:pt x="21" y="26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2"/>
                    <a:pt x="11" y="1"/>
                    <a:pt x="12" y="0"/>
                  </a:cubicBezTo>
                  <a:cubicBezTo>
                    <a:pt x="14" y="0"/>
                    <a:pt x="15" y="0"/>
                    <a:pt x="16" y="2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6"/>
                    <a:pt x="27" y="28"/>
                    <a:pt x="26" y="31"/>
                  </a:cubicBezTo>
                  <a:cubicBezTo>
                    <a:pt x="25" y="33"/>
                    <a:pt x="24" y="36"/>
                    <a:pt x="21" y="39"/>
                  </a:cubicBezTo>
                  <a:cubicBezTo>
                    <a:pt x="21" y="39"/>
                    <a:pt x="20" y="39"/>
                    <a:pt x="20" y="40"/>
                  </a:cubicBezTo>
                  <a:cubicBezTo>
                    <a:pt x="19" y="40"/>
                    <a:pt x="17" y="40"/>
                    <a:pt x="16" y="39"/>
                  </a:cubicBezTo>
                  <a:lnTo>
                    <a:pt x="1" y="1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31" name="Freeform 1428">
              <a:extLst>
                <a:ext uri="{FF2B5EF4-FFF2-40B4-BE49-F238E27FC236}">
                  <a16:creationId xmlns:a16="http://schemas.microsoft.com/office/drawing/2014/main" id="{BF1A1DF3-2A47-4B81-A182-B649DC807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016" y="2520395"/>
              <a:ext cx="44260" cy="29085"/>
            </a:xfrm>
            <a:custGeom>
              <a:avLst/>
              <a:gdLst>
                <a:gd name="T0" fmla="*/ 17 w 24"/>
                <a:gd name="T1" fmla="*/ 10 h 16"/>
                <a:gd name="T2" fmla="*/ 18 w 24"/>
                <a:gd name="T3" fmla="*/ 14 h 16"/>
                <a:gd name="T4" fmla="*/ 15 w 24"/>
                <a:gd name="T5" fmla="*/ 15 h 16"/>
                <a:gd name="T6" fmla="*/ 2 w 24"/>
                <a:gd name="T7" fmla="*/ 8 h 16"/>
                <a:gd name="T8" fmla="*/ 1 w 24"/>
                <a:gd name="T9" fmla="*/ 4 h 16"/>
                <a:gd name="T10" fmla="*/ 2 w 24"/>
                <a:gd name="T11" fmla="*/ 3 h 16"/>
                <a:gd name="T12" fmla="*/ 7 w 24"/>
                <a:gd name="T13" fmla="*/ 0 h 16"/>
                <a:gd name="T14" fmla="*/ 11 w 24"/>
                <a:gd name="T15" fmla="*/ 0 h 16"/>
                <a:gd name="T16" fmla="*/ 11 w 24"/>
                <a:gd name="T17" fmla="*/ 0 h 16"/>
                <a:gd name="T18" fmla="*/ 22 w 24"/>
                <a:gd name="T19" fmla="*/ 4 h 16"/>
                <a:gd name="T20" fmla="*/ 23 w 24"/>
                <a:gd name="T21" fmla="*/ 8 h 16"/>
                <a:gd name="T22" fmla="*/ 20 w 24"/>
                <a:gd name="T23" fmla="*/ 9 h 16"/>
                <a:gd name="T24" fmla="*/ 9 w 24"/>
                <a:gd name="T25" fmla="*/ 5 h 16"/>
                <a:gd name="T26" fmla="*/ 8 w 24"/>
                <a:gd name="T27" fmla="*/ 5 h 16"/>
                <a:gd name="T28" fmla="*/ 17 w 24"/>
                <a:gd name="T2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6">
                  <a:moveTo>
                    <a:pt x="17" y="10"/>
                  </a:moveTo>
                  <a:cubicBezTo>
                    <a:pt x="19" y="11"/>
                    <a:pt x="19" y="13"/>
                    <a:pt x="18" y="14"/>
                  </a:cubicBezTo>
                  <a:cubicBezTo>
                    <a:pt x="18" y="15"/>
                    <a:pt x="16" y="16"/>
                    <a:pt x="15" y="15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5"/>
                    <a:pt x="1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4" y="2"/>
                    <a:pt x="5" y="1"/>
                    <a:pt x="7" y="0"/>
                  </a:cubicBezTo>
                  <a:cubicBezTo>
                    <a:pt x="8" y="0"/>
                    <a:pt x="9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5"/>
                    <a:pt x="24" y="6"/>
                    <a:pt x="23" y="8"/>
                  </a:cubicBezTo>
                  <a:cubicBezTo>
                    <a:pt x="22" y="9"/>
                    <a:pt x="21" y="10"/>
                    <a:pt x="20" y="9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8" y="5"/>
                  </a:cubicBezTo>
                  <a:lnTo>
                    <a:pt x="17" y="10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32" name="Freeform 1429">
              <a:extLst>
                <a:ext uri="{FF2B5EF4-FFF2-40B4-BE49-F238E27FC236}">
                  <a16:creationId xmlns:a16="http://schemas.microsoft.com/office/drawing/2014/main" id="{2916FE22-1F98-466A-900C-E0E78D294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631" y="2536835"/>
              <a:ext cx="30350" cy="41731"/>
            </a:xfrm>
            <a:custGeom>
              <a:avLst/>
              <a:gdLst>
                <a:gd name="T0" fmla="*/ 1 w 17"/>
                <a:gd name="T1" fmla="*/ 9 h 23"/>
                <a:gd name="T2" fmla="*/ 2 w 17"/>
                <a:gd name="T3" fmla="*/ 6 h 23"/>
                <a:gd name="T4" fmla="*/ 6 w 17"/>
                <a:gd name="T5" fmla="*/ 6 h 23"/>
                <a:gd name="T6" fmla="*/ 11 w 17"/>
                <a:gd name="T7" fmla="*/ 15 h 23"/>
                <a:gd name="T8" fmla="*/ 11 w 17"/>
                <a:gd name="T9" fmla="*/ 15 h 23"/>
                <a:gd name="T10" fmla="*/ 7 w 17"/>
                <a:gd name="T11" fmla="*/ 4 h 23"/>
                <a:gd name="T12" fmla="*/ 8 w 17"/>
                <a:gd name="T13" fmla="*/ 1 h 23"/>
                <a:gd name="T14" fmla="*/ 12 w 17"/>
                <a:gd name="T15" fmla="*/ 2 h 23"/>
                <a:gd name="T16" fmla="*/ 16 w 17"/>
                <a:gd name="T17" fmla="*/ 13 h 23"/>
                <a:gd name="T18" fmla="*/ 16 w 17"/>
                <a:gd name="T19" fmla="*/ 13 h 23"/>
                <a:gd name="T20" fmla="*/ 16 w 17"/>
                <a:gd name="T21" fmla="*/ 13 h 23"/>
                <a:gd name="T22" fmla="*/ 16 w 17"/>
                <a:gd name="T23" fmla="*/ 17 h 23"/>
                <a:gd name="T24" fmla="*/ 13 w 17"/>
                <a:gd name="T25" fmla="*/ 22 h 23"/>
                <a:gd name="T26" fmla="*/ 13 w 17"/>
                <a:gd name="T27" fmla="*/ 22 h 23"/>
                <a:gd name="T28" fmla="*/ 9 w 17"/>
                <a:gd name="T29" fmla="*/ 22 h 23"/>
                <a:gd name="T30" fmla="*/ 1 w 17"/>
                <a:gd name="T3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23">
                  <a:moveTo>
                    <a:pt x="1" y="9"/>
                  </a:moveTo>
                  <a:cubicBezTo>
                    <a:pt x="0" y="8"/>
                    <a:pt x="1" y="6"/>
                    <a:pt x="2" y="6"/>
                  </a:cubicBezTo>
                  <a:cubicBezTo>
                    <a:pt x="3" y="5"/>
                    <a:pt x="5" y="5"/>
                    <a:pt x="6" y="6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7" y="1"/>
                    <a:pt x="8" y="1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7" y="14"/>
                    <a:pt x="17" y="15"/>
                    <a:pt x="16" y="17"/>
                  </a:cubicBezTo>
                  <a:cubicBezTo>
                    <a:pt x="16" y="18"/>
                    <a:pt x="15" y="20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1" y="23"/>
                    <a:pt x="10" y="23"/>
                    <a:pt x="9" y="22"/>
                  </a:cubicBezTo>
                  <a:lnTo>
                    <a:pt x="1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33" name="Freeform 1430">
              <a:extLst>
                <a:ext uri="{FF2B5EF4-FFF2-40B4-BE49-F238E27FC236}">
                  <a16:creationId xmlns:a16="http://schemas.microsoft.com/office/drawing/2014/main" id="{860881F3-E37B-4C69-83B9-83C289CFAB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7043" y="2444520"/>
              <a:ext cx="108754" cy="112548"/>
            </a:xfrm>
            <a:custGeom>
              <a:avLst/>
              <a:gdLst>
                <a:gd name="T0" fmla="*/ 30 w 60"/>
                <a:gd name="T1" fmla="*/ 16 h 62"/>
                <a:gd name="T2" fmla="*/ 43 w 60"/>
                <a:gd name="T3" fmla="*/ 5 h 62"/>
                <a:gd name="T4" fmla="*/ 57 w 60"/>
                <a:gd name="T5" fmla="*/ 1 h 62"/>
                <a:gd name="T6" fmla="*/ 59 w 60"/>
                <a:gd name="T7" fmla="*/ 3 h 62"/>
                <a:gd name="T8" fmla="*/ 56 w 60"/>
                <a:gd name="T9" fmla="*/ 17 h 62"/>
                <a:gd name="T10" fmla="*/ 44 w 60"/>
                <a:gd name="T11" fmla="*/ 32 h 62"/>
                <a:gd name="T12" fmla="*/ 30 w 60"/>
                <a:gd name="T13" fmla="*/ 44 h 62"/>
                <a:gd name="T14" fmla="*/ 30 w 60"/>
                <a:gd name="T15" fmla="*/ 37 h 62"/>
                <a:gd name="T16" fmla="*/ 40 w 60"/>
                <a:gd name="T17" fmla="*/ 28 h 62"/>
                <a:gd name="T18" fmla="*/ 51 w 60"/>
                <a:gd name="T19" fmla="*/ 15 h 62"/>
                <a:gd name="T20" fmla="*/ 54 w 60"/>
                <a:gd name="T21" fmla="*/ 6 h 62"/>
                <a:gd name="T22" fmla="*/ 46 w 60"/>
                <a:gd name="T23" fmla="*/ 9 h 62"/>
                <a:gd name="T24" fmla="*/ 33 w 60"/>
                <a:gd name="T25" fmla="*/ 20 h 62"/>
                <a:gd name="T26" fmla="*/ 30 w 60"/>
                <a:gd name="T27" fmla="*/ 25 h 62"/>
                <a:gd name="T28" fmla="*/ 30 w 60"/>
                <a:gd name="T29" fmla="*/ 16 h 62"/>
                <a:gd name="T30" fmla="*/ 0 w 60"/>
                <a:gd name="T31" fmla="*/ 60 h 62"/>
                <a:gd name="T32" fmla="*/ 0 w 60"/>
                <a:gd name="T33" fmla="*/ 56 h 62"/>
                <a:gd name="T34" fmla="*/ 2 w 60"/>
                <a:gd name="T35" fmla="*/ 52 h 62"/>
                <a:gd name="T36" fmla="*/ 29 w 60"/>
                <a:gd name="T37" fmla="*/ 17 h 62"/>
                <a:gd name="T38" fmla="*/ 30 w 60"/>
                <a:gd name="T39" fmla="*/ 16 h 62"/>
                <a:gd name="T40" fmla="*/ 30 w 60"/>
                <a:gd name="T41" fmla="*/ 25 h 62"/>
                <a:gd name="T42" fmla="*/ 6 w 60"/>
                <a:gd name="T43" fmla="*/ 55 h 62"/>
                <a:gd name="T44" fmla="*/ 6 w 60"/>
                <a:gd name="T45" fmla="*/ 55 h 62"/>
                <a:gd name="T46" fmla="*/ 6 w 60"/>
                <a:gd name="T47" fmla="*/ 55 h 62"/>
                <a:gd name="T48" fmla="*/ 5 w 60"/>
                <a:gd name="T49" fmla="*/ 57 h 62"/>
                <a:gd name="T50" fmla="*/ 5 w 60"/>
                <a:gd name="T51" fmla="*/ 57 h 62"/>
                <a:gd name="T52" fmla="*/ 7 w 60"/>
                <a:gd name="T53" fmla="*/ 56 h 62"/>
                <a:gd name="T54" fmla="*/ 7 w 60"/>
                <a:gd name="T55" fmla="*/ 56 h 62"/>
                <a:gd name="T56" fmla="*/ 30 w 60"/>
                <a:gd name="T57" fmla="*/ 37 h 62"/>
                <a:gd name="T58" fmla="*/ 30 w 60"/>
                <a:gd name="T59" fmla="*/ 44 h 62"/>
                <a:gd name="T60" fmla="*/ 10 w 60"/>
                <a:gd name="T61" fmla="*/ 60 h 62"/>
                <a:gd name="T62" fmla="*/ 6 w 60"/>
                <a:gd name="T63" fmla="*/ 62 h 62"/>
                <a:gd name="T64" fmla="*/ 2 w 60"/>
                <a:gd name="T65" fmla="*/ 62 h 62"/>
                <a:gd name="T66" fmla="*/ 0 w 60"/>
                <a:gd name="T67" fmla="*/ 6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62">
                  <a:moveTo>
                    <a:pt x="30" y="16"/>
                  </a:moveTo>
                  <a:cubicBezTo>
                    <a:pt x="33" y="12"/>
                    <a:pt x="38" y="8"/>
                    <a:pt x="43" y="5"/>
                  </a:cubicBezTo>
                  <a:cubicBezTo>
                    <a:pt x="48" y="2"/>
                    <a:pt x="53" y="0"/>
                    <a:pt x="57" y="1"/>
                  </a:cubicBezTo>
                  <a:cubicBezTo>
                    <a:pt x="58" y="2"/>
                    <a:pt x="59" y="2"/>
                    <a:pt x="59" y="3"/>
                  </a:cubicBezTo>
                  <a:cubicBezTo>
                    <a:pt x="60" y="7"/>
                    <a:pt x="59" y="12"/>
                    <a:pt x="56" y="17"/>
                  </a:cubicBezTo>
                  <a:cubicBezTo>
                    <a:pt x="53" y="23"/>
                    <a:pt x="47" y="29"/>
                    <a:pt x="44" y="32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4" y="26"/>
                    <a:pt x="48" y="20"/>
                    <a:pt x="51" y="15"/>
                  </a:cubicBezTo>
                  <a:cubicBezTo>
                    <a:pt x="53" y="12"/>
                    <a:pt x="54" y="9"/>
                    <a:pt x="54" y="6"/>
                  </a:cubicBezTo>
                  <a:cubicBezTo>
                    <a:pt x="52" y="6"/>
                    <a:pt x="49" y="8"/>
                    <a:pt x="46" y="9"/>
                  </a:cubicBezTo>
                  <a:cubicBezTo>
                    <a:pt x="40" y="12"/>
                    <a:pt x="35" y="17"/>
                    <a:pt x="33" y="20"/>
                  </a:cubicBezTo>
                  <a:cubicBezTo>
                    <a:pt x="30" y="25"/>
                    <a:pt x="30" y="25"/>
                    <a:pt x="30" y="25"/>
                  </a:cubicBezTo>
                  <a:lnTo>
                    <a:pt x="30" y="16"/>
                  </a:lnTo>
                  <a:close/>
                  <a:moveTo>
                    <a:pt x="0" y="60"/>
                  </a:moveTo>
                  <a:cubicBezTo>
                    <a:pt x="0" y="59"/>
                    <a:pt x="0" y="57"/>
                    <a:pt x="0" y="56"/>
                  </a:cubicBezTo>
                  <a:cubicBezTo>
                    <a:pt x="0" y="54"/>
                    <a:pt x="1" y="53"/>
                    <a:pt x="2" y="52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6"/>
                    <a:pt x="30" y="16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56"/>
                    <a:pt x="5" y="56"/>
                    <a:pt x="5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57"/>
                    <a:pt x="6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9" y="61"/>
                    <a:pt x="8" y="62"/>
                    <a:pt x="6" y="62"/>
                  </a:cubicBezTo>
                  <a:cubicBezTo>
                    <a:pt x="5" y="62"/>
                    <a:pt x="3" y="62"/>
                    <a:pt x="2" y="62"/>
                  </a:cubicBezTo>
                  <a:cubicBezTo>
                    <a:pt x="1" y="62"/>
                    <a:pt x="1" y="61"/>
                    <a:pt x="0" y="6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34" name="Freeform 1431">
              <a:extLst>
                <a:ext uri="{FF2B5EF4-FFF2-40B4-BE49-F238E27FC236}">
                  <a16:creationId xmlns:a16="http://schemas.microsoft.com/office/drawing/2014/main" id="{DD8ADF6A-547C-4972-B3F9-95D74EF881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1499" y="2290241"/>
              <a:ext cx="303500" cy="304765"/>
            </a:xfrm>
            <a:custGeom>
              <a:avLst/>
              <a:gdLst>
                <a:gd name="T0" fmla="*/ 160 w 168"/>
                <a:gd name="T1" fmla="*/ 67 h 168"/>
                <a:gd name="T2" fmla="*/ 163 w 168"/>
                <a:gd name="T3" fmla="*/ 58 h 168"/>
                <a:gd name="T4" fmla="*/ 164 w 168"/>
                <a:gd name="T5" fmla="*/ 49 h 168"/>
                <a:gd name="T6" fmla="*/ 164 w 168"/>
                <a:gd name="T7" fmla="*/ 39 h 168"/>
                <a:gd name="T8" fmla="*/ 162 w 168"/>
                <a:gd name="T9" fmla="*/ 32 h 168"/>
                <a:gd name="T10" fmla="*/ 158 w 168"/>
                <a:gd name="T11" fmla="*/ 25 h 168"/>
                <a:gd name="T12" fmla="*/ 164 w 168"/>
                <a:gd name="T13" fmla="*/ 28 h 168"/>
                <a:gd name="T14" fmla="*/ 167 w 168"/>
                <a:gd name="T15" fmla="*/ 38 h 168"/>
                <a:gd name="T16" fmla="*/ 168 w 168"/>
                <a:gd name="T17" fmla="*/ 48 h 168"/>
                <a:gd name="T18" fmla="*/ 167 w 168"/>
                <a:gd name="T19" fmla="*/ 58 h 168"/>
                <a:gd name="T20" fmla="*/ 164 w 168"/>
                <a:gd name="T21" fmla="*/ 67 h 168"/>
                <a:gd name="T22" fmla="*/ 158 w 168"/>
                <a:gd name="T23" fmla="*/ 76 h 168"/>
                <a:gd name="T24" fmla="*/ 159 w 168"/>
                <a:gd name="T25" fmla="*/ 19 h 168"/>
                <a:gd name="T26" fmla="*/ 155 w 168"/>
                <a:gd name="T27" fmla="*/ 20 h 168"/>
                <a:gd name="T28" fmla="*/ 148 w 168"/>
                <a:gd name="T29" fmla="*/ 14 h 168"/>
                <a:gd name="T30" fmla="*/ 141 w 168"/>
                <a:gd name="T31" fmla="*/ 7 h 168"/>
                <a:gd name="T32" fmla="*/ 148 w 168"/>
                <a:gd name="T33" fmla="*/ 9 h 168"/>
                <a:gd name="T34" fmla="*/ 155 w 168"/>
                <a:gd name="T35" fmla="*/ 80 h 168"/>
                <a:gd name="T36" fmla="*/ 14 w 168"/>
                <a:gd name="T37" fmla="*/ 88 h 168"/>
                <a:gd name="T38" fmla="*/ 9 w 168"/>
                <a:gd name="T39" fmla="*/ 96 h 168"/>
                <a:gd name="T40" fmla="*/ 4 w 168"/>
                <a:gd name="T41" fmla="*/ 103 h 168"/>
                <a:gd name="T42" fmla="*/ 1 w 168"/>
                <a:gd name="T43" fmla="*/ 112 h 168"/>
                <a:gd name="T44" fmla="*/ 0 w 168"/>
                <a:gd name="T45" fmla="*/ 122 h 168"/>
                <a:gd name="T46" fmla="*/ 1 w 168"/>
                <a:gd name="T47" fmla="*/ 132 h 168"/>
                <a:gd name="T48" fmla="*/ 4 w 168"/>
                <a:gd name="T49" fmla="*/ 141 h 168"/>
                <a:gd name="T50" fmla="*/ 10 w 168"/>
                <a:gd name="T51" fmla="*/ 150 h 168"/>
                <a:gd name="T52" fmla="*/ 17 w 168"/>
                <a:gd name="T53" fmla="*/ 158 h 168"/>
                <a:gd name="T54" fmla="*/ 25 w 168"/>
                <a:gd name="T55" fmla="*/ 161 h 168"/>
                <a:gd name="T56" fmla="*/ 32 w 168"/>
                <a:gd name="T57" fmla="*/ 166 h 168"/>
                <a:gd name="T58" fmla="*/ 42 w 168"/>
                <a:gd name="T59" fmla="*/ 168 h 168"/>
                <a:gd name="T60" fmla="*/ 52 w 168"/>
                <a:gd name="T61" fmla="*/ 168 h 168"/>
                <a:gd name="T62" fmla="*/ 62 w 168"/>
                <a:gd name="T63" fmla="*/ 166 h 168"/>
                <a:gd name="T64" fmla="*/ 71 w 168"/>
                <a:gd name="T65" fmla="*/ 162 h 168"/>
                <a:gd name="T66" fmla="*/ 79 w 168"/>
                <a:gd name="T67" fmla="*/ 156 h 168"/>
                <a:gd name="T68" fmla="*/ 73 w 168"/>
                <a:gd name="T69" fmla="*/ 157 h 168"/>
                <a:gd name="T70" fmla="*/ 64 w 168"/>
                <a:gd name="T71" fmla="*/ 161 h 168"/>
                <a:gd name="T72" fmla="*/ 58 w 168"/>
                <a:gd name="T73" fmla="*/ 163 h 168"/>
                <a:gd name="T74" fmla="*/ 49 w 168"/>
                <a:gd name="T75" fmla="*/ 165 h 168"/>
                <a:gd name="T76" fmla="*/ 40 w 168"/>
                <a:gd name="T77" fmla="*/ 164 h 168"/>
                <a:gd name="T78" fmla="*/ 30 w 168"/>
                <a:gd name="T79" fmla="*/ 161 h 168"/>
                <a:gd name="T80" fmla="*/ 22 w 168"/>
                <a:gd name="T81" fmla="*/ 157 h 168"/>
                <a:gd name="T82" fmla="*/ 16 w 168"/>
                <a:gd name="T83" fmla="*/ 152 h 168"/>
                <a:gd name="T84" fmla="*/ 10 w 168"/>
                <a:gd name="T85" fmla="*/ 147 h 168"/>
                <a:gd name="T86" fmla="*/ 7 w 168"/>
                <a:gd name="T87" fmla="*/ 139 h 168"/>
                <a:gd name="T88" fmla="*/ 4 w 168"/>
                <a:gd name="T89" fmla="*/ 130 h 168"/>
                <a:gd name="T90" fmla="*/ 4 w 168"/>
                <a:gd name="T91" fmla="*/ 120 h 168"/>
                <a:gd name="T92" fmla="*/ 5 w 168"/>
                <a:gd name="T93" fmla="*/ 111 h 168"/>
                <a:gd name="T94" fmla="*/ 8 w 168"/>
                <a:gd name="T95" fmla="*/ 102 h 168"/>
                <a:gd name="T96" fmla="*/ 13 w 168"/>
                <a:gd name="T97" fmla="*/ 94 h 168"/>
                <a:gd name="T98" fmla="*/ 140 w 168"/>
                <a:gd name="T99" fmla="*/ 8 h 168"/>
                <a:gd name="T100" fmla="*/ 134 w 168"/>
                <a:gd name="T101" fmla="*/ 6 h 168"/>
                <a:gd name="T102" fmla="*/ 124 w 168"/>
                <a:gd name="T103" fmla="*/ 4 h 168"/>
                <a:gd name="T104" fmla="*/ 115 w 168"/>
                <a:gd name="T105" fmla="*/ 4 h 168"/>
                <a:gd name="T106" fmla="*/ 106 w 168"/>
                <a:gd name="T107" fmla="*/ 6 h 168"/>
                <a:gd name="T108" fmla="*/ 98 w 168"/>
                <a:gd name="T109" fmla="*/ 10 h 168"/>
                <a:gd name="T110" fmla="*/ 91 w 168"/>
                <a:gd name="T111" fmla="*/ 16 h 168"/>
                <a:gd name="T112" fmla="*/ 94 w 168"/>
                <a:gd name="T113" fmla="*/ 9 h 168"/>
                <a:gd name="T114" fmla="*/ 103 w 168"/>
                <a:gd name="T115" fmla="*/ 4 h 168"/>
                <a:gd name="T116" fmla="*/ 113 w 168"/>
                <a:gd name="T117" fmla="*/ 1 h 168"/>
                <a:gd name="T118" fmla="*/ 120 w 168"/>
                <a:gd name="T119" fmla="*/ 0 h 168"/>
                <a:gd name="T120" fmla="*/ 130 w 168"/>
                <a:gd name="T121" fmla="*/ 1 h 168"/>
                <a:gd name="T122" fmla="*/ 140 w 168"/>
                <a:gd name="T123" fmla="*/ 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8" h="168">
                  <a:moveTo>
                    <a:pt x="155" y="80"/>
                  </a:moveTo>
                  <a:cubicBezTo>
                    <a:pt x="155" y="74"/>
                    <a:pt x="155" y="74"/>
                    <a:pt x="155" y="74"/>
                  </a:cubicBezTo>
                  <a:cubicBezTo>
                    <a:pt x="155" y="74"/>
                    <a:pt x="155" y="74"/>
                    <a:pt x="155" y="74"/>
                  </a:cubicBezTo>
                  <a:cubicBezTo>
                    <a:pt x="155" y="74"/>
                    <a:pt x="155" y="74"/>
                    <a:pt x="155" y="74"/>
                  </a:cubicBezTo>
                  <a:cubicBezTo>
                    <a:pt x="155" y="74"/>
                    <a:pt x="155" y="74"/>
                    <a:pt x="155" y="74"/>
                  </a:cubicBezTo>
                  <a:cubicBezTo>
                    <a:pt x="156" y="74"/>
                    <a:pt x="156" y="74"/>
                    <a:pt x="156" y="74"/>
                  </a:cubicBezTo>
                  <a:cubicBezTo>
                    <a:pt x="156" y="73"/>
                    <a:pt x="156" y="73"/>
                    <a:pt x="156" y="73"/>
                  </a:cubicBezTo>
                  <a:cubicBezTo>
                    <a:pt x="156" y="73"/>
                    <a:pt x="156" y="73"/>
                    <a:pt x="156" y="73"/>
                  </a:cubicBezTo>
                  <a:cubicBezTo>
                    <a:pt x="156" y="73"/>
                    <a:pt x="156" y="73"/>
                    <a:pt x="156" y="73"/>
                  </a:cubicBezTo>
                  <a:cubicBezTo>
                    <a:pt x="156" y="73"/>
                    <a:pt x="157" y="72"/>
                    <a:pt x="157" y="72"/>
                  </a:cubicBezTo>
                  <a:cubicBezTo>
                    <a:pt x="158" y="72"/>
                    <a:pt x="158" y="72"/>
                    <a:pt x="158" y="73"/>
                  </a:cubicBezTo>
                  <a:cubicBezTo>
                    <a:pt x="158" y="72"/>
                    <a:pt x="157" y="71"/>
                    <a:pt x="158" y="70"/>
                  </a:cubicBezTo>
                  <a:cubicBezTo>
                    <a:pt x="158" y="70"/>
                    <a:pt x="158" y="70"/>
                    <a:pt x="158" y="70"/>
                  </a:cubicBezTo>
                  <a:cubicBezTo>
                    <a:pt x="158" y="70"/>
                    <a:pt x="158" y="70"/>
                    <a:pt x="158" y="70"/>
                  </a:cubicBezTo>
                  <a:cubicBezTo>
                    <a:pt x="158" y="70"/>
                    <a:pt x="158" y="70"/>
                    <a:pt x="158" y="70"/>
                  </a:cubicBezTo>
                  <a:cubicBezTo>
                    <a:pt x="158" y="69"/>
                    <a:pt x="158" y="69"/>
                    <a:pt x="158" y="69"/>
                  </a:cubicBezTo>
                  <a:cubicBezTo>
                    <a:pt x="159" y="69"/>
                    <a:pt x="159" y="69"/>
                    <a:pt x="159" y="69"/>
                  </a:cubicBezTo>
                  <a:cubicBezTo>
                    <a:pt x="159" y="69"/>
                    <a:pt x="159" y="69"/>
                    <a:pt x="159" y="69"/>
                  </a:cubicBezTo>
                  <a:cubicBezTo>
                    <a:pt x="159" y="69"/>
                    <a:pt x="159" y="69"/>
                    <a:pt x="159" y="69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6"/>
                    <a:pt x="160" y="66"/>
                    <a:pt x="160" y="66"/>
                  </a:cubicBezTo>
                  <a:cubicBezTo>
                    <a:pt x="160" y="66"/>
                    <a:pt x="160" y="66"/>
                    <a:pt x="160" y="66"/>
                  </a:cubicBezTo>
                  <a:cubicBezTo>
                    <a:pt x="160" y="66"/>
                    <a:pt x="160" y="66"/>
                    <a:pt x="160" y="66"/>
                  </a:cubicBezTo>
                  <a:cubicBezTo>
                    <a:pt x="160" y="66"/>
                    <a:pt x="160" y="66"/>
                    <a:pt x="160" y="66"/>
                  </a:cubicBezTo>
                  <a:cubicBezTo>
                    <a:pt x="161" y="65"/>
                    <a:pt x="161" y="65"/>
                    <a:pt x="161" y="65"/>
                  </a:cubicBezTo>
                  <a:cubicBezTo>
                    <a:pt x="161" y="65"/>
                    <a:pt x="161" y="65"/>
                    <a:pt x="161" y="65"/>
                  </a:cubicBezTo>
                  <a:cubicBezTo>
                    <a:pt x="161" y="65"/>
                    <a:pt x="161" y="65"/>
                    <a:pt x="161" y="65"/>
                  </a:cubicBezTo>
                  <a:cubicBezTo>
                    <a:pt x="161" y="65"/>
                    <a:pt x="161" y="65"/>
                    <a:pt x="161" y="65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3"/>
                    <a:pt x="162" y="63"/>
                    <a:pt x="163" y="63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2" y="62"/>
                    <a:pt x="162" y="61"/>
                    <a:pt x="162" y="61"/>
                  </a:cubicBezTo>
                  <a:cubicBezTo>
                    <a:pt x="162" y="61"/>
                    <a:pt x="162" y="61"/>
                    <a:pt x="162" y="61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3" y="58"/>
                    <a:pt x="163" y="58"/>
                    <a:pt x="163" y="58"/>
                  </a:cubicBezTo>
                  <a:cubicBezTo>
                    <a:pt x="163" y="58"/>
                    <a:pt x="163" y="58"/>
                    <a:pt x="163" y="58"/>
                  </a:cubicBezTo>
                  <a:cubicBezTo>
                    <a:pt x="163" y="58"/>
                    <a:pt x="163" y="58"/>
                    <a:pt x="163" y="58"/>
                  </a:cubicBezTo>
                  <a:cubicBezTo>
                    <a:pt x="163" y="58"/>
                    <a:pt x="163" y="58"/>
                    <a:pt x="163" y="58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3" y="56"/>
                    <a:pt x="163" y="56"/>
                    <a:pt x="163" y="56"/>
                  </a:cubicBezTo>
                  <a:cubicBezTo>
                    <a:pt x="163" y="56"/>
                    <a:pt x="163" y="56"/>
                    <a:pt x="163" y="56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54"/>
                    <a:pt x="164" y="54"/>
                    <a:pt x="164" y="54"/>
                  </a:cubicBezTo>
                  <a:cubicBezTo>
                    <a:pt x="164" y="54"/>
                    <a:pt x="164" y="54"/>
                    <a:pt x="164" y="54"/>
                  </a:cubicBezTo>
                  <a:cubicBezTo>
                    <a:pt x="164" y="53"/>
                    <a:pt x="165" y="53"/>
                    <a:pt x="166" y="53"/>
                  </a:cubicBezTo>
                  <a:cubicBezTo>
                    <a:pt x="165" y="52"/>
                    <a:pt x="164" y="52"/>
                    <a:pt x="164" y="51"/>
                  </a:cubicBezTo>
                  <a:cubicBezTo>
                    <a:pt x="164" y="51"/>
                    <a:pt x="164" y="51"/>
                    <a:pt x="164" y="51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47"/>
                    <a:pt x="164" y="47"/>
                    <a:pt x="164" y="47"/>
                  </a:cubicBezTo>
                  <a:cubicBezTo>
                    <a:pt x="164" y="47"/>
                    <a:pt x="164" y="47"/>
                    <a:pt x="164" y="47"/>
                  </a:cubicBezTo>
                  <a:cubicBezTo>
                    <a:pt x="164" y="47"/>
                    <a:pt x="164" y="47"/>
                    <a:pt x="164" y="47"/>
                  </a:cubicBezTo>
                  <a:cubicBezTo>
                    <a:pt x="164" y="47"/>
                    <a:pt x="164" y="47"/>
                    <a:pt x="164" y="47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64" y="44"/>
                    <a:pt x="164" y="44"/>
                    <a:pt x="164" y="44"/>
                  </a:cubicBezTo>
                  <a:cubicBezTo>
                    <a:pt x="164" y="44"/>
                    <a:pt x="164" y="44"/>
                    <a:pt x="164" y="44"/>
                  </a:cubicBezTo>
                  <a:cubicBezTo>
                    <a:pt x="164" y="44"/>
                    <a:pt x="164" y="44"/>
                    <a:pt x="164" y="44"/>
                  </a:cubicBezTo>
                  <a:cubicBezTo>
                    <a:pt x="164" y="43"/>
                    <a:pt x="165" y="42"/>
                    <a:pt x="166" y="42"/>
                  </a:cubicBezTo>
                  <a:cubicBezTo>
                    <a:pt x="165" y="42"/>
                    <a:pt x="164" y="41"/>
                    <a:pt x="164" y="40"/>
                  </a:cubicBezTo>
                  <a:cubicBezTo>
                    <a:pt x="164" y="40"/>
                    <a:pt x="164" y="40"/>
                    <a:pt x="164" y="40"/>
                  </a:cubicBezTo>
                  <a:cubicBezTo>
                    <a:pt x="164" y="40"/>
                    <a:pt x="164" y="40"/>
                    <a:pt x="164" y="40"/>
                  </a:cubicBezTo>
                  <a:cubicBezTo>
                    <a:pt x="164" y="40"/>
                    <a:pt x="164" y="40"/>
                    <a:pt x="164" y="40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3" y="39"/>
                    <a:pt x="163" y="39"/>
                    <a:pt x="163" y="39"/>
                  </a:cubicBezTo>
                  <a:cubicBezTo>
                    <a:pt x="163" y="39"/>
                    <a:pt x="163" y="39"/>
                    <a:pt x="163" y="39"/>
                  </a:cubicBezTo>
                  <a:cubicBezTo>
                    <a:pt x="163" y="38"/>
                    <a:pt x="163" y="38"/>
                    <a:pt x="163" y="38"/>
                  </a:cubicBezTo>
                  <a:cubicBezTo>
                    <a:pt x="163" y="38"/>
                    <a:pt x="163" y="38"/>
                    <a:pt x="163" y="38"/>
                  </a:cubicBezTo>
                  <a:cubicBezTo>
                    <a:pt x="163" y="38"/>
                    <a:pt x="163" y="38"/>
                    <a:pt x="163" y="38"/>
                  </a:cubicBezTo>
                  <a:cubicBezTo>
                    <a:pt x="163" y="38"/>
                    <a:pt x="163" y="38"/>
                    <a:pt x="163" y="38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2" y="35"/>
                    <a:pt x="162" y="35"/>
                    <a:pt x="162" y="35"/>
                  </a:cubicBezTo>
                  <a:cubicBezTo>
                    <a:pt x="162" y="35"/>
                    <a:pt x="162" y="35"/>
                    <a:pt x="162" y="35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62" y="33"/>
                    <a:pt x="162" y="32"/>
                    <a:pt x="163" y="32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63" y="32"/>
                    <a:pt x="163" y="32"/>
                    <a:pt x="162" y="32"/>
                  </a:cubicBezTo>
                  <a:cubicBezTo>
                    <a:pt x="162" y="32"/>
                    <a:pt x="161" y="31"/>
                    <a:pt x="161" y="31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0" y="29"/>
                    <a:pt x="160" y="29"/>
                    <a:pt x="160" y="29"/>
                  </a:cubicBezTo>
                  <a:cubicBezTo>
                    <a:pt x="160" y="29"/>
                    <a:pt x="160" y="29"/>
                    <a:pt x="160" y="29"/>
                  </a:cubicBezTo>
                  <a:cubicBezTo>
                    <a:pt x="160" y="29"/>
                    <a:pt x="160" y="29"/>
                    <a:pt x="160" y="29"/>
                  </a:cubicBezTo>
                  <a:cubicBezTo>
                    <a:pt x="160" y="29"/>
                    <a:pt x="160" y="29"/>
                    <a:pt x="160" y="29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4"/>
                    <a:pt x="158" y="24"/>
                    <a:pt x="158" y="24"/>
                  </a:cubicBezTo>
                  <a:cubicBezTo>
                    <a:pt x="157" y="24"/>
                    <a:pt x="157" y="23"/>
                    <a:pt x="158" y="23"/>
                  </a:cubicBezTo>
                  <a:cubicBezTo>
                    <a:pt x="158" y="21"/>
                    <a:pt x="160" y="21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5" y="30"/>
                    <a:pt x="164" y="31"/>
                    <a:pt x="163" y="32"/>
                  </a:cubicBezTo>
                  <a:cubicBezTo>
                    <a:pt x="164" y="31"/>
                    <a:pt x="165" y="32"/>
                    <a:pt x="166" y="33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6" y="35"/>
                    <a:pt x="166" y="35"/>
                    <a:pt x="166" y="35"/>
                  </a:cubicBezTo>
                  <a:cubicBezTo>
                    <a:pt x="166" y="35"/>
                    <a:pt x="166" y="35"/>
                    <a:pt x="166" y="35"/>
                  </a:cubicBezTo>
                  <a:cubicBezTo>
                    <a:pt x="166" y="35"/>
                    <a:pt x="166" y="35"/>
                    <a:pt x="166" y="35"/>
                  </a:cubicBezTo>
                  <a:cubicBezTo>
                    <a:pt x="166" y="35"/>
                    <a:pt x="166" y="35"/>
                    <a:pt x="166" y="35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67" y="37"/>
                    <a:pt x="167" y="37"/>
                    <a:pt x="167" y="37"/>
                  </a:cubicBezTo>
                  <a:cubicBezTo>
                    <a:pt x="167" y="37"/>
                    <a:pt x="167" y="37"/>
                    <a:pt x="167" y="37"/>
                  </a:cubicBezTo>
                  <a:cubicBezTo>
                    <a:pt x="167" y="37"/>
                    <a:pt x="167" y="37"/>
                    <a:pt x="167" y="37"/>
                  </a:cubicBezTo>
                  <a:cubicBezTo>
                    <a:pt x="167" y="37"/>
                    <a:pt x="167" y="37"/>
                    <a:pt x="167" y="37"/>
                  </a:cubicBezTo>
                  <a:cubicBezTo>
                    <a:pt x="167" y="38"/>
                    <a:pt x="167" y="38"/>
                    <a:pt x="167" y="38"/>
                  </a:cubicBezTo>
                  <a:cubicBezTo>
                    <a:pt x="167" y="38"/>
                    <a:pt x="167" y="38"/>
                    <a:pt x="167" y="38"/>
                  </a:cubicBezTo>
                  <a:cubicBezTo>
                    <a:pt x="167" y="38"/>
                    <a:pt x="167" y="38"/>
                    <a:pt x="167" y="38"/>
                  </a:cubicBezTo>
                  <a:cubicBezTo>
                    <a:pt x="167" y="38"/>
                    <a:pt x="167" y="38"/>
                    <a:pt x="167" y="38"/>
                  </a:cubicBezTo>
                  <a:cubicBezTo>
                    <a:pt x="167" y="39"/>
                    <a:pt x="167" y="39"/>
                    <a:pt x="167" y="39"/>
                  </a:cubicBezTo>
                  <a:cubicBezTo>
                    <a:pt x="167" y="39"/>
                    <a:pt x="167" y="39"/>
                    <a:pt x="167" y="39"/>
                  </a:cubicBezTo>
                  <a:cubicBezTo>
                    <a:pt x="167" y="39"/>
                    <a:pt x="167" y="39"/>
                    <a:pt x="167" y="39"/>
                  </a:cubicBezTo>
                  <a:cubicBezTo>
                    <a:pt x="167" y="40"/>
                    <a:pt x="167" y="40"/>
                    <a:pt x="167" y="40"/>
                  </a:cubicBezTo>
                  <a:cubicBezTo>
                    <a:pt x="167" y="40"/>
                    <a:pt x="167" y="40"/>
                    <a:pt x="167" y="40"/>
                  </a:cubicBezTo>
                  <a:cubicBezTo>
                    <a:pt x="167" y="40"/>
                    <a:pt x="167" y="41"/>
                    <a:pt x="167" y="41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6" y="42"/>
                    <a:pt x="166" y="42"/>
                    <a:pt x="167" y="42"/>
                  </a:cubicBezTo>
                  <a:cubicBezTo>
                    <a:pt x="167" y="42"/>
                    <a:pt x="168" y="43"/>
                    <a:pt x="168" y="44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8" y="45"/>
                    <a:pt x="168" y="45"/>
                    <a:pt x="168" y="45"/>
                  </a:cubicBezTo>
                  <a:cubicBezTo>
                    <a:pt x="168" y="45"/>
                    <a:pt x="168" y="45"/>
                    <a:pt x="168" y="45"/>
                  </a:cubicBezTo>
                  <a:cubicBezTo>
                    <a:pt x="168" y="45"/>
                    <a:pt x="168" y="45"/>
                    <a:pt x="168" y="45"/>
                  </a:cubicBezTo>
                  <a:cubicBezTo>
                    <a:pt x="168" y="46"/>
                    <a:pt x="168" y="46"/>
                    <a:pt x="168" y="46"/>
                  </a:cubicBezTo>
                  <a:cubicBezTo>
                    <a:pt x="168" y="46"/>
                    <a:pt x="168" y="46"/>
                    <a:pt x="168" y="46"/>
                  </a:cubicBezTo>
                  <a:cubicBezTo>
                    <a:pt x="168" y="46"/>
                    <a:pt x="168" y="46"/>
                    <a:pt x="168" y="46"/>
                  </a:cubicBezTo>
                  <a:cubicBezTo>
                    <a:pt x="168" y="46"/>
                    <a:pt x="168" y="46"/>
                    <a:pt x="168" y="46"/>
                  </a:cubicBezTo>
                  <a:cubicBezTo>
                    <a:pt x="168" y="47"/>
                    <a:pt x="168" y="47"/>
                    <a:pt x="168" y="47"/>
                  </a:cubicBezTo>
                  <a:cubicBezTo>
                    <a:pt x="168" y="47"/>
                    <a:pt x="168" y="47"/>
                    <a:pt x="168" y="47"/>
                  </a:cubicBezTo>
                  <a:cubicBezTo>
                    <a:pt x="168" y="47"/>
                    <a:pt x="168" y="47"/>
                    <a:pt x="168" y="47"/>
                  </a:cubicBezTo>
                  <a:cubicBezTo>
                    <a:pt x="168" y="47"/>
                    <a:pt x="168" y="47"/>
                    <a:pt x="168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68" y="51"/>
                    <a:pt x="168" y="51"/>
                    <a:pt x="168" y="51"/>
                  </a:cubicBezTo>
                  <a:cubicBezTo>
                    <a:pt x="168" y="51"/>
                    <a:pt x="168" y="51"/>
                    <a:pt x="168" y="51"/>
                  </a:cubicBezTo>
                  <a:cubicBezTo>
                    <a:pt x="168" y="51"/>
                    <a:pt x="168" y="51"/>
                    <a:pt x="168" y="51"/>
                  </a:cubicBezTo>
                  <a:cubicBezTo>
                    <a:pt x="168" y="52"/>
                    <a:pt x="167" y="52"/>
                    <a:pt x="167" y="52"/>
                  </a:cubicBezTo>
                  <a:cubicBezTo>
                    <a:pt x="167" y="53"/>
                    <a:pt x="166" y="53"/>
                    <a:pt x="166" y="53"/>
                  </a:cubicBezTo>
                  <a:cubicBezTo>
                    <a:pt x="166" y="53"/>
                    <a:pt x="166" y="53"/>
                    <a:pt x="167" y="53"/>
                  </a:cubicBezTo>
                  <a:cubicBezTo>
                    <a:pt x="167" y="53"/>
                    <a:pt x="167" y="54"/>
                    <a:pt x="167" y="55"/>
                  </a:cubicBezTo>
                  <a:cubicBezTo>
                    <a:pt x="167" y="55"/>
                    <a:pt x="167" y="55"/>
                    <a:pt x="167" y="55"/>
                  </a:cubicBezTo>
                  <a:cubicBezTo>
                    <a:pt x="167" y="55"/>
                    <a:pt x="167" y="55"/>
                    <a:pt x="167" y="55"/>
                  </a:cubicBezTo>
                  <a:cubicBezTo>
                    <a:pt x="167" y="55"/>
                    <a:pt x="167" y="55"/>
                    <a:pt x="167" y="55"/>
                  </a:cubicBezTo>
                  <a:cubicBezTo>
                    <a:pt x="167" y="56"/>
                    <a:pt x="167" y="56"/>
                    <a:pt x="167" y="56"/>
                  </a:cubicBezTo>
                  <a:cubicBezTo>
                    <a:pt x="167" y="56"/>
                    <a:pt x="167" y="56"/>
                    <a:pt x="167" y="56"/>
                  </a:cubicBezTo>
                  <a:cubicBezTo>
                    <a:pt x="167" y="56"/>
                    <a:pt x="167" y="56"/>
                    <a:pt x="167" y="56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7" y="59"/>
                    <a:pt x="167" y="59"/>
                    <a:pt x="167" y="59"/>
                  </a:cubicBezTo>
                  <a:cubicBezTo>
                    <a:pt x="166" y="59"/>
                    <a:pt x="166" y="59"/>
                    <a:pt x="166" y="59"/>
                  </a:cubicBezTo>
                  <a:cubicBezTo>
                    <a:pt x="166" y="59"/>
                    <a:pt x="166" y="59"/>
                    <a:pt x="166" y="59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6" y="62"/>
                    <a:pt x="166" y="62"/>
                    <a:pt x="166" y="62"/>
                  </a:cubicBezTo>
                  <a:cubicBezTo>
                    <a:pt x="166" y="62"/>
                    <a:pt x="166" y="62"/>
                    <a:pt x="166" y="62"/>
                  </a:cubicBezTo>
                  <a:cubicBezTo>
                    <a:pt x="165" y="63"/>
                    <a:pt x="164" y="63"/>
                    <a:pt x="163" y="63"/>
                  </a:cubicBezTo>
                  <a:cubicBezTo>
                    <a:pt x="164" y="63"/>
                    <a:pt x="164" y="63"/>
                    <a:pt x="164" y="64"/>
                  </a:cubicBezTo>
                  <a:cubicBezTo>
                    <a:pt x="165" y="64"/>
                    <a:pt x="165" y="65"/>
                    <a:pt x="164" y="65"/>
                  </a:cubicBezTo>
                  <a:cubicBezTo>
                    <a:pt x="164" y="66"/>
                    <a:pt x="164" y="66"/>
                    <a:pt x="164" y="66"/>
                  </a:cubicBezTo>
                  <a:cubicBezTo>
                    <a:pt x="164" y="66"/>
                    <a:pt x="164" y="66"/>
                    <a:pt x="164" y="66"/>
                  </a:cubicBezTo>
                  <a:cubicBezTo>
                    <a:pt x="164" y="66"/>
                    <a:pt x="164" y="66"/>
                    <a:pt x="164" y="66"/>
                  </a:cubicBezTo>
                  <a:cubicBezTo>
                    <a:pt x="164" y="66"/>
                    <a:pt x="164" y="66"/>
                    <a:pt x="164" y="66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63" y="69"/>
                    <a:pt x="163" y="69"/>
                    <a:pt x="163" y="69"/>
                  </a:cubicBezTo>
                  <a:cubicBezTo>
                    <a:pt x="163" y="69"/>
                    <a:pt x="163" y="69"/>
                    <a:pt x="163" y="69"/>
                  </a:cubicBezTo>
                  <a:cubicBezTo>
                    <a:pt x="163" y="69"/>
                    <a:pt x="163" y="69"/>
                    <a:pt x="163" y="69"/>
                  </a:cubicBezTo>
                  <a:cubicBezTo>
                    <a:pt x="163" y="69"/>
                    <a:pt x="163" y="69"/>
                    <a:pt x="163" y="69"/>
                  </a:cubicBezTo>
                  <a:cubicBezTo>
                    <a:pt x="162" y="70"/>
                    <a:pt x="162" y="70"/>
                    <a:pt x="162" y="70"/>
                  </a:cubicBezTo>
                  <a:cubicBezTo>
                    <a:pt x="162" y="70"/>
                    <a:pt x="162" y="70"/>
                    <a:pt x="162" y="70"/>
                  </a:cubicBezTo>
                  <a:cubicBezTo>
                    <a:pt x="162" y="70"/>
                    <a:pt x="162" y="70"/>
                    <a:pt x="162" y="70"/>
                  </a:cubicBezTo>
                  <a:cubicBezTo>
                    <a:pt x="162" y="70"/>
                    <a:pt x="162" y="70"/>
                    <a:pt x="162" y="70"/>
                  </a:cubicBezTo>
                  <a:cubicBezTo>
                    <a:pt x="162" y="71"/>
                    <a:pt x="162" y="71"/>
                    <a:pt x="162" y="71"/>
                  </a:cubicBezTo>
                  <a:cubicBezTo>
                    <a:pt x="162" y="71"/>
                    <a:pt x="162" y="71"/>
                    <a:pt x="162" y="71"/>
                  </a:cubicBezTo>
                  <a:cubicBezTo>
                    <a:pt x="162" y="71"/>
                    <a:pt x="162" y="71"/>
                    <a:pt x="162" y="71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161" y="72"/>
                    <a:pt x="161" y="72"/>
                    <a:pt x="161" y="72"/>
                  </a:cubicBezTo>
                  <a:cubicBezTo>
                    <a:pt x="161" y="72"/>
                    <a:pt x="161" y="72"/>
                    <a:pt x="161" y="72"/>
                  </a:cubicBezTo>
                  <a:cubicBezTo>
                    <a:pt x="161" y="72"/>
                    <a:pt x="161" y="72"/>
                    <a:pt x="161" y="72"/>
                  </a:cubicBezTo>
                  <a:cubicBezTo>
                    <a:pt x="161" y="72"/>
                    <a:pt x="160" y="73"/>
                    <a:pt x="160" y="73"/>
                  </a:cubicBezTo>
                  <a:cubicBezTo>
                    <a:pt x="159" y="73"/>
                    <a:pt x="159" y="73"/>
                    <a:pt x="159" y="73"/>
                  </a:cubicBezTo>
                  <a:cubicBezTo>
                    <a:pt x="159" y="73"/>
                    <a:pt x="160" y="74"/>
                    <a:pt x="159" y="75"/>
                  </a:cubicBezTo>
                  <a:cubicBezTo>
                    <a:pt x="159" y="75"/>
                    <a:pt x="159" y="75"/>
                    <a:pt x="159" y="75"/>
                  </a:cubicBezTo>
                  <a:cubicBezTo>
                    <a:pt x="159" y="76"/>
                    <a:pt x="159" y="76"/>
                    <a:pt x="159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57" y="77"/>
                    <a:pt x="157" y="77"/>
                    <a:pt x="157" y="77"/>
                  </a:cubicBezTo>
                  <a:cubicBezTo>
                    <a:pt x="157" y="77"/>
                    <a:pt x="157" y="77"/>
                    <a:pt x="157" y="77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78"/>
                    <a:pt x="156" y="78"/>
                    <a:pt x="156" y="78"/>
                  </a:cubicBezTo>
                  <a:cubicBezTo>
                    <a:pt x="156" y="79"/>
                    <a:pt x="156" y="79"/>
                    <a:pt x="156" y="79"/>
                  </a:cubicBezTo>
                  <a:cubicBezTo>
                    <a:pt x="156" y="79"/>
                    <a:pt x="156" y="79"/>
                    <a:pt x="156" y="79"/>
                  </a:cubicBezTo>
                  <a:cubicBezTo>
                    <a:pt x="156" y="79"/>
                    <a:pt x="156" y="79"/>
                    <a:pt x="156" y="79"/>
                  </a:cubicBezTo>
                  <a:cubicBezTo>
                    <a:pt x="156" y="79"/>
                    <a:pt x="156" y="79"/>
                    <a:pt x="156" y="79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0"/>
                  </a:cubicBezTo>
                  <a:close/>
                  <a:moveTo>
                    <a:pt x="155" y="21"/>
                  </a:moveTo>
                  <a:cubicBezTo>
                    <a:pt x="155" y="21"/>
                    <a:pt x="155" y="21"/>
                    <a:pt x="155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6" y="21"/>
                    <a:pt x="156" y="21"/>
                    <a:pt x="156" y="21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22"/>
                    <a:pt x="157" y="22"/>
                    <a:pt x="158" y="22"/>
                  </a:cubicBezTo>
                  <a:cubicBezTo>
                    <a:pt x="159" y="22"/>
                    <a:pt x="159" y="21"/>
                    <a:pt x="159" y="19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7" y="18"/>
                    <a:pt x="157" y="18"/>
                    <a:pt x="157" y="18"/>
                  </a:cubicBezTo>
                  <a:cubicBezTo>
                    <a:pt x="157" y="18"/>
                    <a:pt x="157" y="18"/>
                    <a:pt x="157" y="18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6" y="17"/>
                    <a:pt x="156" y="17"/>
                    <a:pt x="156" y="17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lnTo>
                    <a:pt x="155" y="21"/>
                  </a:lnTo>
                  <a:close/>
                  <a:moveTo>
                    <a:pt x="155" y="15"/>
                  </a:moveTo>
                  <a:cubicBezTo>
                    <a:pt x="155" y="21"/>
                    <a:pt x="155" y="21"/>
                    <a:pt x="155" y="21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4" y="20"/>
                    <a:pt x="154" y="20"/>
                    <a:pt x="154" y="20"/>
                  </a:cubicBezTo>
                  <a:cubicBezTo>
                    <a:pt x="154" y="20"/>
                    <a:pt x="154" y="20"/>
                    <a:pt x="154" y="20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2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1" y="15"/>
                    <a:pt x="151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0" y="15"/>
                    <a:pt x="149" y="15"/>
                    <a:pt x="149" y="14"/>
                  </a:cubicBezTo>
                  <a:cubicBezTo>
                    <a:pt x="149" y="14"/>
                    <a:pt x="149" y="14"/>
                    <a:pt x="149" y="14"/>
                  </a:cubicBezTo>
                  <a:cubicBezTo>
                    <a:pt x="149" y="14"/>
                    <a:pt x="149" y="14"/>
                    <a:pt x="149" y="14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47" y="13"/>
                    <a:pt x="147" y="13"/>
                    <a:pt x="147" y="13"/>
                  </a:cubicBezTo>
                  <a:cubicBezTo>
                    <a:pt x="147" y="13"/>
                    <a:pt x="147" y="13"/>
                    <a:pt x="147" y="13"/>
                  </a:cubicBezTo>
                  <a:cubicBezTo>
                    <a:pt x="147" y="13"/>
                    <a:pt x="147" y="13"/>
                    <a:pt x="147" y="13"/>
                  </a:cubicBezTo>
                  <a:cubicBezTo>
                    <a:pt x="147" y="13"/>
                    <a:pt x="147" y="13"/>
                    <a:pt x="147" y="13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1"/>
                    <a:pt x="145" y="11"/>
                    <a:pt x="145" y="11"/>
                  </a:cubicBezTo>
                  <a:cubicBezTo>
                    <a:pt x="145" y="11"/>
                    <a:pt x="145" y="11"/>
                    <a:pt x="145" y="11"/>
                  </a:cubicBezTo>
                  <a:cubicBezTo>
                    <a:pt x="145" y="11"/>
                    <a:pt x="145" y="11"/>
                    <a:pt x="145" y="11"/>
                  </a:cubicBezTo>
                  <a:cubicBezTo>
                    <a:pt x="145" y="11"/>
                    <a:pt x="145" y="11"/>
                    <a:pt x="145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10"/>
                    <a:pt x="144" y="10"/>
                    <a:pt x="144" y="10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2" y="10"/>
                    <a:pt x="142" y="9"/>
                    <a:pt x="142" y="8"/>
                  </a:cubicBezTo>
                  <a:cubicBezTo>
                    <a:pt x="142" y="8"/>
                    <a:pt x="142" y="9"/>
                    <a:pt x="141" y="9"/>
                  </a:cubicBezTo>
                  <a:cubicBezTo>
                    <a:pt x="141" y="7"/>
                    <a:pt x="141" y="7"/>
                    <a:pt x="141" y="7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1" y="7"/>
                    <a:pt x="141" y="7"/>
                    <a:pt x="141" y="7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2" y="6"/>
                    <a:pt x="143" y="6"/>
                    <a:pt x="143" y="7"/>
                  </a:cubicBezTo>
                  <a:cubicBezTo>
                    <a:pt x="143" y="7"/>
                    <a:pt x="143" y="7"/>
                    <a:pt x="143" y="8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4" y="7"/>
                    <a:pt x="144" y="7"/>
                    <a:pt x="145" y="7"/>
                  </a:cubicBezTo>
                  <a:cubicBezTo>
                    <a:pt x="145" y="7"/>
                    <a:pt x="145" y="7"/>
                    <a:pt x="145" y="7"/>
                  </a:cubicBezTo>
                  <a:cubicBezTo>
                    <a:pt x="145" y="7"/>
                    <a:pt x="145" y="7"/>
                    <a:pt x="145" y="7"/>
                  </a:cubicBezTo>
                  <a:cubicBezTo>
                    <a:pt x="146" y="7"/>
                    <a:pt x="146" y="7"/>
                    <a:pt x="146" y="7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50" y="10"/>
                    <a:pt x="150" y="10"/>
                    <a:pt x="150" y="10"/>
                  </a:cubicBezTo>
                  <a:cubicBezTo>
                    <a:pt x="150" y="10"/>
                    <a:pt x="150" y="10"/>
                    <a:pt x="150" y="10"/>
                  </a:cubicBezTo>
                  <a:cubicBezTo>
                    <a:pt x="150" y="11"/>
                    <a:pt x="150" y="11"/>
                    <a:pt x="150" y="11"/>
                  </a:cubicBezTo>
                  <a:cubicBezTo>
                    <a:pt x="150" y="11"/>
                    <a:pt x="150" y="11"/>
                    <a:pt x="150" y="11"/>
                  </a:cubicBezTo>
                  <a:cubicBezTo>
                    <a:pt x="151" y="11"/>
                    <a:pt x="151" y="11"/>
                    <a:pt x="151" y="11"/>
                  </a:cubicBezTo>
                  <a:cubicBezTo>
                    <a:pt x="151" y="11"/>
                    <a:pt x="151" y="11"/>
                    <a:pt x="151" y="11"/>
                  </a:cubicBezTo>
                  <a:cubicBezTo>
                    <a:pt x="151" y="11"/>
                    <a:pt x="151" y="11"/>
                    <a:pt x="151" y="11"/>
                  </a:cubicBezTo>
                  <a:cubicBezTo>
                    <a:pt x="151" y="11"/>
                    <a:pt x="151" y="11"/>
                    <a:pt x="151" y="11"/>
                  </a:cubicBezTo>
                  <a:cubicBezTo>
                    <a:pt x="152" y="12"/>
                    <a:pt x="152" y="13"/>
                    <a:pt x="151" y="14"/>
                  </a:cubicBezTo>
                  <a:cubicBezTo>
                    <a:pt x="152" y="13"/>
                    <a:pt x="153" y="13"/>
                    <a:pt x="154" y="14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close/>
                  <a:moveTo>
                    <a:pt x="155" y="74"/>
                  </a:moveTo>
                  <a:cubicBezTo>
                    <a:pt x="155" y="80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4" y="81"/>
                    <a:pt x="154" y="81"/>
                    <a:pt x="154" y="81"/>
                  </a:cubicBezTo>
                  <a:cubicBezTo>
                    <a:pt x="154" y="81"/>
                    <a:pt x="154" y="81"/>
                    <a:pt x="154" y="81"/>
                  </a:cubicBezTo>
                  <a:cubicBezTo>
                    <a:pt x="154" y="81"/>
                    <a:pt x="153" y="81"/>
                    <a:pt x="153" y="81"/>
                  </a:cubicBezTo>
                  <a:cubicBezTo>
                    <a:pt x="151" y="81"/>
                    <a:pt x="150" y="79"/>
                    <a:pt x="152" y="78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2" y="77"/>
                    <a:pt x="152" y="77"/>
                    <a:pt x="152" y="77"/>
                  </a:cubicBezTo>
                  <a:cubicBezTo>
                    <a:pt x="153" y="77"/>
                    <a:pt x="153" y="77"/>
                    <a:pt x="153" y="77"/>
                  </a:cubicBezTo>
                  <a:cubicBezTo>
                    <a:pt x="153" y="77"/>
                    <a:pt x="153" y="77"/>
                    <a:pt x="153" y="77"/>
                  </a:cubicBezTo>
                  <a:cubicBezTo>
                    <a:pt x="153" y="77"/>
                    <a:pt x="153" y="77"/>
                    <a:pt x="153" y="77"/>
                  </a:cubicBezTo>
                  <a:cubicBezTo>
                    <a:pt x="153" y="77"/>
                    <a:pt x="153" y="77"/>
                    <a:pt x="153" y="77"/>
                  </a:cubicBezTo>
                  <a:cubicBezTo>
                    <a:pt x="153" y="76"/>
                    <a:pt x="153" y="76"/>
                    <a:pt x="153" y="76"/>
                  </a:cubicBezTo>
                  <a:cubicBezTo>
                    <a:pt x="154" y="76"/>
                    <a:pt x="154" y="76"/>
                    <a:pt x="154" y="76"/>
                  </a:cubicBezTo>
                  <a:cubicBezTo>
                    <a:pt x="154" y="76"/>
                    <a:pt x="154" y="76"/>
                    <a:pt x="154" y="76"/>
                  </a:cubicBezTo>
                  <a:cubicBezTo>
                    <a:pt x="154" y="76"/>
                    <a:pt x="154" y="76"/>
                    <a:pt x="154" y="76"/>
                  </a:cubicBezTo>
                  <a:cubicBezTo>
                    <a:pt x="154" y="76"/>
                    <a:pt x="154" y="76"/>
                    <a:pt x="154" y="76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55" y="75"/>
                    <a:pt x="155" y="75"/>
                    <a:pt x="155" y="75"/>
                  </a:cubicBezTo>
                  <a:lnTo>
                    <a:pt x="155" y="74"/>
                  </a:lnTo>
                  <a:close/>
                  <a:moveTo>
                    <a:pt x="16" y="90"/>
                  </a:moveTo>
                  <a:cubicBezTo>
                    <a:pt x="17" y="89"/>
                    <a:pt x="17" y="87"/>
                    <a:pt x="15" y="87"/>
                  </a:cubicBezTo>
                  <a:cubicBezTo>
                    <a:pt x="15" y="87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2"/>
                    <a:pt x="11" y="92"/>
                    <a:pt x="11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8" y="94"/>
                    <a:pt x="9" y="96"/>
                    <a:pt x="9" y="96"/>
                  </a:cubicBezTo>
                  <a:cubicBezTo>
                    <a:pt x="9" y="96"/>
                    <a:pt x="8" y="96"/>
                    <a:pt x="8" y="96"/>
                  </a:cubicBezTo>
                  <a:cubicBezTo>
                    <a:pt x="8" y="96"/>
                    <a:pt x="7" y="96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6" y="97"/>
                    <a:pt x="6" y="97"/>
                    <a:pt x="6" y="97"/>
                  </a:cubicBezTo>
                  <a:cubicBezTo>
                    <a:pt x="6" y="98"/>
                    <a:pt x="6" y="98"/>
                    <a:pt x="6" y="98"/>
                  </a:cubicBezTo>
                  <a:cubicBezTo>
                    <a:pt x="6" y="98"/>
                    <a:pt x="6" y="98"/>
                    <a:pt x="6" y="98"/>
                  </a:cubicBezTo>
                  <a:cubicBezTo>
                    <a:pt x="6" y="98"/>
                    <a:pt x="6" y="98"/>
                    <a:pt x="6" y="98"/>
                  </a:cubicBezTo>
                  <a:cubicBezTo>
                    <a:pt x="6" y="98"/>
                    <a:pt x="6" y="98"/>
                    <a:pt x="6" y="98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3" y="104"/>
                    <a:pt x="3" y="105"/>
                    <a:pt x="4" y="105"/>
                  </a:cubicBezTo>
                  <a:cubicBezTo>
                    <a:pt x="4" y="105"/>
                    <a:pt x="4" y="106"/>
                    <a:pt x="4" y="106"/>
                  </a:cubicBezTo>
                  <a:cubicBezTo>
                    <a:pt x="4" y="105"/>
                    <a:pt x="3" y="106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0" y="115"/>
                    <a:pt x="1" y="115"/>
                    <a:pt x="1" y="116"/>
                  </a:cubicBezTo>
                  <a:cubicBezTo>
                    <a:pt x="1" y="116"/>
                    <a:pt x="2" y="116"/>
                    <a:pt x="2" y="116"/>
                  </a:cubicBezTo>
                  <a:cubicBezTo>
                    <a:pt x="2" y="116"/>
                    <a:pt x="1" y="116"/>
                    <a:pt x="1" y="116"/>
                  </a:cubicBezTo>
                  <a:cubicBezTo>
                    <a:pt x="0" y="117"/>
                    <a:pt x="0" y="117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26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7"/>
                    <a:pt x="1" y="127"/>
                    <a:pt x="1" y="128"/>
                  </a:cubicBezTo>
                  <a:cubicBezTo>
                    <a:pt x="1" y="128"/>
                    <a:pt x="1" y="128"/>
                    <a:pt x="1" y="129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30"/>
                    <a:pt x="1" y="130"/>
                    <a:pt x="1" y="130"/>
                  </a:cubicBezTo>
                  <a:cubicBezTo>
                    <a:pt x="1" y="130"/>
                    <a:pt x="1" y="130"/>
                    <a:pt x="1" y="130"/>
                  </a:cubicBezTo>
                  <a:cubicBezTo>
                    <a:pt x="1" y="130"/>
                    <a:pt x="1" y="130"/>
                    <a:pt x="1" y="130"/>
                  </a:cubicBezTo>
                  <a:cubicBezTo>
                    <a:pt x="1" y="131"/>
                    <a:pt x="1" y="131"/>
                    <a:pt x="1" y="131"/>
                  </a:cubicBezTo>
                  <a:cubicBezTo>
                    <a:pt x="1" y="131"/>
                    <a:pt x="1" y="131"/>
                    <a:pt x="1" y="131"/>
                  </a:cubicBezTo>
                  <a:cubicBezTo>
                    <a:pt x="1" y="131"/>
                    <a:pt x="1" y="131"/>
                    <a:pt x="1" y="131"/>
                  </a:cubicBezTo>
                  <a:cubicBezTo>
                    <a:pt x="1" y="131"/>
                    <a:pt x="1" y="131"/>
                    <a:pt x="1" y="131"/>
                  </a:cubicBezTo>
                  <a:cubicBezTo>
                    <a:pt x="1" y="132"/>
                    <a:pt x="1" y="132"/>
                    <a:pt x="1" y="132"/>
                  </a:cubicBezTo>
                  <a:cubicBezTo>
                    <a:pt x="1" y="132"/>
                    <a:pt x="1" y="132"/>
                    <a:pt x="1" y="132"/>
                  </a:cubicBezTo>
                  <a:cubicBezTo>
                    <a:pt x="1" y="132"/>
                    <a:pt x="1" y="132"/>
                    <a:pt x="1" y="132"/>
                  </a:cubicBezTo>
                  <a:cubicBezTo>
                    <a:pt x="1" y="132"/>
                    <a:pt x="1" y="132"/>
                    <a:pt x="1" y="132"/>
                  </a:cubicBezTo>
                  <a:cubicBezTo>
                    <a:pt x="1" y="133"/>
                    <a:pt x="1" y="133"/>
                    <a:pt x="1" y="133"/>
                  </a:cubicBezTo>
                  <a:cubicBezTo>
                    <a:pt x="1" y="133"/>
                    <a:pt x="1" y="133"/>
                    <a:pt x="1" y="133"/>
                  </a:cubicBezTo>
                  <a:cubicBezTo>
                    <a:pt x="2" y="133"/>
                    <a:pt x="2" y="133"/>
                    <a:pt x="2" y="133"/>
                  </a:cubicBezTo>
                  <a:cubicBezTo>
                    <a:pt x="2" y="134"/>
                    <a:pt x="2" y="134"/>
                    <a:pt x="2" y="134"/>
                  </a:cubicBezTo>
                  <a:cubicBezTo>
                    <a:pt x="2" y="134"/>
                    <a:pt x="2" y="134"/>
                    <a:pt x="2" y="134"/>
                  </a:cubicBezTo>
                  <a:cubicBezTo>
                    <a:pt x="2" y="134"/>
                    <a:pt x="2" y="134"/>
                    <a:pt x="2" y="134"/>
                  </a:cubicBezTo>
                  <a:cubicBezTo>
                    <a:pt x="2" y="134"/>
                    <a:pt x="2" y="134"/>
                    <a:pt x="2" y="134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3" y="137"/>
                    <a:pt x="4" y="138"/>
                    <a:pt x="5" y="137"/>
                  </a:cubicBezTo>
                  <a:cubicBezTo>
                    <a:pt x="4" y="138"/>
                    <a:pt x="3" y="139"/>
                    <a:pt x="4" y="140"/>
                  </a:cubicBezTo>
                  <a:cubicBezTo>
                    <a:pt x="4" y="140"/>
                    <a:pt x="4" y="140"/>
                    <a:pt x="4" y="140"/>
                  </a:cubicBezTo>
                  <a:cubicBezTo>
                    <a:pt x="4" y="140"/>
                    <a:pt x="4" y="140"/>
                    <a:pt x="4" y="140"/>
                  </a:cubicBezTo>
                  <a:cubicBezTo>
                    <a:pt x="4" y="140"/>
                    <a:pt x="4" y="140"/>
                    <a:pt x="4" y="140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5" y="142"/>
                    <a:pt x="5" y="142"/>
                    <a:pt x="5" y="142"/>
                  </a:cubicBezTo>
                  <a:cubicBezTo>
                    <a:pt x="5" y="142"/>
                    <a:pt x="5" y="142"/>
                    <a:pt x="5" y="142"/>
                  </a:cubicBezTo>
                  <a:cubicBezTo>
                    <a:pt x="5" y="142"/>
                    <a:pt x="5" y="142"/>
                    <a:pt x="5" y="142"/>
                  </a:cubicBezTo>
                  <a:cubicBezTo>
                    <a:pt x="5" y="142"/>
                    <a:pt x="5" y="142"/>
                    <a:pt x="5" y="142"/>
                  </a:cubicBezTo>
                  <a:cubicBezTo>
                    <a:pt x="5" y="143"/>
                    <a:pt x="5" y="143"/>
                    <a:pt x="5" y="143"/>
                  </a:cubicBezTo>
                  <a:cubicBezTo>
                    <a:pt x="5" y="143"/>
                    <a:pt x="5" y="143"/>
                    <a:pt x="5" y="143"/>
                  </a:cubicBezTo>
                  <a:cubicBezTo>
                    <a:pt x="5" y="143"/>
                    <a:pt x="5" y="143"/>
                    <a:pt x="5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6" y="144"/>
                    <a:pt x="6" y="144"/>
                    <a:pt x="6" y="144"/>
                  </a:cubicBezTo>
                  <a:cubicBezTo>
                    <a:pt x="6" y="144"/>
                    <a:pt x="6" y="144"/>
                    <a:pt x="6" y="144"/>
                  </a:cubicBezTo>
                  <a:cubicBezTo>
                    <a:pt x="6" y="144"/>
                    <a:pt x="6" y="144"/>
                    <a:pt x="6" y="144"/>
                  </a:cubicBezTo>
                  <a:cubicBezTo>
                    <a:pt x="6" y="144"/>
                    <a:pt x="6" y="144"/>
                    <a:pt x="6" y="144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7" y="146"/>
                    <a:pt x="7" y="146"/>
                    <a:pt x="7" y="146"/>
                  </a:cubicBezTo>
                  <a:cubicBezTo>
                    <a:pt x="7" y="146"/>
                    <a:pt x="7" y="146"/>
                    <a:pt x="7" y="146"/>
                  </a:cubicBezTo>
                  <a:cubicBezTo>
                    <a:pt x="7" y="146"/>
                    <a:pt x="7" y="146"/>
                    <a:pt x="7" y="146"/>
                  </a:cubicBezTo>
                  <a:cubicBezTo>
                    <a:pt x="8" y="147"/>
                    <a:pt x="9" y="147"/>
                    <a:pt x="10" y="147"/>
                  </a:cubicBezTo>
                  <a:cubicBezTo>
                    <a:pt x="9" y="147"/>
                    <a:pt x="9" y="148"/>
                    <a:pt x="9" y="149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9" y="150"/>
                    <a:pt x="9" y="150"/>
                    <a:pt x="9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1"/>
                    <a:pt x="11" y="151"/>
                    <a:pt x="11" y="151"/>
                  </a:cubicBezTo>
                  <a:cubicBezTo>
                    <a:pt x="11" y="151"/>
                    <a:pt x="11" y="151"/>
                    <a:pt x="11" y="151"/>
                  </a:cubicBezTo>
                  <a:cubicBezTo>
                    <a:pt x="11" y="151"/>
                    <a:pt x="11" y="151"/>
                    <a:pt x="11" y="151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12" y="152"/>
                    <a:pt x="12" y="152"/>
                    <a:pt x="12" y="152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3" y="153"/>
                    <a:pt x="13" y="153"/>
                    <a:pt x="13" y="153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14" y="154"/>
                    <a:pt x="14" y="154"/>
                    <a:pt x="14" y="154"/>
                  </a:cubicBezTo>
                  <a:cubicBezTo>
                    <a:pt x="14" y="155"/>
                    <a:pt x="14" y="155"/>
                    <a:pt x="14" y="155"/>
                  </a:cubicBezTo>
                  <a:cubicBezTo>
                    <a:pt x="14" y="155"/>
                    <a:pt x="14" y="155"/>
                    <a:pt x="14" y="155"/>
                  </a:cubicBezTo>
                  <a:cubicBezTo>
                    <a:pt x="14" y="155"/>
                    <a:pt x="14" y="155"/>
                    <a:pt x="14" y="155"/>
                  </a:cubicBezTo>
                  <a:cubicBezTo>
                    <a:pt x="15" y="156"/>
                    <a:pt x="16" y="156"/>
                    <a:pt x="17" y="155"/>
                  </a:cubicBezTo>
                  <a:cubicBezTo>
                    <a:pt x="16" y="156"/>
                    <a:pt x="16" y="157"/>
                    <a:pt x="17" y="157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17" y="158"/>
                    <a:pt x="17" y="158"/>
                    <a:pt x="17" y="158"/>
                  </a:cubicBezTo>
                  <a:cubicBezTo>
                    <a:pt x="17" y="158"/>
                    <a:pt x="17" y="158"/>
                    <a:pt x="17" y="158"/>
                  </a:cubicBezTo>
                  <a:cubicBezTo>
                    <a:pt x="18" y="158"/>
                    <a:pt x="18" y="158"/>
                    <a:pt x="18" y="158"/>
                  </a:cubicBezTo>
                  <a:cubicBezTo>
                    <a:pt x="18" y="158"/>
                    <a:pt x="18" y="158"/>
                    <a:pt x="18" y="158"/>
                  </a:cubicBezTo>
                  <a:cubicBezTo>
                    <a:pt x="18" y="158"/>
                    <a:pt x="18" y="158"/>
                    <a:pt x="18" y="158"/>
                  </a:cubicBezTo>
                  <a:cubicBezTo>
                    <a:pt x="18" y="159"/>
                    <a:pt x="18" y="159"/>
                    <a:pt x="18" y="159"/>
                  </a:cubicBezTo>
                  <a:cubicBezTo>
                    <a:pt x="18" y="159"/>
                    <a:pt x="18" y="159"/>
                    <a:pt x="18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1" y="160"/>
                    <a:pt x="21" y="160"/>
                    <a:pt x="21" y="160"/>
                  </a:cubicBezTo>
                  <a:cubicBezTo>
                    <a:pt x="21" y="160"/>
                    <a:pt x="21" y="160"/>
                    <a:pt x="21" y="160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2" y="161"/>
                    <a:pt x="22" y="161"/>
                    <a:pt x="22" y="161"/>
                  </a:cubicBezTo>
                  <a:cubicBezTo>
                    <a:pt x="22" y="161"/>
                    <a:pt x="22" y="161"/>
                    <a:pt x="22" y="161"/>
                  </a:cubicBezTo>
                  <a:cubicBezTo>
                    <a:pt x="22" y="161"/>
                    <a:pt x="22" y="161"/>
                    <a:pt x="22" y="161"/>
                  </a:cubicBezTo>
                  <a:cubicBezTo>
                    <a:pt x="22" y="161"/>
                    <a:pt x="22" y="161"/>
                    <a:pt x="22" y="161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4" y="162"/>
                    <a:pt x="25" y="162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5" y="161"/>
                    <a:pt x="25" y="162"/>
                    <a:pt x="25" y="162"/>
                  </a:cubicBezTo>
                  <a:cubicBezTo>
                    <a:pt x="25" y="163"/>
                    <a:pt x="26" y="163"/>
                    <a:pt x="26" y="163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6" y="164"/>
                    <a:pt x="26" y="164"/>
                    <a:pt x="26" y="164"/>
                  </a:cubicBezTo>
                  <a:cubicBezTo>
                    <a:pt x="27" y="164"/>
                    <a:pt x="27" y="164"/>
                    <a:pt x="27" y="164"/>
                  </a:cubicBezTo>
                  <a:cubicBezTo>
                    <a:pt x="27" y="164"/>
                    <a:pt x="27" y="164"/>
                    <a:pt x="27" y="164"/>
                  </a:cubicBezTo>
                  <a:cubicBezTo>
                    <a:pt x="27" y="164"/>
                    <a:pt x="27" y="164"/>
                    <a:pt x="27" y="164"/>
                  </a:cubicBezTo>
                  <a:cubicBezTo>
                    <a:pt x="27" y="164"/>
                    <a:pt x="27" y="164"/>
                    <a:pt x="27" y="164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0" y="165"/>
                    <a:pt x="30" y="165"/>
                    <a:pt x="30" y="165"/>
                  </a:cubicBezTo>
                  <a:cubicBezTo>
                    <a:pt x="30" y="165"/>
                    <a:pt x="30" y="165"/>
                    <a:pt x="30" y="165"/>
                  </a:cubicBezTo>
                  <a:cubicBezTo>
                    <a:pt x="30" y="165"/>
                    <a:pt x="30" y="165"/>
                    <a:pt x="30" y="165"/>
                  </a:cubicBezTo>
                  <a:cubicBezTo>
                    <a:pt x="30" y="165"/>
                    <a:pt x="30" y="165"/>
                    <a:pt x="30" y="165"/>
                  </a:cubicBezTo>
                  <a:cubicBezTo>
                    <a:pt x="31" y="165"/>
                    <a:pt x="31" y="165"/>
                    <a:pt x="31" y="165"/>
                  </a:cubicBezTo>
                  <a:cubicBezTo>
                    <a:pt x="31" y="166"/>
                    <a:pt x="31" y="166"/>
                    <a:pt x="31" y="166"/>
                  </a:cubicBezTo>
                  <a:cubicBezTo>
                    <a:pt x="31" y="166"/>
                    <a:pt x="31" y="166"/>
                    <a:pt x="31" y="166"/>
                  </a:cubicBezTo>
                  <a:cubicBezTo>
                    <a:pt x="31" y="166"/>
                    <a:pt x="31" y="166"/>
                    <a:pt x="31" y="166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3" y="166"/>
                    <a:pt x="33" y="166"/>
                    <a:pt x="33" y="166"/>
                  </a:cubicBezTo>
                  <a:cubicBezTo>
                    <a:pt x="33" y="166"/>
                    <a:pt x="33" y="166"/>
                    <a:pt x="33" y="166"/>
                  </a:cubicBezTo>
                  <a:cubicBezTo>
                    <a:pt x="33" y="166"/>
                    <a:pt x="33" y="166"/>
                    <a:pt x="33" y="166"/>
                  </a:cubicBezTo>
                  <a:cubicBezTo>
                    <a:pt x="34" y="167"/>
                    <a:pt x="35" y="166"/>
                    <a:pt x="35" y="165"/>
                  </a:cubicBezTo>
                  <a:cubicBezTo>
                    <a:pt x="35" y="165"/>
                    <a:pt x="35" y="166"/>
                    <a:pt x="36" y="166"/>
                  </a:cubicBezTo>
                  <a:cubicBezTo>
                    <a:pt x="36" y="167"/>
                    <a:pt x="36" y="167"/>
                    <a:pt x="37" y="167"/>
                  </a:cubicBezTo>
                  <a:cubicBezTo>
                    <a:pt x="37" y="167"/>
                    <a:pt x="37" y="167"/>
                    <a:pt x="37" y="167"/>
                  </a:cubicBezTo>
                  <a:cubicBezTo>
                    <a:pt x="37" y="167"/>
                    <a:pt x="37" y="167"/>
                    <a:pt x="37" y="167"/>
                  </a:cubicBezTo>
                  <a:cubicBezTo>
                    <a:pt x="38" y="167"/>
                    <a:pt x="38" y="167"/>
                    <a:pt x="38" y="167"/>
                  </a:cubicBezTo>
                  <a:cubicBezTo>
                    <a:pt x="38" y="167"/>
                    <a:pt x="38" y="167"/>
                    <a:pt x="38" y="167"/>
                  </a:cubicBezTo>
                  <a:cubicBezTo>
                    <a:pt x="38" y="167"/>
                    <a:pt x="38" y="167"/>
                    <a:pt x="38" y="167"/>
                  </a:cubicBezTo>
                  <a:cubicBezTo>
                    <a:pt x="38" y="168"/>
                    <a:pt x="38" y="168"/>
                    <a:pt x="38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40" y="168"/>
                    <a:pt x="40" y="168"/>
                    <a:pt x="40" y="168"/>
                  </a:cubicBezTo>
                  <a:cubicBezTo>
                    <a:pt x="40" y="168"/>
                    <a:pt x="40" y="168"/>
                    <a:pt x="40" y="168"/>
                  </a:cubicBezTo>
                  <a:cubicBezTo>
                    <a:pt x="40" y="168"/>
                    <a:pt x="40" y="168"/>
                    <a:pt x="40" y="168"/>
                  </a:cubicBezTo>
                  <a:cubicBezTo>
                    <a:pt x="41" y="168"/>
                    <a:pt x="41" y="168"/>
                    <a:pt x="41" y="168"/>
                  </a:cubicBezTo>
                  <a:cubicBezTo>
                    <a:pt x="41" y="168"/>
                    <a:pt x="41" y="168"/>
                    <a:pt x="41" y="168"/>
                  </a:cubicBezTo>
                  <a:cubicBezTo>
                    <a:pt x="41" y="168"/>
                    <a:pt x="41" y="168"/>
                    <a:pt x="41" y="168"/>
                  </a:cubicBezTo>
                  <a:cubicBezTo>
                    <a:pt x="41" y="168"/>
                    <a:pt x="41" y="168"/>
                    <a:pt x="41" y="168"/>
                  </a:cubicBezTo>
                  <a:cubicBezTo>
                    <a:pt x="42" y="168"/>
                    <a:pt x="42" y="168"/>
                    <a:pt x="42" y="168"/>
                  </a:cubicBezTo>
                  <a:cubicBezTo>
                    <a:pt x="42" y="168"/>
                    <a:pt x="42" y="168"/>
                    <a:pt x="42" y="168"/>
                  </a:cubicBezTo>
                  <a:cubicBezTo>
                    <a:pt x="42" y="168"/>
                    <a:pt x="42" y="168"/>
                    <a:pt x="42" y="168"/>
                  </a:cubicBezTo>
                  <a:cubicBezTo>
                    <a:pt x="43" y="168"/>
                    <a:pt x="43" y="168"/>
                    <a:pt x="43" y="168"/>
                  </a:cubicBezTo>
                  <a:cubicBezTo>
                    <a:pt x="43" y="168"/>
                    <a:pt x="43" y="168"/>
                    <a:pt x="43" y="168"/>
                  </a:cubicBezTo>
                  <a:cubicBezTo>
                    <a:pt x="43" y="168"/>
                    <a:pt x="43" y="168"/>
                    <a:pt x="43" y="168"/>
                  </a:cubicBezTo>
                  <a:cubicBezTo>
                    <a:pt x="43" y="168"/>
                    <a:pt x="43" y="168"/>
                    <a:pt x="43" y="168"/>
                  </a:cubicBezTo>
                  <a:cubicBezTo>
                    <a:pt x="44" y="168"/>
                    <a:pt x="44" y="168"/>
                    <a:pt x="44" y="168"/>
                  </a:cubicBezTo>
                  <a:cubicBezTo>
                    <a:pt x="44" y="168"/>
                    <a:pt x="44" y="168"/>
                    <a:pt x="44" y="168"/>
                  </a:cubicBezTo>
                  <a:cubicBezTo>
                    <a:pt x="44" y="168"/>
                    <a:pt x="44" y="168"/>
                    <a:pt x="44" y="168"/>
                  </a:cubicBezTo>
                  <a:cubicBezTo>
                    <a:pt x="45" y="168"/>
                    <a:pt x="46" y="168"/>
                    <a:pt x="46" y="167"/>
                  </a:cubicBezTo>
                  <a:cubicBezTo>
                    <a:pt x="46" y="167"/>
                    <a:pt x="46" y="167"/>
                    <a:pt x="46" y="167"/>
                  </a:cubicBezTo>
                  <a:cubicBezTo>
                    <a:pt x="46" y="167"/>
                    <a:pt x="47" y="168"/>
                    <a:pt x="48" y="168"/>
                  </a:cubicBezTo>
                  <a:cubicBezTo>
                    <a:pt x="48" y="168"/>
                    <a:pt x="48" y="168"/>
                    <a:pt x="48" y="168"/>
                  </a:cubicBezTo>
                  <a:cubicBezTo>
                    <a:pt x="48" y="168"/>
                    <a:pt x="48" y="168"/>
                    <a:pt x="48" y="168"/>
                  </a:cubicBezTo>
                  <a:cubicBezTo>
                    <a:pt x="48" y="168"/>
                    <a:pt x="48" y="168"/>
                    <a:pt x="48" y="168"/>
                  </a:cubicBezTo>
                  <a:cubicBezTo>
                    <a:pt x="49" y="168"/>
                    <a:pt x="49" y="168"/>
                    <a:pt x="49" y="168"/>
                  </a:cubicBezTo>
                  <a:cubicBezTo>
                    <a:pt x="49" y="168"/>
                    <a:pt x="49" y="168"/>
                    <a:pt x="49" y="168"/>
                  </a:cubicBezTo>
                  <a:cubicBezTo>
                    <a:pt x="49" y="168"/>
                    <a:pt x="49" y="168"/>
                    <a:pt x="49" y="168"/>
                  </a:cubicBezTo>
                  <a:cubicBezTo>
                    <a:pt x="50" y="168"/>
                    <a:pt x="50" y="168"/>
                    <a:pt x="50" y="168"/>
                  </a:cubicBezTo>
                  <a:cubicBezTo>
                    <a:pt x="50" y="168"/>
                    <a:pt x="50" y="168"/>
                    <a:pt x="50" y="168"/>
                  </a:cubicBezTo>
                  <a:cubicBezTo>
                    <a:pt x="50" y="168"/>
                    <a:pt x="50" y="168"/>
                    <a:pt x="50" y="168"/>
                  </a:cubicBezTo>
                  <a:cubicBezTo>
                    <a:pt x="50" y="168"/>
                    <a:pt x="50" y="168"/>
                    <a:pt x="50" y="168"/>
                  </a:cubicBezTo>
                  <a:cubicBezTo>
                    <a:pt x="51" y="168"/>
                    <a:pt x="51" y="168"/>
                    <a:pt x="51" y="168"/>
                  </a:cubicBezTo>
                  <a:cubicBezTo>
                    <a:pt x="51" y="168"/>
                    <a:pt x="51" y="168"/>
                    <a:pt x="51" y="168"/>
                  </a:cubicBezTo>
                  <a:cubicBezTo>
                    <a:pt x="51" y="168"/>
                    <a:pt x="51" y="168"/>
                    <a:pt x="51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53" y="168"/>
                    <a:pt x="53" y="168"/>
                    <a:pt x="53" y="168"/>
                  </a:cubicBezTo>
                  <a:cubicBezTo>
                    <a:pt x="53" y="168"/>
                    <a:pt x="53" y="168"/>
                    <a:pt x="53" y="168"/>
                  </a:cubicBezTo>
                  <a:cubicBezTo>
                    <a:pt x="53" y="168"/>
                    <a:pt x="53" y="168"/>
                    <a:pt x="53" y="168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5" y="168"/>
                    <a:pt x="55" y="168"/>
                    <a:pt x="55" y="168"/>
                  </a:cubicBezTo>
                  <a:cubicBezTo>
                    <a:pt x="55" y="168"/>
                    <a:pt x="55" y="168"/>
                    <a:pt x="55" y="168"/>
                  </a:cubicBezTo>
                  <a:cubicBezTo>
                    <a:pt x="55" y="168"/>
                    <a:pt x="55" y="168"/>
                    <a:pt x="55" y="168"/>
                  </a:cubicBezTo>
                  <a:cubicBezTo>
                    <a:pt x="56" y="167"/>
                    <a:pt x="57" y="167"/>
                    <a:pt x="57" y="166"/>
                  </a:cubicBezTo>
                  <a:cubicBezTo>
                    <a:pt x="57" y="166"/>
                    <a:pt x="57" y="166"/>
                    <a:pt x="57" y="167"/>
                  </a:cubicBezTo>
                  <a:cubicBezTo>
                    <a:pt x="58" y="167"/>
                    <a:pt x="58" y="167"/>
                    <a:pt x="59" y="167"/>
                  </a:cubicBezTo>
                  <a:cubicBezTo>
                    <a:pt x="59" y="167"/>
                    <a:pt x="59" y="167"/>
                    <a:pt x="59" y="167"/>
                  </a:cubicBezTo>
                  <a:cubicBezTo>
                    <a:pt x="59" y="167"/>
                    <a:pt x="59" y="167"/>
                    <a:pt x="59" y="167"/>
                  </a:cubicBezTo>
                  <a:cubicBezTo>
                    <a:pt x="59" y="167"/>
                    <a:pt x="59" y="167"/>
                    <a:pt x="59" y="167"/>
                  </a:cubicBezTo>
                  <a:cubicBezTo>
                    <a:pt x="60" y="167"/>
                    <a:pt x="60" y="167"/>
                    <a:pt x="60" y="167"/>
                  </a:cubicBezTo>
                  <a:cubicBezTo>
                    <a:pt x="60" y="167"/>
                    <a:pt x="60" y="167"/>
                    <a:pt x="60" y="167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1" y="166"/>
                    <a:pt x="61" y="166"/>
                    <a:pt x="61" y="166"/>
                  </a:cubicBezTo>
                  <a:cubicBezTo>
                    <a:pt x="61" y="166"/>
                    <a:pt x="61" y="166"/>
                    <a:pt x="61" y="166"/>
                  </a:cubicBezTo>
                  <a:cubicBezTo>
                    <a:pt x="61" y="166"/>
                    <a:pt x="61" y="166"/>
                    <a:pt x="61" y="166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63" y="166"/>
                    <a:pt x="63" y="166"/>
                    <a:pt x="63" y="166"/>
                  </a:cubicBezTo>
                  <a:cubicBezTo>
                    <a:pt x="63" y="166"/>
                    <a:pt x="63" y="166"/>
                    <a:pt x="63" y="166"/>
                  </a:cubicBezTo>
                  <a:cubicBezTo>
                    <a:pt x="63" y="166"/>
                    <a:pt x="63" y="166"/>
                    <a:pt x="63" y="166"/>
                  </a:cubicBezTo>
                  <a:cubicBezTo>
                    <a:pt x="63" y="165"/>
                    <a:pt x="63" y="165"/>
                    <a:pt x="63" y="165"/>
                  </a:cubicBezTo>
                  <a:cubicBezTo>
                    <a:pt x="64" y="165"/>
                    <a:pt x="64" y="165"/>
                    <a:pt x="64" y="165"/>
                  </a:cubicBezTo>
                  <a:cubicBezTo>
                    <a:pt x="64" y="165"/>
                    <a:pt x="64" y="165"/>
                    <a:pt x="64" y="165"/>
                  </a:cubicBezTo>
                  <a:cubicBezTo>
                    <a:pt x="64" y="165"/>
                    <a:pt x="64" y="165"/>
                    <a:pt x="64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6" y="165"/>
                    <a:pt x="66" y="165"/>
                    <a:pt x="66" y="165"/>
                  </a:cubicBezTo>
                  <a:cubicBezTo>
                    <a:pt x="66" y="164"/>
                    <a:pt x="66" y="164"/>
                    <a:pt x="66" y="164"/>
                  </a:cubicBezTo>
                  <a:cubicBezTo>
                    <a:pt x="66" y="164"/>
                    <a:pt x="67" y="164"/>
                    <a:pt x="67" y="163"/>
                  </a:cubicBezTo>
                  <a:cubicBezTo>
                    <a:pt x="67" y="163"/>
                    <a:pt x="67" y="162"/>
                    <a:pt x="67" y="162"/>
                  </a:cubicBezTo>
                  <a:cubicBezTo>
                    <a:pt x="67" y="162"/>
                    <a:pt x="67" y="162"/>
                    <a:pt x="67" y="162"/>
                  </a:cubicBezTo>
                  <a:cubicBezTo>
                    <a:pt x="67" y="163"/>
                    <a:pt x="68" y="163"/>
                    <a:pt x="69" y="163"/>
                  </a:cubicBezTo>
                  <a:cubicBezTo>
                    <a:pt x="69" y="163"/>
                    <a:pt x="69" y="163"/>
                    <a:pt x="69" y="163"/>
                  </a:cubicBezTo>
                  <a:cubicBezTo>
                    <a:pt x="70" y="163"/>
                    <a:pt x="70" y="163"/>
                    <a:pt x="70" y="163"/>
                  </a:cubicBezTo>
                  <a:cubicBezTo>
                    <a:pt x="70" y="163"/>
                    <a:pt x="70" y="163"/>
                    <a:pt x="70" y="163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70" y="162"/>
                    <a:pt x="70" y="162"/>
                    <a:pt x="70" y="162"/>
                  </a:cubicBezTo>
                  <a:cubicBezTo>
                    <a:pt x="71" y="162"/>
                    <a:pt x="71" y="162"/>
                    <a:pt x="71" y="162"/>
                  </a:cubicBezTo>
                  <a:cubicBezTo>
                    <a:pt x="71" y="162"/>
                    <a:pt x="71" y="162"/>
                    <a:pt x="71" y="162"/>
                  </a:cubicBezTo>
                  <a:cubicBezTo>
                    <a:pt x="71" y="162"/>
                    <a:pt x="71" y="162"/>
                    <a:pt x="71" y="162"/>
                  </a:cubicBezTo>
                  <a:cubicBezTo>
                    <a:pt x="71" y="162"/>
                    <a:pt x="71" y="162"/>
                    <a:pt x="71" y="162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73" y="160"/>
                    <a:pt x="73" y="160"/>
                    <a:pt x="73" y="160"/>
                  </a:cubicBezTo>
                  <a:cubicBezTo>
                    <a:pt x="74" y="160"/>
                    <a:pt x="74" y="160"/>
                    <a:pt x="74" y="160"/>
                  </a:cubicBezTo>
                  <a:cubicBezTo>
                    <a:pt x="74" y="160"/>
                    <a:pt x="74" y="160"/>
                    <a:pt x="74" y="160"/>
                  </a:cubicBezTo>
                  <a:cubicBezTo>
                    <a:pt x="74" y="160"/>
                    <a:pt x="74" y="160"/>
                    <a:pt x="74" y="160"/>
                  </a:cubicBezTo>
                  <a:cubicBezTo>
                    <a:pt x="74" y="160"/>
                    <a:pt x="74" y="160"/>
                    <a:pt x="74" y="160"/>
                  </a:cubicBezTo>
                  <a:cubicBezTo>
                    <a:pt x="74" y="160"/>
                    <a:pt x="74" y="160"/>
                    <a:pt x="74" y="160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6" y="158"/>
                    <a:pt x="76" y="157"/>
                    <a:pt x="76" y="156"/>
                  </a:cubicBezTo>
                  <a:cubicBezTo>
                    <a:pt x="76" y="157"/>
                    <a:pt x="76" y="157"/>
                    <a:pt x="77" y="157"/>
                  </a:cubicBezTo>
                  <a:cubicBezTo>
                    <a:pt x="77" y="157"/>
                    <a:pt x="78" y="157"/>
                    <a:pt x="78" y="157"/>
                  </a:cubicBezTo>
                  <a:cubicBezTo>
                    <a:pt x="78" y="156"/>
                    <a:pt x="78" y="156"/>
                    <a:pt x="78" y="156"/>
                  </a:cubicBezTo>
                  <a:cubicBezTo>
                    <a:pt x="79" y="156"/>
                    <a:pt x="79" y="156"/>
                    <a:pt x="79" y="156"/>
                  </a:cubicBezTo>
                  <a:cubicBezTo>
                    <a:pt x="79" y="156"/>
                    <a:pt x="79" y="156"/>
                    <a:pt x="79" y="156"/>
                  </a:cubicBezTo>
                  <a:cubicBezTo>
                    <a:pt x="79" y="156"/>
                    <a:pt x="79" y="156"/>
                    <a:pt x="79" y="156"/>
                  </a:cubicBezTo>
                  <a:cubicBezTo>
                    <a:pt x="79" y="156"/>
                    <a:pt x="79" y="156"/>
                    <a:pt x="79" y="156"/>
                  </a:cubicBezTo>
                  <a:cubicBezTo>
                    <a:pt x="80" y="155"/>
                    <a:pt x="80" y="155"/>
                    <a:pt x="80" y="155"/>
                  </a:cubicBezTo>
                  <a:cubicBezTo>
                    <a:pt x="80" y="155"/>
                    <a:pt x="80" y="155"/>
                    <a:pt x="80" y="155"/>
                  </a:cubicBezTo>
                  <a:cubicBezTo>
                    <a:pt x="80" y="155"/>
                    <a:pt x="80" y="155"/>
                    <a:pt x="80" y="155"/>
                  </a:cubicBezTo>
                  <a:cubicBezTo>
                    <a:pt x="80" y="155"/>
                    <a:pt x="80" y="155"/>
                    <a:pt x="80" y="155"/>
                  </a:cubicBezTo>
                  <a:cubicBezTo>
                    <a:pt x="80" y="155"/>
                    <a:pt x="80" y="155"/>
                    <a:pt x="80" y="155"/>
                  </a:cubicBezTo>
                  <a:cubicBezTo>
                    <a:pt x="82" y="153"/>
                    <a:pt x="81" y="152"/>
                    <a:pt x="79" y="152"/>
                  </a:cubicBezTo>
                  <a:cubicBezTo>
                    <a:pt x="79" y="152"/>
                    <a:pt x="78" y="152"/>
                    <a:pt x="78" y="152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77" y="153"/>
                    <a:pt x="77" y="153"/>
                    <a:pt x="77" y="153"/>
                  </a:cubicBezTo>
                  <a:cubicBezTo>
                    <a:pt x="77" y="153"/>
                    <a:pt x="77" y="153"/>
                    <a:pt x="77" y="153"/>
                  </a:cubicBezTo>
                  <a:cubicBezTo>
                    <a:pt x="77" y="153"/>
                    <a:pt x="77" y="153"/>
                    <a:pt x="77" y="153"/>
                  </a:cubicBezTo>
                  <a:cubicBezTo>
                    <a:pt x="77" y="153"/>
                    <a:pt x="77" y="153"/>
                    <a:pt x="77" y="153"/>
                  </a:cubicBezTo>
                  <a:cubicBezTo>
                    <a:pt x="76" y="153"/>
                    <a:pt x="76" y="153"/>
                    <a:pt x="76" y="153"/>
                  </a:cubicBezTo>
                  <a:cubicBezTo>
                    <a:pt x="76" y="154"/>
                    <a:pt x="76" y="154"/>
                    <a:pt x="76" y="154"/>
                  </a:cubicBezTo>
                  <a:cubicBezTo>
                    <a:pt x="76" y="154"/>
                    <a:pt x="76" y="154"/>
                    <a:pt x="76" y="154"/>
                  </a:cubicBezTo>
                  <a:cubicBezTo>
                    <a:pt x="76" y="154"/>
                    <a:pt x="76" y="154"/>
                    <a:pt x="76" y="154"/>
                  </a:cubicBezTo>
                  <a:cubicBezTo>
                    <a:pt x="75" y="154"/>
                    <a:pt x="75" y="156"/>
                    <a:pt x="76" y="156"/>
                  </a:cubicBezTo>
                  <a:cubicBezTo>
                    <a:pt x="76" y="156"/>
                    <a:pt x="75" y="156"/>
                    <a:pt x="75" y="156"/>
                  </a:cubicBezTo>
                  <a:cubicBezTo>
                    <a:pt x="75" y="156"/>
                    <a:pt x="74" y="156"/>
                    <a:pt x="73" y="156"/>
                  </a:cubicBezTo>
                  <a:cubicBezTo>
                    <a:pt x="73" y="156"/>
                    <a:pt x="73" y="156"/>
                    <a:pt x="73" y="156"/>
                  </a:cubicBezTo>
                  <a:cubicBezTo>
                    <a:pt x="73" y="156"/>
                    <a:pt x="73" y="156"/>
                    <a:pt x="73" y="156"/>
                  </a:cubicBezTo>
                  <a:cubicBezTo>
                    <a:pt x="73" y="156"/>
                    <a:pt x="73" y="156"/>
                    <a:pt x="73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1" y="157"/>
                    <a:pt x="71" y="157"/>
                    <a:pt x="71" y="157"/>
                  </a:cubicBezTo>
                  <a:cubicBezTo>
                    <a:pt x="71" y="157"/>
                    <a:pt x="71" y="157"/>
                    <a:pt x="71" y="157"/>
                  </a:cubicBezTo>
                  <a:cubicBezTo>
                    <a:pt x="71" y="158"/>
                    <a:pt x="71" y="158"/>
                    <a:pt x="71" y="158"/>
                  </a:cubicBezTo>
                  <a:cubicBezTo>
                    <a:pt x="71" y="158"/>
                    <a:pt x="71" y="158"/>
                    <a:pt x="71" y="158"/>
                  </a:cubicBezTo>
                  <a:cubicBezTo>
                    <a:pt x="71" y="158"/>
                    <a:pt x="71" y="158"/>
                    <a:pt x="71" y="158"/>
                  </a:cubicBezTo>
                  <a:cubicBezTo>
                    <a:pt x="70" y="158"/>
                    <a:pt x="70" y="158"/>
                    <a:pt x="70" y="158"/>
                  </a:cubicBezTo>
                  <a:cubicBezTo>
                    <a:pt x="70" y="158"/>
                    <a:pt x="70" y="158"/>
                    <a:pt x="70" y="158"/>
                  </a:cubicBezTo>
                  <a:cubicBezTo>
                    <a:pt x="70" y="158"/>
                    <a:pt x="70" y="158"/>
                    <a:pt x="70" y="158"/>
                  </a:cubicBezTo>
                  <a:cubicBezTo>
                    <a:pt x="70" y="158"/>
                    <a:pt x="70" y="158"/>
                    <a:pt x="70" y="158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68" y="159"/>
                    <a:pt x="68" y="159"/>
                    <a:pt x="68" y="159"/>
                  </a:cubicBezTo>
                  <a:cubicBezTo>
                    <a:pt x="68" y="159"/>
                    <a:pt x="68" y="159"/>
                    <a:pt x="68" y="159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67" y="160"/>
                    <a:pt x="66" y="161"/>
                    <a:pt x="67" y="162"/>
                  </a:cubicBezTo>
                  <a:cubicBezTo>
                    <a:pt x="66" y="161"/>
                    <a:pt x="65" y="161"/>
                    <a:pt x="64" y="161"/>
                  </a:cubicBezTo>
                  <a:cubicBezTo>
                    <a:pt x="64" y="161"/>
                    <a:pt x="64" y="161"/>
                    <a:pt x="64" y="161"/>
                  </a:cubicBezTo>
                  <a:cubicBezTo>
                    <a:pt x="64" y="161"/>
                    <a:pt x="64" y="161"/>
                    <a:pt x="64" y="161"/>
                  </a:cubicBezTo>
                  <a:cubicBezTo>
                    <a:pt x="64" y="161"/>
                    <a:pt x="64" y="161"/>
                    <a:pt x="64" y="161"/>
                  </a:cubicBezTo>
                  <a:cubicBezTo>
                    <a:pt x="63" y="162"/>
                    <a:pt x="63" y="162"/>
                    <a:pt x="63" y="162"/>
                  </a:cubicBezTo>
                  <a:cubicBezTo>
                    <a:pt x="63" y="162"/>
                    <a:pt x="63" y="162"/>
                    <a:pt x="63" y="162"/>
                  </a:cubicBezTo>
                  <a:cubicBezTo>
                    <a:pt x="63" y="162"/>
                    <a:pt x="63" y="162"/>
                    <a:pt x="63" y="162"/>
                  </a:cubicBezTo>
                  <a:cubicBezTo>
                    <a:pt x="63" y="162"/>
                    <a:pt x="63" y="162"/>
                    <a:pt x="63" y="162"/>
                  </a:cubicBezTo>
                  <a:cubicBezTo>
                    <a:pt x="62" y="162"/>
                    <a:pt x="62" y="162"/>
                    <a:pt x="62" y="162"/>
                  </a:cubicBezTo>
                  <a:cubicBezTo>
                    <a:pt x="62" y="162"/>
                    <a:pt x="62" y="162"/>
                    <a:pt x="62" y="162"/>
                  </a:cubicBezTo>
                  <a:cubicBezTo>
                    <a:pt x="62" y="162"/>
                    <a:pt x="62" y="162"/>
                    <a:pt x="62" y="162"/>
                  </a:cubicBezTo>
                  <a:cubicBezTo>
                    <a:pt x="62" y="162"/>
                    <a:pt x="62" y="162"/>
                    <a:pt x="62" y="162"/>
                  </a:cubicBezTo>
                  <a:cubicBezTo>
                    <a:pt x="61" y="162"/>
                    <a:pt x="61" y="162"/>
                    <a:pt x="61" y="162"/>
                  </a:cubicBezTo>
                  <a:cubicBezTo>
                    <a:pt x="61" y="162"/>
                    <a:pt x="61" y="162"/>
                    <a:pt x="61" y="162"/>
                  </a:cubicBezTo>
                  <a:cubicBezTo>
                    <a:pt x="61" y="162"/>
                    <a:pt x="61" y="162"/>
                    <a:pt x="61" y="162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3"/>
                    <a:pt x="58" y="163"/>
                    <a:pt x="58" y="163"/>
                  </a:cubicBezTo>
                  <a:cubicBezTo>
                    <a:pt x="58" y="163"/>
                    <a:pt x="58" y="163"/>
                    <a:pt x="58" y="163"/>
                  </a:cubicBezTo>
                  <a:cubicBezTo>
                    <a:pt x="58" y="163"/>
                    <a:pt x="58" y="163"/>
                    <a:pt x="58" y="163"/>
                  </a:cubicBezTo>
                  <a:cubicBezTo>
                    <a:pt x="58" y="163"/>
                    <a:pt x="58" y="163"/>
                    <a:pt x="58" y="163"/>
                  </a:cubicBezTo>
                  <a:cubicBezTo>
                    <a:pt x="57" y="164"/>
                    <a:pt x="56" y="165"/>
                    <a:pt x="57" y="165"/>
                  </a:cubicBezTo>
                  <a:cubicBezTo>
                    <a:pt x="57" y="165"/>
                    <a:pt x="57" y="165"/>
                    <a:pt x="57" y="165"/>
                  </a:cubicBezTo>
                  <a:cubicBezTo>
                    <a:pt x="56" y="164"/>
                    <a:pt x="55" y="164"/>
                    <a:pt x="55" y="164"/>
                  </a:cubicBezTo>
                  <a:cubicBezTo>
                    <a:pt x="54" y="164"/>
                    <a:pt x="54" y="164"/>
                    <a:pt x="54" y="164"/>
                  </a:cubicBezTo>
                  <a:cubicBezTo>
                    <a:pt x="54" y="164"/>
                    <a:pt x="54" y="164"/>
                    <a:pt x="54" y="164"/>
                  </a:cubicBezTo>
                  <a:cubicBezTo>
                    <a:pt x="54" y="164"/>
                    <a:pt x="54" y="164"/>
                    <a:pt x="54" y="164"/>
                  </a:cubicBezTo>
                  <a:cubicBezTo>
                    <a:pt x="54" y="164"/>
                    <a:pt x="54" y="164"/>
                    <a:pt x="54" y="164"/>
                  </a:cubicBezTo>
                  <a:cubicBezTo>
                    <a:pt x="53" y="164"/>
                    <a:pt x="53" y="164"/>
                    <a:pt x="53" y="164"/>
                  </a:cubicBezTo>
                  <a:cubicBezTo>
                    <a:pt x="53" y="164"/>
                    <a:pt x="53" y="164"/>
                    <a:pt x="53" y="164"/>
                  </a:cubicBezTo>
                  <a:cubicBezTo>
                    <a:pt x="53" y="164"/>
                    <a:pt x="53" y="164"/>
                    <a:pt x="53" y="164"/>
                  </a:cubicBezTo>
                  <a:cubicBezTo>
                    <a:pt x="53" y="164"/>
                    <a:pt x="53" y="164"/>
                    <a:pt x="53" y="164"/>
                  </a:cubicBezTo>
                  <a:cubicBezTo>
                    <a:pt x="52" y="164"/>
                    <a:pt x="52" y="164"/>
                    <a:pt x="52" y="164"/>
                  </a:cubicBezTo>
                  <a:cubicBezTo>
                    <a:pt x="52" y="164"/>
                    <a:pt x="52" y="164"/>
                    <a:pt x="52" y="164"/>
                  </a:cubicBezTo>
                  <a:cubicBezTo>
                    <a:pt x="52" y="164"/>
                    <a:pt x="52" y="164"/>
                    <a:pt x="52" y="164"/>
                  </a:cubicBezTo>
                  <a:cubicBezTo>
                    <a:pt x="52" y="165"/>
                    <a:pt x="52" y="165"/>
                    <a:pt x="52" y="165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50" y="165"/>
                    <a:pt x="50" y="165"/>
                    <a:pt x="50" y="165"/>
                  </a:cubicBezTo>
                  <a:cubicBezTo>
                    <a:pt x="50" y="165"/>
                    <a:pt x="50" y="165"/>
                    <a:pt x="50" y="165"/>
                  </a:cubicBezTo>
                  <a:cubicBezTo>
                    <a:pt x="50" y="165"/>
                    <a:pt x="50" y="165"/>
                    <a:pt x="50" y="165"/>
                  </a:cubicBezTo>
                  <a:cubicBezTo>
                    <a:pt x="50" y="165"/>
                    <a:pt x="50" y="165"/>
                    <a:pt x="50" y="165"/>
                  </a:cubicBezTo>
                  <a:cubicBezTo>
                    <a:pt x="49" y="165"/>
                    <a:pt x="49" y="165"/>
                    <a:pt x="49" y="165"/>
                  </a:cubicBezTo>
                  <a:cubicBezTo>
                    <a:pt x="49" y="165"/>
                    <a:pt x="49" y="165"/>
                    <a:pt x="49" y="165"/>
                  </a:cubicBezTo>
                  <a:cubicBezTo>
                    <a:pt x="49" y="165"/>
                    <a:pt x="49" y="165"/>
                    <a:pt x="49" y="165"/>
                  </a:cubicBezTo>
                  <a:cubicBezTo>
                    <a:pt x="49" y="165"/>
                    <a:pt x="49" y="165"/>
                    <a:pt x="49" y="165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7" y="165"/>
                    <a:pt x="46" y="165"/>
                    <a:pt x="46" y="166"/>
                  </a:cubicBezTo>
                  <a:cubicBezTo>
                    <a:pt x="46" y="166"/>
                    <a:pt x="46" y="166"/>
                    <a:pt x="46" y="166"/>
                  </a:cubicBezTo>
                  <a:cubicBezTo>
                    <a:pt x="46" y="166"/>
                    <a:pt x="45" y="165"/>
                    <a:pt x="44" y="165"/>
                  </a:cubicBezTo>
                  <a:cubicBezTo>
                    <a:pt x="44" y="165"/>
                    <a:pt x="44" y="165"/>
                    <a:pt x="44" y="165"/>
                  </a:cubicBezTo>
                  <a:cubicBezTo>
                    <a:pt x="44" y="165"/>
                    <a:pt x="44" y="165"/>
                    <a:pt x="44" y="165"/>
                  </a:cubicBezTo>
                  <a:cubicBezTo>
                    <a:pt x="44" y="165"/>
                    <a:pt x="44" y="165"/>
                    <a:pt x="44" y="165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41" y="164"/>
                    <a:pt x="41" y="164"/>
                    <a:pt x="41" y="164"/>
                  </a:cubicBezTo>
                  <a:cubicBezTo>
                    <a:pt x="41" y="164"/>
                    <a:pt x="41" y="164"/>
                    <a:pt x="41" y="164"/>
                  </a:cubicBezTo>
                  <a:cubicBezTo>
                    <a:pt x="41" y="164"/>
                    <a:pt x="41" y="164"/>
                    <a:pt x="41" y="164"/>
                  </a:cubicBezTo>
                  <a:cubicBezTo>
                    <a:pt x="41" y="164"/>
                    <a:pt x="41" y="164"/>
                    <a:pt x="41" y="164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9" y="164"/>
                    <a:pt x="39" y="164"/>
                    <a:pt x="39" y="164"/>
                  </a:cubicBezTo>
                  <a:cubicBezTo>
                    <a:pt x="39" y="164"/>
                    <a:pt x="39" y="164"/>
                    <a:pt x="39" y="164"/>
                  </a:cubicBezTo>
                  <a:cubicBezTo>
                    <a:pt x="39" y="164"/>
                    <a:pt x="39" y="164"/>
                    <a:pt x="39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6" y="163"/>
                    <a:pt x="36" y="164"/>
                    <a:pt x="35" y="165"/>
                  </a:cubicBezTo>
                  <a:cubicBezTo>
                    <a:pt x="35" y="165"/>
                    <a:pt x="35" y="164"/>
                    <a:pt x="35" y="164"/>
                  </a:cubicBezTo>
                  <a:cubicBezTo>
                    <a:pt x="35" y="163"/>
                    <a:pt x="35" y="163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3" y="163"/>
                    <a:pt x="33" y="163"/>
                    <a:pt x="33" y="163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28" y="161"/>
                    <a:pt x="28" y="161"/>
                    <a:pt x="28" y="161"/>
                  </a:cubicBezTo>
                  <a:cubicBezTo>
                    <a:pt x="28" y="161"/>
                    <a:pt x="28" y="161"/>
                    <a:pt x="28" y="161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7" y="160"/>
                    <a:pt x="26" y="160"/>
                    <a:pt x="25" y="161"/>
                  </a:cubicBezTo>
                  <a:cubicBezTo>
                    <a:pt x="26" y="160"/>
                    <a:pt x="26" y="159"/>
                    <a:pt x="25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23" y="158"/>
                    <a:pt x="23" y="158"/>
                    <a:pt x="23" y="158"/>
                  </a:cubicBezTo>
                  <a:cubicBezTo>
                    <a:pt x="23" y="158"/>
                    <a:pt x="23" y="158"/>
                    <a:pt x="23" y="158"/>
                  </a:cubicBezTo>
                  <a:cubicBezTo>
                    <a:pt x="23" y="157"/>
                    <a:pt x="23" y="157"/>
                    <a:pt x="23" y="157"/>
                  </a:cubicBezTo>
                  <a:cubicBezTo>
                    <a:pt x="23" y="157"/>
                    <a:pt x="23" y="157"/>
                    <a:pt x="23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6"/>
                    <a:pt x="20" y="156"/>
                    <a:pt x="20" y="156"/>
                  </a:cubicBezTo>
                  <a:cubicBezTo>
                    <a:pt x="20" y="156"/>
                    <a:pt x="20" y="156"/>
                    <a:pt x="20" y="156"/>
                  </a:cubicBezTo>
                  <a:cubicBezTo>
                    <a:pt x="20" y="155"/>
                    <a:pt x="20" y="155"/>
                    <a:pt x="20" y="155"/>
                  </a:cubicBezTo>
                  <a:cubicBezTo>
                    <a:pt x="20" y="155"/>
                    <a:pt x="20" y="155"/>
                    <a:pt x="20" y="155"/>
                  </a:cubicBezTo>
                  <a:cubicBezTo>
                    <a:pt x="20" y="155"/>
                    <a:pt x="20" y="155"/>
                    <a:pt x="20" y="155"/>
                  </a:cubicBezTo>
                  <a:cubicBezTo>
                    <a:pt x="19" y="155"/>
                    <a:pt x="19" y="155"/>
                    <a:pt x="19" y="155"/>
                  </a:cubicBezTo>
                  <a:cubicBezTo>
                    <a:pt x="19" y="155"/>
                    <a:pt x="19" y="155"/>
                    <a:pt x="19" y="155"/>
                  </a:cubicBezTo>
                  <a:cubicBezTo>
                    <a:pt x="19" y="155"/>
                    <a:pt x="19" y="155"/>
                    <a:pt x="19" y="155"/>
                  </a:cubicBezTo>
                  <a:cubicBezTo>
                    <a:pt x="19" y="154"/>
                    <a:pt x="18" y="154"/>
                    <a:pt x="17" y="154"/>
                  </a:cubicBezTo>
                  <a:cubicBezTo>
                    <a:pt x="17" y="154"/>
                    <a:pt x="17" y="155"/>
                    <a:pt x="17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154"/>
                    <a:pt x="17" y="153"/>
                    <a:pt x="17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5" y="150"/>
                    <a:pt x="15" y="150"/>
                    <a:pt x="15" y="150"/>
                  </a:cubicBezTo>
                  <a:cubicBezTo>
                    <a:pt x="15" y="150"/>
                    <a:pt x="15" y="150"/>
                    <a:pt x="15" y="150"/>
                  </a:cubicBezTo>
                  <a:cubicBezTo>
                    <a:pt x="14" y="150"/>
                    <a:pt x="14" y="150"/>
                    <a:pt x="14" y="150"/>
                  </a:cubicBezTo>
                  <a:cubicBezTo>
                    <a:pt x="14" y="150"/>
                    <a:pt x="14" y="150"/>
                    <a:pt x="14" y="150"/>
                  </a:cubicBezTo>
                  <a:cubicBezTo>
                    <a:pt x="14" y="150"/>
                    <a:pt x="14" y="150"/>
                    <a:pt x="14" y="150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3" y="149"/>
                    <a:pt x="13" y="149"/>
                    <a:pt x="13" y="149"/>
                  </a:cubicBezTo>
                  <a:cubicBezTo>
                    <a:pt x="13" y="149"/>
                    <a:pt x="13" y="149"/>
                    <a:pt x="13" y="149"/>
                  </a:cubicBezTo>
                  <a:cubicBezTo>
                    <a:pt x="13" y="149"/>
                    <a:pt x="13" y="149"/>
                    <a:pt x="13" y="149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2" y="148"/>
                    <a:pt x="12" y="148"/>
                    <a:pt x="12" y="148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1" y="146"/>
                    <a:pt x="10" y="146"/>
                  </a:cubicBezTo>
                  <a:cubicBezTo>
                    <a:pt x="10" y="147"/>
                    <a:pt x="10" y="147"/>
                    <a:pt x="10" y="147"/>
                  </a:cubicBezTo>
                  <a:cubicBezTo>
                    <a:pt x="10" y="147"/>
                    <a:pt x="10" y="146"/>
                    <a:pt x="10" y="146"/>
                  </a:cubicBezTo>
                  <a:cubicBezTo>
                    <a:pt x="10" y="145"/>
                    <a:pt x="10" y="145"/>
                    <a:pt x="10" y="144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10" y="143"/>
                    <a:pt x="10" y="143"/>
                    <a:pt x="10" y="143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8" y="140"/>
                    <a:pt x="8" y="140"/>
                    <a:pt x="8" y="140"/>
                  </a:cubicBezTo>
                  <a:cubicBezTo>
                    <a:pt x="8" y="140"/>
                    <a:pt x="8" y="140"/>
                    <a:pt x="8" y="140"/>
                  </a:cubicBezTo>
                  <a:cubicBezTo>
                    <a:pt x="8" y="140"/>
                    <a:pt x="8" y="140"/>
                    <a:pt x="8" y="140"/>
                  </a:cubicBezTo>
                  <a:cubicBezTo>
                    <a:pt x="8" y="140"/>
                    <a:pt x="8" y="140"/>
                    <a:pt x="8" y="140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38"/>
                    <a:pt x="6" y="137"/>
                    <a:pt x="5" y="137"/>
                  </a:cubicBezTo>
                  <a:cubicBezTo>
                    <a:pt x="5" y="137"/>
                    <a:pt x="5" y="137"/>
                    <a:pt x="5" y="137"/>
                  </a:cubicBezTo>
                  <a:cubicBezTo>
                    <a:pt x="5" y="137"/>
                    <a:pt x="5" y="137"/>
                    <a:pt x="5" y="137"/>
                  </a:cubicBezTo>
                  <a:cubicBezTo>
                    <a:pt x="6" y="136"/>
                    <a:pt x="6" y="136"/>
                    <a:pt x="6" y="135"/>
                  </a:cubicBezTo>
                  <a:cubicBezTo>
                    <a:pt x="6" y="135"/>
                    <a:pt x="6" y="135"/>
                    <a:pt x="6" y="135"/>
                  </a:cubicBezTo>
                  <a:cubicBezTo>
                    <a:pt x="6" y="135"/>
                    <a:pt x="6" y="135"/>
                    <a:pt x="6" y="135"/>
                  </a:cubicBezTo>
                  <a:cubicBezTo>
                    <a:pt x="6" y="134"/>
                    <a:pt x="6" y="134"/>
                    <a:pt x="6" y="134"/>
                  </a:cubicBezTo>
                  <a:cubicBezTo>
                    <a:pt x="6" y="134"/>
                    <a:pt x="6" y="134"/>
                    <a:pt x="6" y="134"/>
                  </a:cubicBezTo>
                  <a:cubicBezTo>
                    <a:pt x="5" y="134"/>
                    <a:pt x="5" y="134"/>
                    <a:pt x="5" y="134"/>
                  </a:cubicBezTo>
                  <a:cubicBezTo>
                    <a:pt x="5" y="134"/>
                    <a:pt x="5" y="134"/>
                    <a:pt x="5" y="134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2"/>
                    <a:pt x="5" y="132"/>
                    <a:pt x="5" y="132"/>
                  </a:cubicBezTo>
                  <a:cubicBezTo>
                    <a:pt x="5" y="132"/>
                    <a:pt x="5" y="132"/>
                    <a:pt x="5" y="132"/>
                  </a:cubicBezTo>
                  <a:cubicBezTo>
                    <a:pt x="5" y="132"/>
                    <a:pt x="5" y="132"/>
                    <a:pt x="5" y="132"/>
                  </a:cubicBezTo>
                  <a:cubicBezTo>
                    <a:pt x="5" y="132"/>
                    <a:pt x="5" y="132"/>
                    <a:pt x="5" y="132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5" y="130"/>
                    <a:pt x="5" y="130"/>
                    <a:pt x="5" y="130"/>
                  </a:cubicBezTo>
                  <a:cubicBezTo>
                    <a:pt x="4" y="130"/>
                    <a:pt x="4" y="130"/>
                    <a:pt x="4" y="130"/>
                  </a:cubicBezTo>
                  <a:cubicBezTo>
                    <a:pt x="4" y="130"/>
                    <a:pt x="4" y="130"/>
                    <a:pt x="4" y="130"/>
                  </a:cubicBezTo>
                  <a:cubicBezTo>
                    <a:pt x="4" y="130"/>
                    <a:pt x="4" y="130"/>
                    <a:pt x="4" y="130"/>
                  </a:cubicBezTo>
                  <a:cubicBezTo>
                    <a:pt x="4" y="129"/>
                    <a:pt x="4" y="129"/>
                    <a:pt x="4" y="129"/>
                  </a:cubicBezTo>
                  <a:cubicBezTo>
                    <a:pt x="4" y="129"/>
                    <a:pt x="4" y="129"/>
                    <a:pt x="4" y="129"/>
                  </a:cubicBezTo>
                  <a:cubicBezTo>
                    <a:pt x="4" y="129"/>
                    <a:pt x="4" y="129"/>
                    <a:pt x="4" y="129"/>
                  </a:cubicBezTo>
                  <a:cubicBezTo>
                    <a:pt x="4" y="129"/>
                    <a:pt x="4" y="129"/>
                    <a:pt x="4" y="129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4" y="127"/>
                    <a:pt x="3" y="127"/>
                    <a:pt x="2" y="127"/>
                  </a:cubicBezTo>
                  <a:cubicBezTo>
                    <a:pt x="3" y="127"/>
                    <a:pt x="4" y="126"/>
                    <a:pt x="4" y="12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4" y="118"/>
                    <a:pt x="4" y="118"/>
                    <a:pt x="4" y="118"/>
                  </a:cubicBezTo>
                  <a:cubicBezTo>
                    <a:pt x="4" y="118"/>
                    <a:pt x="4" y="118"/>
                    <a:pt x="4" y="118"/>
                  </a:cubicBezTo>
                  <a:cubicBezTo>
                    <a:pt x="4" y="118"/>
                    <a:pt x="4" y="118"/>
                    <a:pt x="4" y="118"/>
                  </a:cubicBezTo>
                  <a:cubicBezTo>
                    <a:pt x="4" y="117"/>
                    <a:pt x="3" y="116"/>
                    <a:pt x="2" y="116"/>
                  </a:cubicBezTo>
                  <a:cubicBezTo>
                    <a:pt x="3" y="116"/>
                    <a:pt x="4" y="116"/>
                    <a:pt x="4" y="115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6" y="107"/>
                    <a:pt x="6" y="107"/>
                    <a:pt x="5" y="106"/>
                  </a:cubicBezTo>
                  <a:cubicBezTo>
                    <a:pt x="5" y="106"/>
                    <a:pt x="5" y="106"/>
                    <a:pt x="5" y="106"/>
                  </a:cubicBezTo>
                  <a:cubicBezTo>
                    <a:pt x="5" y="106"/>
                    <a:pt x="6" y="106"/>
                    <a:pt x="7" y="105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8"/>
                    <a:pt x="10" y="97"/>
                    <a:pt x="9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1" y="96"/>
                    <a:pt x="11" y="96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lnTo>
                    <a:pt x="16" y="90"/>
                  </a:lnTo>
                  <a:close/>
                  <a:moveTo>
                    <a:pt x="141" y="5"/>
                  </a:moveTo>
                  <a:cubicBezTo>
                    <a:pt x="141" y="7"/>
                    <a:pt x="141" y="7"/>
                    <a:pt x="141" y="7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141" y="7"/>
                    <a:pt x="141" y="7"/>
                    <a:pt x="141" y="7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41" y="9"/>
                    <a:pt x="140" y="9"/>
                    <a:pt x="140" y="8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5" y="6"/>
                    <a:pt x="135" y="6"/>
                    <a:pt x="135" y="6"/>
                  </a:cubicBezTo>
                  <a:cubicBezTo>
                    <a:pt x="135" y="6"/>
                    <a:pt x="135" y="6"/>
                    <a:pt x="135" y="6"/>
                  </a:cubicBezTo>
                  <a:cubicBezTo>
                    <a:pt x="135" y="6"/>
                    <a:pt x="135" y="6"/>
                    <a:pt x="135" y="6"/>
                  </a:cubicBezTo>
                  <a:cubicBezTo>
                    <a:pt x="135" y="6"/>
                    <a:pt x="135" y="6"/>
                    <a:pt x="135" y="6"/>
                  </a:cubicBezTo>
                  <a:cubicBezTo>
                    <a:pt x="134" y="6"/>
                    <a:pt x="134" y="6"/>
                    <a:pt x="134" y="6"/>
                  </a:cubicBezTo>
                  <a:cubicBezTo>
                    <a:pt x="134" y="6"/>
                    <a:pt x="134" y="6"/>
                    <a:pt x="134" y="6"/>
                  </a:cubicBezTo>
                  <a:cubicBezTo>
                    <a:pt x="134" y="6"/>
                    <a:pt x="134" y="6"/>
                    <a:pt x="134" y="6"/>
                  </a:cubicBezTo>
                  <a:cubicBezTo>
                    <a:pt x="133" y="6"/>
                    <a:pt x="133" y="6"/>
                    <a:pt x="133" y="5"/>
                  </a:cubicBezTo>
                  <a:cubicBezTo>
                    <a:pt x="133" y="5"/>
                    <a:pt x="132" y="4"/>
                    <a:pt x="133" y="4"/>
                  </a:cubicBezTo>
                  <a:cubicBezTo>
                    <a:pt x="132" y="5"/>
                    <a:pt x="131" y="5"/>
                    <a:pt x="130" y="5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9" y="5"/>
                    <a:pt x="129" y="5"/>
                    <a:pt x="129" y="5"/>
                  </a:cubicBezTo>
                  <a:cubicBezTo>
                    <a:pt x="129" y="5"/>
                    <a:pt x="129" y="5"/>
                    <a:pt x="129" y="5"/>
                  </a:cubicBezTo>
                  <a:cubicBezTo>
                    <a:pt x="129" y="5"/>
                    <a:pt x="129" y="5"/>
                    <a:pt x="129" y="5"/>
                  </a:cubicBezTo>
                  <a:cubicBezTo>
                    <a:pt x="129" y="5"/>
                    <a:pt x="129" y="5"/>
                    <a:pt x="129" y="5"/>
                  </a:cubicBezTo>
                  <a:cubicBezTo>
                    <a:pt x="128" y="5"/>
                    <a:pt x="128" y="5"/>
                    <a:pt x="128" y="5"/>
                  </a:cubicBezTo>
                  <a:cubicBezTo>
                    <a:pt x="128" y="5"/>
                    <a:pt x="128" y="5"/>
                    <a:pt x="128" y="5"/>
                  </a:cubicBezTo>
                  <a:cubicBezTo>
                    <a:pt x="128" y="5"/>
                    <a:pt x="128" y="5"/>
                    <a:pt x="128" y="5"/>
                  </a:cubicBezTo>
                  <a:cubicBezTo>
                    <a:pt x="128" y="5"/>
                    <a:pt x="128" y="5"/>
                    <a:pt x="128" y="5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3" y="4"/>
                    <a:pt x="122" y="3"/>
                    <a:pt x="122" y="2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2" y="4"/>
                    <a:pt x="121" y="4"/>
                    <a:pt x="120" y="4"/>
                  </a:cubicBezTo>
                  <a:cubicBezTo>
                    <a:pt x="120" y="4"/>
                    <a:pt x="120" y="4"/>
                    <a:pt x="120" y="4"/>
                  </a:cubicBezTo>
                  <a:cubicBezTo>
                    <a:pt x="120" y="4"/>
                    <a:pt x="120" y="4"/>
                    <a:pt x="120" y="4"/>
                  </a:cubicBezTo>
                  <a:cubicBezTo>
                    <a:pt x="120" y="4"/>
                    <a:pt x="120" y="4"/>
                    <a:pt x="120" y="4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3" y="5"/>
                    <a:pt x="112" y="4"/>
                    <a:pt x="111" y="4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11" y="4"/>
                    <a:pt x="111" y="5"/>
                    <a:pt x="110" y="5"/>
                  </a:cubicBezTo>
                  <a:cubicBezTo>
                    <a:pt x="110" y="5"/>
                    <a:pt x="110" y="5"/>
                    <a:pt x="110" y="5"/>
                  </a:cubicBezTo>
                  <a:cubicBezTo>
                    <a:pt x="110" y="5"/>
                    <a:pt x="110" y="5"/>
                    <a:pt x="110" y="5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6" y="6"/>
                    <a:pt x="106" y="6"/>
                    <a:pt x="106" y="6"/>
                  </a:cubicBezTo>
                  <a:cubicBezTo>
                    <a:pt x="106" y="7"/>
                    <a:pt x="106" y="7"/>
                    <a:pt x="106" y="7"/>
                  </a:cubicBezTo>
                  <a:cubicBezTo>
                    <a:pt x="106" y="7"/>
                    <a:pt x="106" y="7"/>
                    <a:pt x="106" y="7"/>
                  </a:cubicBezTo>
                  <a:cubicBezTo>
                    <a:pt x="106" y="7"/>
                    <a:pt x="106" y="7"/>
                    <a:pt x="106" y="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3" y="8"/>
                    <a:pt x="103" y="8"/>
                    <a:pt x="102" y="8"/>
                  </a:cubicBezTo>
                  <a:cubicBezTo>
                    <a:pt x="102" y="7"/>
                    <a:pt x="101" y="7"/>
                    <a:pt x="101" y="7"/>
                  </a:cubicBezTo>
                  <a:cubicBezTo>
                    <a:pt x="102" y="8"/>
                    <a:pt x="101" y="9"/>
                    <a:pt x="100" y="9"/>
                  </a:cubicBezTo>
                  <a:cubicBezTo>
                    <a:pt x="100" y="9"/>
                    <a:pt x="100" y="9"/>
                    <a:pt x="100" y="9"/>
                  </a:cubicBezTo>
                  <a:cubicBezTo>
                    <a:pt x="100" y="9"/>
                    <a:pt x="100" y="9"/>
                    <a:pt x="100" y="9"/>
                  </a:cubicBezTo>
                  <a:cubicBezTo>
                    <a:pt x="100" y="9"/>
                    <a:pt x="100" y="9"/>
                    <a:pt x="100" y="9"/>
                  </a:cubicBezTo>
                  <a:cubicBezTo>
                    <a:pt x="100" y="9"/>
                    <a:pt x="100" y="9"/>
                    <a:pt x="100" y="9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94" y="13"/>
                    <a:pt x="93" y="13"/>
                    <a:pt x="93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93" y="13"/>
                    <a:pt x="93" y="14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17"/>
                    <a:pt x="89" y="17"/>
                    <a:pt x="89" y="17"/>
                  </a:cubicBezTo>
                  <a:cubicBezTo>
                    <a:pt x="87" y="17"/>
                    <a:pt x="86" y="15"/>
                    <a:pt x="88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0" y="12"/>
                    <a:pt x="90" y="12"/>
                    <a:pt x="91" y="12"/>
                  </a:cubicBezTo>
                  <a:cubicBezTo>
                    <a:pt x="91" y="12"/>
                    <a:pt x="92" y="12"/>
                    <a:pt x="92" y="12"/>
                  </a:cubicBezTo>
                  <a:cubicBezTo>
                    <a:pt x="92" y="12"/>
                    <a:pt x="92" y="11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100" y="5"/>
                    <a:pt x="100" y="6"/>
                    <a:pt x="101" y="6"/>
                  </a:cubicBezTo>
                  <a:cubicBezTo>
                    <a:pt x="101" y="6"/>
                    <a:pt x="101" y="7"/>
                    <a:pt x="101" y="7"/>
                  </a:cubicBezTo>
                  <a:cubicBezTo>
                    <a:pt x="101" y="6"/>
                    <a:pt x="101" y="5"/>
                    <a:pt x="102" y="4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06" y="3"/>
                    <a:pt x="106" y="3"/>
                    <a:pt x="106" y="3"/>
                  </a:cubicBezTo>
                  <a:cubicBezTo>
                    <a:pt x="106" y="3"/>
                    <a:pt x="106" y="3"/>
                    <a:pt x="106" y="3"/>
                  </a:cubicBezTo>
                  <a:cubicBezTo>
                    <a:pt x="106" y="3"/>
                    <a:pt x="106" y="3"/>
                    <a:pt x="106" y="3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9" y="2"/>
                    <a:pt x="109" y="2"/>
                    <a:pt x="109" y="2"/>
                  </a:cubicBezTo>
                  <a:cubicBezTo>
                    <a:pt x="109" y="2"/>
                    <a:pt x="109" y="2"/>
                    <a:pt x="109" y="2"/>
                  </a:cubicBezTo>
                  <a:cubicBezTo>
                    <a:pt x="109" y="2"/>
                    <a:pt x="109" y="2"/>
                    <a:pt x="109" y="2"/>
                  </a:cubicBezTo>
                  <a:cubicBezTo>
                    <a:pt x="109" y="2"/>
                    <a:pt x="109" y="2"/>
                    <a:pt x="109" y="2"/>
                  </a:cubicBezTo>
                  <a:cubicBezTo>
                    <a:pt x="110" y="2"/>
                    <a:pt x="110" y="2"/>
                    <a:pt x="111" y="2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11" y="2"/>
                    <a:pt x="112" y="1"/>
                    <a:pt x="113" y="1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1" y="0"/>
                    <a:pt x="122" y="1"/>
                    <a:pt x="122" y="2"/>
                  </a:cubicBezTo>
                  <a:cubicBezTo>
                    <a:pt x="122" y="2"/>
                    <a:pt x="122" y="2"/>
                    <a:pt x="122" y="2"/>
                  </a:cubicBezTo>
                  <a:cubicBezTo>
                    <a:pt x="122" y="1"/>
                    <a:pt x="123" y="0"/>
                    <a:pt x="124" y="1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5" y="1"/>
                    <a:pt x="125" y="1"/>
                    <a:pt x="125" y="1"/>
                  </a:cubicBezTo>
                  <a:cubicBezTo>
                    <a:pt x="125" y="1"/>
                    <a:pt x="125" y="1"/>
                    <a:pt x="125" y="1"/>
                  </a:cubicBezTo>
                  <a:cubicBezTo>
                    <a:pt x="125" y="1"/>
                    <a:pt x="125" y="1"/>
                    <a:pt x="125" y="1"/>
                  </a:cubicBezTo>
                  <a:cubicBezTo>
                    <a:pt x="125" y="1"/>
                    <a:pt x="125" y="1"/>
                    <a:pt x="125" y="1"/>
                  </a:cubicBezTo>
                  <a:cubicBezTo>
                    <a:pt x="126" y="1"/>
                    <a:pt x="126" y="1"/>
                    <a:pt x="126" y="1"/>
                  </a:cubicBezTo>
                  <a:cubicBezTo>
                    <a:pt x="126" y="1"/>
                    <a:pt x="126" y="1"/>
                    <a:pt x="126" y="1"/>
                  </a:cubicBezTo>
                  <a:cubicBezTo>
                    <a:pt x="126" y="1"/>
                    <a:pt x="126" y="1"/>
                    <a:pt x="126" y="1"/>
                  </a:cubicBezTo>
                  <a:cubicBezTo>
                    <a:pt x="126" y="1"/>
                    <a:pt x="126" y="1"/>
                    <a:pt x="126" y="1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28" y="1"/>
                    <a:pt x="128" y="1"/>
                    <a:pt x="128" y="1"/>
                  </a:cubicBezTo>
                  <a:cubicBezTo>
                    <a:pt x="128" y="1"/>
                    <a:pt x="128" y="1"/>
                    <a:pt x="128" y="1"/>
                  </a:cubicBezTo>
                  <a:cubicBezTo>
                    <a:pt x="128" y="1"/>
                    <a:pt x="128" y="1"/>
                    <a:pt x="128" y="1"/>
                  </a:cubicBezTo>
                  <a:cubicBezTo>
                    <a:pt x="128" y="1"/>
                    <a:pt x="128" y="1"/>
                    <a:pt x="128" y="1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1"/>
                    <a:pt x="131" y="1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2" y="2"/>
                    <a:pt x="132" y="2"/>
                    <a:pt x="132" y="2"/>
                  </a:cubicBezTo>
                  <a:cubicBezTo>
                    <a:pt x="133" y="3"/>
                    <a:pt x="133" y="3"/>
                    <a:pt x="133" y="4"/>
                  </a:cubicBezTo>
                  <a:cubicBezTo>
                    <a:pt x="133" y="3"/>
                    <a:pt x="134" y="2"/>
                    <a:pt x="135" y="3"/>
                  </a:cubicBezTo>
                  <a:cubicBezTo>
                    <a:pt x="135" y="3"/>
                    <a:pt x="135" y="3"/>
                    <a:pt x="135" y="3"/>
                  </a:cubicBezTo>
                  <a:cubicBezTo>
                    <a:pt x="135" y="3"/>
                    <a:pt x="135" y="3"/>
                    <a:pt x="135" y="3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40" y="5"/>
                    <a:pt x="140" y="5"/>
                    <a:pt x="140" y="5"/>
                  </a:cubicBezTo>
                  <a:cubicBezTo>
                    <a:pt x="140" y="5"/>
                    <a:pt x="140" y="5"/>
                    <a:pt x="140" y="5"/>
                  </a:cubicBezTo>
                  <a:cubicBezTo>
                    <a:pt x="141" y="5"/>
                    <a:pt x="141" y="5"/>
                    <a:pt x="141" y="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35" name="Freeform 1432">
              <a:extLst>
                <a:ext uri="{FF2B5EF4-FFF2-40B4-BE49-F238E27FC236}">
                  <a16:creationId xmlns:a16="http://schemas.microsoft.com/office/drawing/2014/main" id="{9579F5F8-D2A4-45D8-A095-AEA9FE10E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249" y="2305416"/>
              <a:ext cx="21498" cy="21498"/>
            </a:xfrm>
            <a:custGeom>
              <a:avLst/>
              <a:gdLst>
                <a:gd name="T0" fmla="*/ 10 w 12"/>
                <a:gd name="T1" fmla="*/ 9 h 12"/>
                <a:gd name="T2" fmla="*/ 12 w 12"/>
                <a:gd name="T3" fmla="*/ 10 h 12"/>
                <a:gd name="T4" fmla="*/ 10 w 12"/>
                <a:gd name="T5" fmla="*/ 12 h 12"/>
                <a:gd name="T6" fmla="*/ 2 w 12"/>
                <a:gd name="T7" fmla="*/ 12 h 12"/>
                <a:gd name="T8" fmla="*/ 0 w 12"/>
                <a:gd name="T9" fmla="*/ 10 h 12"/>
                <a:gd name="T10" fmla="*/ 0 w 12"/>
                <a:gd name="T11" fmla="*/ 2 h 12"/>
                <a:gd name="T12" fmla="*/ 2 w 12"/>
                <a:gd name="T13" fmla="*/ 0 h 12"/>
                <a:gd name="T14" fmla="*/ 4 w 12"/>
                <a:gd name="T15" fmla="*/ 2 h 12"/>
                <a:gd name="T16" fmla="*/ 4 w 12"/>
                <a:gd name="T17" fmla="*/ 9 h 12"/>
                <a:gd name="T18" fmla="*/ 10 w 1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10" y="9"/>
                  </a:moveTo>
                  <a:cubicBezTo>
                    <a:pt x="11" y="9"/>
                    <a:pt x="12" y="9"/>
                    <a:pt x="12" y="10"/>
                  </a:cubicBezTo>
                  <a:cubicBezTo>
                    <a:pt x="12" y="11"/>
                    <a:pt x="11" y="12"/>
                    <a:pt x="10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10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36" name="Freeform 1433">
              <a:extLst>
                <a:ext uri="{FF2B5EF4-FFF2-40B4-BE49-F238E27FC236}">
                  <a16:creationId xmlns:a16="http://schemas.microsoft.com/office/drawing/2014/main" id="{4331BDE0-DA89-4045-9A85-A3122EDF8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751" y="2560862"/>
              <a:ext cx="21498" cy="21498"/>
            </a:xfrm>
            <a:custGeom>
              <a:avLst/>
              <a:gdLst>
                <a:gd name="T0" fmla="*/ 2 w 12"/>
                <a:gd name="T1" fmla="*/ 4 h 12"/>
                <a:gd name="T2" fmla="*/ 0 w 12"/>
                <a:gd name="T3" fmla="*/ 2 h 12"/>
                <a:gd name="T4" fmla="*/ 2 w 12"/>
                <a:gd name="T5" fmla="*/ 0 h 12"/>
                <a:gd name="T6" fmla="*/ 10 w 12"/>
                <a:gd name="T7" fmla="*/ 0 h 12"/>
                <a:gd name="T8" fmla="*/ 12 w 12"/>
                <a:gd name="T9" fmla="*/ 2 h 12"/>
                <a:gd name="T10" fmla="*/ 12 w 12"/>
                <a:gd name="T11" fmla="*/ 10 h 12"/>
                <a:gd name="T12" fmla="*/ 10 w 12"/>
                <a:gd name="T13" fmla="*/ 12 h 12"/>
                <a:gd name="T14" fmla="*/ 8 w 12"/>
                <a:gd name="T15" fmla="*/ 10 h 12"/>
                <a:gd name="T16" fmla="*/ 8 w 12"/>
                <a:gd name="T17" fmla="*/ 4 h 12"/>
                <a:gd name="T18" fmla="*/ 2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2" y="4"/>
                  </a:move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1"/>
                    <a:pt x="11" y="12"/>
                    <a:pt x="10" y="12"/>
                  </a:cubicBezTo>
                  <a:cubicBezTo>
                    <a:pt x="9" y="12"/>
                    <a:pt x="8" y="11"/>
                    <a:pt x="8" y="10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2" y="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9" name="Agrupar 1698">
            <a:extLst>
              <a:ext uri="{FF2B5EF4-FFF2-40B4-BE49-F238E27FC236}">
                <a16:creationId xmlns:a16="http://schemas.microsoft.com/office/drawing/2014/main" id="{B3E3D672-2029-481E-9A16-B55C7D4C6412}"/>
              </a:ext>
            </a:extLst>
          </p:cNvPr>
          <p:cNvGrpSpPr/>
          <p:nvPr/>
        </p:nvGrpSpPr>
        <p:grpSpPr>
          <a:xfrm>
            <a:off x="5192098" y="5881663"/>
            <a:ext cx="221302" cy="221302"/>
            <a:chOff x="5192098" y="5881663"/>
            <a:chExt cx="221302" cy="221302"/>
          </a:xfrm>
        </p:grpSpPr>
        <p:sp>
          <p:nvSpPr>
            <p:cNvPr id="837" name="Freeform 1434">
              <a:extLst>
                <a:ext uri="{FF2B5EF4-FFF2-40B4-BE49-F238E27FC236}">
                  <a16:creationId xmlns:a16="http://schemas.microsoft.com/office/drawing/2014/main" id="{C2FFB292-DE6F-486E-8AEA-0DE680062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390" y="5905690"/>
              <a:ext cx="168190" cy="170719"/>
            </a:xfrm>
            <a:custGeom>
              <a:avLst/>
              <a:gdLst>
                <a:gd name="T0" fmla="*/ 40 w 93"/>
                <a:gd name="T1" fmla="*/ 1 h 94"/>
                <a:gd name="T2" fmla="*/ 0 w 93"/>
                <a:gd name="T3" fmla="*/ 1 h 94"/>
                <a:gd name="T4" fmla="*/ 0 w 93"/>
                <a:gd name="T5" fmla="*/ 10 h 94"/>
                <a:gd name="T6" fmla="*/ 40 w 93"/>
                <a:gd name="T7" fmla="*/ 10 h 94"/>
                <a:gd name="T8" fmla="*/ 40 w 93"/>
                <a:gd name="T9" fmla="*/ 1 h 94"/>
                <a:gd name="T10" fmla="*/ 84 w 93"/>
                <a:gd name="T11" fmla="*/ 11 h 94"/>
                <a:gd name="T12" fmla="*/ 93 w 93"/>
                <a:gd name="T13" fmla="*/ 11 h 94"/>
                <a:gd name="T14" fmla="*/ 93 w 93"/>
                <a:gd name="T15" fmla="*/ 1 h 94"/>
                <a:gd name="T16" fmla="*/ 84 w 93"/>
                <a:gd name="T17" fmla="*/ 1 h 94"/>
                <a:gd name="T18" fmla="*/ 84 w 93"/>
                <a:gd name="T19" fmla="*/ 11 h 94"/>
                <a:gd name="T20" fmla="*/ 59 w 93"/>
                <a:gd name="T21" fmla="*/ 11 h 94"/>
                <a:gd name="T22" fmla="*/ 70 w 93"/>
                <a:gd name="T23" fmla="*/ 11 h 94"/>
                <a:gd name="T24" fmla="*/ 70 w 93"/>
                <a:gd name="T25" fmla="*/ 0 h 94"/>
                <a:gd name="T26" fmla="*/ 59 w 93"/>
                <a:gd name="T27" fmla="*/ 0 h 94"/>
                <a:gd name="T28" fmla="*/ 59 w 93"/>
                <a:gd name="T29" fmla="*/ 11 h 94"/>
                <a:gd name="T30" fmla="*/ 48 w 93"/>
                <a:gd name="T31" fmla="*/ 51 h 94"/>
                <a:gd name="T32" fmla="*/ 26 w 93"/>
                <a:gd name="T33" fmla="*/ 72 h 94"/>
                <a:gd name="T34" fmla="*/ 48 w 93"/>
                <a:gd name="T35" fmla="*/ 94 h 94"/>
                <a:gd name="T36" fmla="*/ 69 w 93"/>
                <a:gd name="T37" fmla="*/ 72 h 94"/>
                <a:gd name="T38" fmla="*/ 48 w 93"/>
                <a:gd name="T39" fmla="*/ 51 h 94"/>
                <a:gd name="T40" fmla="*/ 48 w 93"/>
                <a:gd name="T41" fmla="*/ 80 h 94"/>
                <a:gd name="T42" fmla="*/ 40 w 93"/>
                <a:gd name="T43" fmla="*/ 72 h 94"/>
                <a:gd name="T44" fmla="*/ 48 w 93"/>
                <a:gd name="T45" fmla="*/ 64 h 94"/>
                <a:gd name="T46" fmla="*/ 56 w 93"/>
                <a:gd name="T47" fmla="*/ 72 h 94"/>
                <a:gd name="T48" fmla="*/ 48 w 93"/>
                <a:gd name="T49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3" h="94">
                  <a:moveTo>
                    <a:pt x="4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0" y="10"/>
                    <a:pt x="40" y="10"/>
                    <a:pt x="40" y="10"/>
                  </a:cubicBezTo>
                  <a:lnTo>
                    <a:pt x="40" y="1"/>
                  </a:lnTo>
                  <a:close/>
                  <a:moveTo>
                    <a:pt x="84" y="11"/>
                  </a:moveTo>
                  <a:cubicBezTo>
                    <a:pt x="93" y="11"/>
                    <a:pt x="93" y="11"/>
                    <a:pt x="93" y="1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84" y="1"/>
                    <a:pt x="84" y="1"/>
                    <a:pt x="84" y="1"/>
                  </a:cubicBezTo>
                  <a:lnTo>
                    <a:pt x="84" y="11"/>
                  </a:lnTo>
                  <a:close/>
                  <a:moveTo>
                    <a:pt x="59" y="11"/>
                  </a:moveTo>
                  <a:cubicBezTo>
                    <a:pt x="70" y="11"/>
                    <a:pt x="70" y="11"/>
                    <a:pt x="70" y="1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59" y="0"/>
                    <a:pt x="59" y="0"/>
                    <a:pt x="59" y="0"/>
                  </a:cubicBezTo>
                  <a:lnTo>
                    <a:pt x="59" y="11"/>
                  </a:lnTo>
                  <a:close/>
                  <a:moveTo>
                    <a:pt x="48" y="51"/>
                  </a:moveTo>
                  <a:cubicBezTo>
                    <a:pt x="36" y="51"/>
                    <a:pt x="26" y="60"/>
                    <a:pt x="26" y="72"/>
                  </a:cubicBezTo>
                  <a:cubicBezTo>
                    <a:pt x="26" y="84"/>
                    <a:pt x="36" y="94"/>
                    <a:pt x="48" y="94"/>
                  </a:cubicBezTo>
                  <a:cubicBezTo>
                    <a:pt x="60" y="94"/>
                    <a:pt x="69" y="84"/>
                    <a:pt x="69" y="72"/>
                  </a:cubicBezTo>
                  <a:cubicBezTo>
                    <a:pt x="69" y="60"/>
                    <a:pt x="60" y="51"/>
                    <a:pt x="48" y="51"/>
                  </a:cubicBezTo>
                  <a:moveTo>
                    <a:pt x="48" y="80"/>
                  </a:moveTo>
                  <a:cubicBezTo>
                    <a:pt x="44" y="80"/>
                    <a:pt x="40" y="76"/>
                    <a:pt x="40" y="72"/>
                  </a:cubicBezTo>
                  <a:cubicBezTo>
                    <a:pt x="40" y="68"/>
                    <a:pt x="44" y="64"/>
                    <a:pt x="48" y="64"/>
                  </a:cubicBezTo>
                  <a:cubicBezTo>
                    <a:pt x="52" y="64"/>
                    <a:pt x="56" y="68"/>
                    <a:pt x="56" y="72"/>
                  </a:cubicBezTo>
                  <a:cubicBezTo>
                    <a:pt x="56" y="76"/>
                    <a:pt x="52" y="80"/>
                    <a:pt x="48" y="8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38" name="Freeform 1435">
              <a:extLst>
                <a:ext uri="{FF2B5EF4-FFF2-40B4-BE49-F238E27FC236}">
                  <a16:creationId xmlns:a16="http://schemas.microsoft.com/office/drawing/2014/main" id="{DA307196-3D8C-4C48-AB0E-5D98CF3EAF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2098" y="5881663"/>
              <a:ext cx="221302" cy="221302"/>
            </a:xfrm>
            <a:custGeom>
              <a:avLst/>
              <a:gdLst>
                <a:gd name="T0" fmla="*/ 0 w 122"/>
                <a:gd name="T1" fmla="*/ 116 h 122"/>
                <a:gd name="T2" fmla="*/ 6 w 122"/>
                <a:gd name="T3" fmla="*/ 122 h 122"/>
                <a:gd name="T4" fmla="*/ 122 w 122"/>
                <a:gd name="T5" fmla="*/ 116 h 122"/>
                <a:gd name="T6" fmla="*/ 0 w 122"/>
                <a:gd name="T7" fmla="*/ 47 h 122"/>
                <a:gd name="T8" fmla="*/ 7 w 122"/>
                <a:gd name="T9" fmla="*/ 115 h 122"/>
                <a:gd name="T10" fmla="*/ 115 w 122"/>
                <a:gd name="T11" fmla="*/ 54 h 122"/>
                <a:gd name="T12" fmla="*/ 122 w 122"/>
                <a:gd name="T13" fmla="*/ 6 h 122"/>
                <a:gd name="T14" fmla="*/ 6 w 122"/>
                <a:gd name="T15" fmla="*/ 0 h 122"/>
                <a:gd name="T16" fmla="*/ 0 w 122"/>
                <a:gd name="T17" fmla="*/ 38 h 122"/>
                <a:gd name="T18" fmla="*/ 122 w 122"/>
                <a:gd name="T19" fmla="*/ 6 h 122"/>
                <a:gd name="T20" fmla="*/ 7 w 122"/>
                <a:gd name="T21" fmla="*/ 31 h 122"/>
                <a:gd name="T22" fmla="*/ 115 w 122"/>
                <a:gd name="T23" fmla="*/ 6 h 122"/>
                <a:gd name="T24" fmla="*/ 62 w 122"/>
                <a:gd name="T25" fmla="*/ 109 h 122"/>
                <a:gd name="T26" fmla="*/ 62 w 122"/>
                <a:gd name="T27" fmla="*/ 61 h 122"/>
                <a:gd name="T28" fmla="*/ 62 w 122"/>
                <a:gd name="T29" fmla="*/ 109 h 122"/>
                <a:gd name="T30" fmla="*/ 79 w 122"/>
                <a:gd name="T31" fmla="*/ 85 h 122"/>
                <a:gd name="T32" fmla="*/ 44 w 122"/>
                <a:gd name="T33" fmla="*/ 85 h 122"/>
                <a:gd name="T34" fmla="*/ 62 w 122"/>
                <a:gd name="T35" fmla="*/ 98 h 122"/>
                <a:gd name="T36" fmla="*/ 62 w 122"/>
                <a:gd name="T37" fmla="*/ 72 h 122"/>
                <a:gd name="T38" fmla="*/ 62 w 122"/>
                <a:gd name="T39" fmla="*/ 98 h 122"/>
                <a:gd name="T40" fmla="*/ 68 w 122"/>
                <a:gd name="T41" fmla="*/ 85 h 122"/>
                <a:gd name="T42" fmla="*/ 62 w 122"/>
                <a:gd name="T43" fmla="*/ 91 h 122"/>
                <a:gd name="T44" fmla="*/ 62 w 122"/>
                <a:gd name="T45" fmla="*/ 79 h 122"/>
                <a:gd name="T46" fmla="*/ 11 w 122"/>
                <a:gd name="T47" fmla="*/ 10 h 122"/>
                <a:gd name="T48" fmla="*/ 59 w 122"/>
                <a:gd name="T49" fmla="*/ 28 h 122"/>
                <a:gd name="T50" fmla="*/ 52 w 122"/>
                <a:gd name="T51" fmla="*/ 21 h 122"/>
                <a:gd name="T52" fmla="*/ 17 w 122"/>
                <a:gd name="T53" fmla="*/ 17 h 122"/>
                <a:gd name="T54" fmla="*/ 52 w 122"/>
                <a:gd name="T55" fmla="*/ 21 h 122"/>
                <a:gd name="T56" fmla="*/ 71 w 122"/>
                <a:gd name="T57" fmla="*/ 10 h 122"/>
                <a:gd name="T58" fmla="*/ 89 w 122"/>
                <a:gd name="T59" fmla="*/ 28 h 122"/>
                <a:gd name="T60" fmla="*/ 82 w 122"/>
                <a:gd name="T61" fmla="*/ 21 h 122"/>
                <a:gd name="T62" fmla="*/ 78 w 122"/>
                <a:gd name="T63" fmla="*/ 17 h 122"/>
                <a:gd name="T64" fmla="*/ 82 w 122"/>
                <a:gd name="T65" fmla="*/ 21 h 122"/>
                <a:gd name="T66" fmla="*/ 94 w 122"/>
                <a:gd name="T67" fmla="*/ 10 h 122"/>
                <a:gd name="T68" fmla="*/ 111 w 122"/>
                <a:gd name="T69" fmla="*/ 28 h 122"/>
                <a:gd name="T70" fmla="*/ 104 w 122"/>
                <a:gd name="T71" fmla="*/ 21 h 122"/>
                <a:gd name="T72" fmla="*/ 100 w 122"/>
                <a:gd name="T73" fmla="*/ 17 h 122"/>
                <a:gd name="T74" fmla="*/ 104 w 122"/>
                <a:gd name="T75" fmla="*/ 2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2" h="122">
                  <a:moveTo>
                    <a:pt x="0" y="47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9"/>
                    <a:pt x="3" y="122"/>
                    <a:pt x="6" y="122"/>
                  </a:cubicBezTo>
                  <a:cubicBezTo>
                    <a:pt x="116" y="122"/>
                    <a:pt x="116" y="122"/>
                    <a:pt x="116" y="122"/>
                  </a:cubicBezTo>
                  <a:cubicBezTo>
                    <a:pt x="119" y="122"/>
                    <a:pt x="122" y="119"/>
                    <a:pt x="122" y="116"/>
                  </a:cubicBezTo>
                  <a:cubicBezTo>
                    <a:pt x="122" y="47"/>
                    <a:pt x="122" y="47"/>
                    <a:pt x="122" y="47"/>
                  </a:cubicBezTo>
                  <a:lnTo>
                    <a:pt x="0" y="47"/>
                  </a:lnTo>
                  <a:close/>
                  <a:moveTo>
                    <a:pt x="115" y="115"/>
                  </a:moveTo>
                  <a:cubicBezTo>
                    <a:pt x="7" y="115"/>
                    <a:pt x="7" y="115"/>
                    <a:pt x="7" y="11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15" y="54"/>
                    <a:pt x="115" y="54"/>
                    <a:pt x="115" y="54"/>
                  </a:cubicBezTo>
                  <a:lnTo>
                    <a:pt x="115" y="115"/>
                  </a:lnTo>
                  <a:close/>
                  <a:moveTo>
                    <a:pt x="122" y="6"/>
                  </a:moveTo>
                  <a:cubicBezTo>
                    <a:pt x="122" y="2"/>
                    <a:pt x="119" y="0"/>
                    <a:pt x="11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22" y="38"/>
                    <a:pt x="122" y="38"/>
                    <a:pt x="122" y="38"/>
                  </a:cubicBezTo>
                  <a:lnTo>
                    <a:pt x="122" y="6"/>
                  </a:lnTo>
                  <a:close/>
                  <a:moveTo>
                    <a:pt x="115" y="31"/>
                  </a:moveTo>
                  <a:cubicBezTo>
                    <a:pt x="7" y="31"/>
                    <a:pt x="7" y="31"/>
                    <a:pt x="7" y="3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15" y="6"/>
                    <a:pt x="115" y="6"/>
                    <a:pt x="115" y="6"/>
                  </a:cubicBezTo>
                  <a:lnTo>
                    <a:pt x="115" y="31"/>
                  </a:lnTo>
                  <a:close/>
                  <a:moveTo>
                    <a:pt x="62" y="109"/>
                  </a:moveTo>
                  <a:cubicBezTo>
                    <a:pt x="75" y="109"/>
                    <a:pt x="86" y="98"/>
                    <a:pt x="86" y="85"/>
                  </a:cubicBezTo>
                  <a:cubicBezTo>
                    <a:pt x="86" y="71"/>
                    <a:pt x="75" y="61"/>
                    <a:pt x="62" y="61"/>
                  </a:cubicBezTo>
                  <a:cubicBezTo>
                    <a:pt x="48" y="61"/>
                    <a:pt x="37" y="71"/>
                    <a:pt x="37" y="85"/>
                  </a:cubicBezTo>
                  <a:cubicBezTo>
                    <a:pt x="37" y="98"/>
                    <a:pt x="48" y="109"/>
                    <a:pt x="62" y="109"/>
                  </a:cubicBezTo>
                  <a:moveTo>
                    <a:pt x="62" y="67"/>
                  </a:moveTo>
                  <a:cubicBezTo>
                    <a:pt x="71" y="67"/>
                    <a:pt x="79" y="75"/>
                    <a:pt x="79" y="85"/>
                  </a:cubicBezTo>
                  <a:cubicBezTo>
                    <a:pt x="79" y="95"/>
                    <a:pt x="71" y="103"/>
                    <a:pt x="62" y="103"/>
                  </a:cubicBezTo>
                  <a:cubicBezTo>
                    <a:pt x="52" y="103"/>
                    <a:pt x="44" y="95"/>
                    <a:pt x="44" y="85"/>
                  </a:cubicBezTo>
                  <a:cubicBezTo>
                    <a:pt x="44" y="75"/>
                    <a:pt x="52" y="67"/>
                    <a:pt x="62" y="67"/>
                  </a:cubicBezTo>
                  <a:moveTo>
                    <a:pt x="62" y="98"/>
                  </a:moveTo>
                  <a:cubicBezTo>
                    <a:pt x="69" y="98"/>
                    <a:pt x="74" y="92"/>
                    <a:pt x="74" y="85"/>
                  </a:cubicBezTo>
                  <a:cubicBezTo>
                    <a:pt x="74" y="78"/>
                    <a:pt x="69" y="72"/>
                    <a:pt x="62" y="72"/>
                  </a:cubicBezTo>
                  <a:cubicBezTo>
                    <a:pt x="54" y="72"/>
                    <a:pt x="49" y="78"/>
                    <a:pt x="49" y="85"/>
                  </a:cubicBezTo>
                  <a:cubicBezTo>
                    <a:pt x="49" y="92"/>
                    <a:pt x="54" y="98"/>
                    <a:pt x="62" y="98"/>
                  </a:cubicBezTo>
                  <a:moveTo>
                    <a:pt x="62" y="79"/>
                  </a:moveTo>
                  <a:cubicBezTo>
                    <a:pt x="65" y="79"/>
                    <a:pt x="68" y="82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68" y="88"/>
                    <a:pt x="65" y="91"/>
                    <a:pt x="62" y="91"/>
                  </a:cubicBezTo>
                  <a:cubicBezTo>
                    <a:pt x="58" y="91"/>
                    <a:pt x="56" y="88"/>
                    <a:pt x="55" y="85"/>
                  </a:cubicBezTo>
                  <a:cubicBezTo>
                    <a:pt x="56" y="82"/>
                    <a:pt x="58" y="79"/>
                    <a:pt x="62" y="79"/>
                  </a:cubicBezTo>
                  <a:moveTo>
                    <a:pt x="59" y="10"/>
                  </a:moveTo>
                  <a:cubicBezTo>
                    <a:pt x="11" y="10"/>
                    <a:pt x="11" y="10"/>
                    <a:pt x="11" y="10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59" y="28"/>
                    <a:pt x="59" y="28"/>
                    <a:pt x="59" y="28"/>
                  </a:cubicBezTo>
                  <a:lnTo>
                    <a:pt x="59" y="10"/>
                  </a:lnTo>
                  <a:close/>
                  <a:moveTo>
                    <a:pt x="52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52" y="17"/>
                    <a:pt x="52" y="17"/>
                    <a:pt x="52" y="17"/>
                  </a:cubicBezTo>
                  <a:lnTo>
                    <a:pt x="52" y="21"/>
                  </a:lnTo>
                  <a:close/>
                  <a:moveTo>
                    <a:pt x="89" y="10"/>
                  </a:moveTo>
                  <a:cubicBezTo>
                    <a:pt x="71" y="10"/>
                    <a:pt x="71" y="10"/>
                    <a:pt x="71" y="10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89" y="28"/>
                    <a:pt x="89" y="28"/>
                    <a:pt x="89" y="28"/>
                  </a:cubicBezTo>
                  <a:lnTo>
                    <a:pt x="89" y="10"/>
                  </a:lnTo>
                  <a:close/>
                  <a:moveTo>
                    <a:pt x="82" y="21"/>
                  </a:moveTo>
                  <a:cubicBezTo>
                    <a:pt x="78" y="21"/>
                    <a:pt x="78" y="21"/>
                    <a:pt x="78" y="21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82" y="17"/>
                    <a:pt x="82" y="17"/>
                    <a:pt x="82" y="17"/>
                  </a:cubicBezTo>
                  <a:lnTo>
                    <a:pt x="82" y="21"/>
                  </a:lnTo>
                  <a:close/>
                  <a:moveTo>
                    <a:pt x="111" y="10"/>
                  </a:moveTo>
                  <a:cubicBezTo>
                    <a:pt x="94" y="10"/>
                    <a:pt x="94" y="10"/>
                    <a:pt x="94" y="10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11" y="28"/>
                    <a:pt x="111" y="28"/>
                    <a:pt x="111" y="28"/>
                  </a:cubicBezTo>
                  <a:lnTo>
                    <a:pt x="111" y="10"/>
                  </a:lnTo>
                  <a:close/>
                  <a:moveTo>
                    <a:pt x="104" y="21"/>
                  </a:moveTo>
                  <a:cubicBezTo>
                    <a:pt x="100" y="21"/>
                    <a:pt x="100" y="21"/>
                    <a:pt x="100" y="21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4" y="17"/>
                    <a:pt x="104" y="17"/>
                    <a:pt x="104" y="17"/>
                  </a:cubicBezTo>
                  <a:lnTo>
                    <a:pt x="104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839" name="Freeform 1436">
            <a:extLst>
              <a:ext uri="{FF2B5EF4-FFF2-40B4-BE49-F238E27FC236}">
                <a16:creationId xmlns:a16="http://schemas.microsoft.com/office/drawing/2014/main" id="{6692DDE9-5E32-4471-B1FF-2599D8E8A2B6}"/>
              </a:ext>
            </a:extLst>
          </p:cNvPr>
          <p:cNvSpPr>
            <a:spLocks noEditPoints="1"/>
          </p:cNvSpPr>
          <p:nvPr/>
        </p:nvSpPr>
        <p:spPr bwMode="auto">
          <a:xfrm>
            <a:off x="5974877" y="5889250"/>
            <a:ext cx="220038" cy="235213"/>
          </a:xfrm>
          <a:custGeom>
            <a:avLst/>
            <a:gdLst>
              <a:gd name="T0" fmla="*/ 102 w 121"/>
              <a:gd name="T1" fmla="*/ 15 h 130"/>
              <a:gd name="T2" fmla="*/ 102 w 121"/>
              <a:gd name="T3" fmla="*/ 10 h 130"/>
              <a:gd name="T4" fmla="*/ 99 w 121"/>
              <a:gd name="T5" fmla="*/ 9 h 130"/>
              <a:gd name="T6" fmla="*/ 32 w 121"/>
              <a:gd name="T7" fmla="*/ 0 h 130"/>
              <a:gd name="T8" fmla="*/ 32 w 121"/>
              <a:gd name="T9" fmla="*/ 0 h 130"/>
              <a:gd name="T10" fmla="*/ 0 w 121"/>
              <a:gd name="T11" fmla="*/ 31 h 130"/>
              <a:gd name="T12" fmla="*/ 0 w 121"/>
              <a:gd name="T13" fmla="*/ 36 h 130"/>
              <a:gd name="T14" fmla="*/ 24 w 121"/>
              <a:gd name="T15" fmla="*/ 66 h 130"/>
              <a:gd name="T16" fmla="*/ 23 w 121"/>
              <a:gd name="T17" fmla="*/ 66 h 130"/>
              <a:gd name="T18" fmla="*/ 36 w 121"/>
              <a:gd name="T19" fmla="*/ 118 h 130"/>
              <a:gd name="T20" fmla="*/ 51 w 121"/>
              <a:gd name="T21" fmla="*/ 130 h 130"/>
              <a:gd name="T22" fmla="*/ 51 w 121"/>
              <a:gd name="T23" fmla="*/ 130 h 130"/>
              <a:gd name="T24" fmla="*/ 55 w 121"/>
              <a:gd name="T25" fmla="*/ 130 h 130"/>
              <a:gd name="T26" fmla="*/ 67 w 121"/>
              <a:gd name="T27" fmla="*/ 114 h 130"/>
              <a:gd name="T28" fmla="*/ 67 w 121"/>
              <a:gd name="T29" fmla="*/ 110 h 130"/>
              <a:gd name="T30" fmla="*/ 56 w 121"/>
              <a:gd name="T31" fmla="*/ 64 h 130"/>
              <a:gd name="T32" fmla="*/ 102 w 121"/>
              <a:gd name="T33" fmla="*/ 58 h 130"/>
              <a:gd name="T34" fmla="*/ 102 w 121"/>
              <a:gd name="T35" fmla="*/ 53 h 130"/>
              <a:gd name="T36" fmla="*/ 118 w 121"/>
              <a:gd name="T37" fmla="*/ 57 h 130"/>
              <a:gd name="T38" fmla="*/ 121 w 121"/>
              <a:gd name="T39" fmla="*/ 55 h 130"/>
              <a:gd name="T40" fmla="*/ 121 w 121"/>
              <a:gd name="T41" fmla="*/ 12 h 130"/>
              <a:gd name="T42" fmla="*/ 118 w 121"/>
              <a:gd name="T43" fmla="*/ 10 h 130"/>
              <a:gd name="T44" fmla="*/ 102 w 121"/>
              <a:gd name="T45" fmla="*/ 15 h 130"/>
              <a:gd name="T46" fmla="*/ 60 w 121"/>
              <a:gd name="T47" fmla="*/ 112 h 130"/>
              <a:gd name="T48" fmla="*/ 60 w 121"/>
              <a:gd name="T49" fmla="*/ 114 h 130"/>
              <a:gd name="T50" fmla="*/ 54 w 121"/>
              <a:gd name="T51" fmla="*/ 123 h 130"/>
              <a:gd name="T52" fmla="*/ 51 w 121"/>
              <a:gd name="T53" fmla="*/ 123 h 130"/>
              <a:gd name="T54" fmla="*/ 43 w 121"/>
              <a:gd name="T55" fmla="*/ 116 h 130"/>
              <a:gd name="T56" fmla="*/ 31 w 121"/>
              <a:gd name="T57" fmla="*/ 67 h 130"/>
              <a:gd name="T58" fmla="*/ 32 w 121"/>
              <a:gd name="T59" fmla="*/ 67 h 130"/>
              <a:gd name="T60" fmla="*/ 32 w 121"/>
              <a:gd name="T61" fmla="*/ 67 h 130"/>
              <a:gd name="T62" fmla="*/ 49 w 121"/>
              <a:gd name="T63" fmla="*/ 65 h 130"/>
              <a:gd name="T64" fmla="*/ 60 w 121"/>
              <a:gd name="T65" fmla="*/ 112 h 130"/>
              <a:gd name="T66" fmla="*/ 95 w 121"/>
              <a:gd name="T67" fmla="*/ 52 h 130"/>
              <a:gd name="T68" fmla="*/ 32 w 121"/>
              <a:gd name="T69" fmla="*/ 60 h 130"/>
              <a:gd name="T70" fmla="*/ 7 w 121"/>
              <a:gd name="T71" fmla="*/ 36 h 130"/>
              <a:gd name="T72" fmla="*/ 7 w 121"/>
              <a:gd name="T73" fmla="*/ 31 h 130"/>
              <a:gd name="T74" fmla="*/ 32 w 121"/>
              <a:gd name="T75" fmla="*/ 7 h 130"/>
              <a:gd name="T76" fmla="*/ 95 w 121"/>
              <a:gd name="T77" fmla="*/ 16 h 130"/>
              <a:gd name="T78" fmla="*/ 95 w 121"/>
              <a:gd name="T79" fmla="*/ 52 h 130"/>
              <a:gd name="T80" fmla="*/ 111 w 121"/>
              <a:gd name="T81" fmla="*/ 48 h 130"/>
              <a:gd name="T82" fmla="*/ 102 w 121"/>
              <a:gd name="T83" fmla="*/ 45 h 130"/>
              <a:gd name="T84" fmla="*/ 102 w 121"/>
              <a:gd name="T85" fmla="*/ 22 h 130"/>
              <a:gd name="T86" fmla="*/ 111 w 121"/>
              <a:gd name="T87" fmla="*/ 19 h 130"/>
              <a:gd name="T88" fmla="*/ 114 w 121"/>
              <a:gd name="T89" fmla="*/ 21 h 130"/>
              <a:gd name="T90" fmla="*/ 114 w 121"/>
              <a:gd name="T91" fmla="*/ 46 h 130"/>
              <a:gd name="T92" fmla="*/ 111 w 121"/>
              <a:gd name="T93" fmla="*/ 48 h 130"/>
              <a:gd name="T94" fmla="*/ 17 w 121"/>
              <a:gd name="T95" fmla="*/ 34 h 130"/>
              <a:gd name="T96" fmla="*/ 32 w 121"/>
              <a:gd name="T97" fmla="*/ 49 h 130"/>
              <a:gd name="T98" fmla="*/ 48 w 121"/>
              <a:gd name="T99" fmla="*/ 34 h 130"/>
              <a:gd name="T100" fmla="*/ 32 w 121"/>
              <a:gd name="T101" fmla="*/ 18 h 130"/>
              <a:gd name="T102" fmla="*/ 17 w 121"/>
              <a:gd name="T103" fmla="*/ 34 h 130"/>
              <a:gd name="T104" fmla="*/ 32 w 121"/>
              <a:gd name="T105" fmla="*/ 25 h 130"/>
              <a:gd name="T106" fmla="*/ 41 w 121"/>
              <a:gd name="T107" fmla="*/ 34 h 130"/>
              <a:gd name="T108" fmla="*/ 32 w 121"/>
              <a:gd name="T109" fmla="*/ 42 h 130"/>
              <a:gd name="T110" fmla="*/ 24 w 121"/>
              <a:gd name="T111" fmla="*/ 34 h 130"/>
              <a:gd name="T112" fmla="*/ 32 w 121"/>
              <a:gd name="T113" fmla="*/ 25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1" h="130">
                <a:moveTo>
                  <a:pt x="102" y="15"/>
                </a:moveTo>
                <a:cubicBezTo>
                  <a:pt x="102" y="10"/>
                  <a:pt x="102" y="10"/>
                  <a:pt x="102" y="10"/>
                </a:cubicBezTo>
                <a:cubicBezTo>
                  <a:pt x="99" y="9"/>
                  <a:pt x="99" y="9"/>
                  <a:pt x="99" y="9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1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51"/>
                  <a:pt x="10" y="63"/>
                  <a:pt x="24" y="66"/>
                </a:cubicBezTo>
                <a:cubicBezTo>
                  <a:pt x="23" y="66"/>
                  <a:pt x="23" y="66"/>
                  <a:pt x="23" y="66"/>
                </a:cubicBezTo>
                <a:cubicBezTo>
                  <a:pt x="36" y="118"/>
                  <a:pt x="36" y="118"/>
                  <a:pt x="36" y="118"/>
                </a:cubicBezTo>
                <a:cubicBezTo>
                  <a:pt x="38" y="125"/>
                  <a:pt x="44" y="130"/>
                  <a:pt x="51" y="130"/>
                </a:cubicBezTo>
                <a:cubicBezTo>
                  <a:pt x="51" y="130"/>
                  <a:pt x="51" y="130"/>
                  <a:pt x="51" y="130"/>
                </a:cubicBezTo>
                <a:cubicBezTo>
                  <a:pt x="53" y="130"/>
                  <a:pt x="54" y="130"/>
                  <a:pt x="55" y="130"/>
                </a:cubicBezTo>
                <a:cubicBezTo>
                  <a:pt x="63" y="128"/>
                  <a:pt x="67" y="121"/>
                  <a:pt x="67" y="114"/>
                </a:cubicBezTo>
                <a:cubicBezTo>
                  <a:pt x="67" y="113"/>
                  <a:pt x="67" y="112"/>
                  <a:pt x="67" y="110"/>
                </a:cubicBezTo>
                <a:cubicBezTo>
                  <a:pt x="56" y="64"/>
                  <a:pt x="56" y="64"/>
                  <a:pt x="56" y="64"/>
                </a:cubicBezTo>
                <a:cubicBezTo>
                  <a:pt x="102" y="58"/>
                  <a:pt x="102" y="58"/>
                  <a:pt x="102" y="58"/>
                </a:cubicBezTo>
                <a:cubicBezTo>
                  <a:pt x="102" y="53"/>
                  <a:pt x="102" y="53"/>
                  <a:pt x="102" y="53"/>
                </a:cubicBezTo>
                <a:cubicBezTo>
                  <a:pt x="118" y="57"/>
                  <a:pt x="118" y="57"/>
                  <a:pt x="118" y="57"/>
                </a:cubicBezTo>
                <a:cubicBezTo>
                  <a:pt x="119" y="57"/>
                  <a:pt x="121" y="56"/>
                  <a:pt x="121" y="55"/>
                </a:cubicBezTo>
                <a:cubicBezTo>
                  <a:pt x="121" y="12"/>
                  <a:pt x="121" y="12"/>
                  <a:pt x="121" y="12"/>
                </a:cubicBezTo>
                <a:cubicBezTo>
                  <a:pt x="121" y="11"/>
                  <a:pt x="119" y="10"/>
                  <a:pt x="118" y="10"/>
                </a:cubicBezTo>
                <a:lnTo>
                  <a:pt x="102" y="15"/>
                </a:lnTo>
                <a:close/>
                <a:moveTo>
                  <a:pt x="60" y="112"/>
                </a:moveTo>
                <a:cubicBezTo>
                  <a:pt x="60" y="113"/>
                  <a:pt x="60" y="113"/>
                  <a:pt x="60" y="114"/>
                </a:cubicBezTo>
                <a:cubicBezTo>
                  <a:pt x="60" y="118"/>
                  <a:pt x="58" y="122"/>
                  <a:pt x="54" y="123"/>
                </a:cubicBezTo>
                <a:cubicBezTo>
                  <a:pt x="53" y="123"/>
                  <a:pt x="52" y="123"/>
                  <a:pt x="51" y="123"/>
                </a:cubicBezTo>
                <a:cubicBezTo>
                  <a:pt x="47" y="123"/>
                  <a:pt x="44" y="120"/>
                  <a:pt x="43" y="116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7"/>
                  <a:pt x="32" y="67"/>
                </a:cubicBezTo>
                <a:cubicBezTo>
                  <a:pt x="32" y="67"/>
                  <a:pt x="32" y="67"/>
                  <a:pt x="32" y="67"/>
                </a:cubicBezTo>
                <a:cubicBezTo>
                  <a:pt x="49" y="65"/>
                  <a:pt x="49" y="65"/>
                  <a:pt x="49" y="65"/>
                </a:cubicBezTo>
                <a:lnTo>
                  <a:pt x="60" y="112"/>
                </a:lnTo>
                <a:close/>
                <a:moveTo>
                  <a:pt x="95" y="52"/>
                </a:moveTo>
                <a:cubicBezTo>
                  <a:pt x="32" y="60"/>
                  <a:pt x="32" y="60"/>
                  <a:pt x="32" y="60"/>
                </a:cubicBezTo>
                <a:cubicBezTo>
                  <a:pt x="18" y="60"/>
                  <a:pt x="7" y="49"/>
                  <a:pt x="7" y="36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18"/>
                  <a:pt x="18" y="7"/>
                  <a:pt x="32" y="7"/>
                </a:cubicBezTo>
                <a:cubicBezTo>
                  <a:pt x="95" y="16"/>
                  <a:pt x="95" y="16"/>
                  <a:pt x="95" y="16"/>
                </a:cubicBezTo>
                <a:lnTo>
                  <a:pt x="95" y="52"/>
                </a:lnTo>
                <a:close/>
                <a:moveTo>
                  <a:pt x="111" y="48"/>
                </a:moveTo>
                <a:cubicBezTo>
                  <a:pt x="102" y="45"/>
                  <a:pt x="102" y="45"/>
                  <a:pt x="102" y="45"/>
                </a:cubicBezTo>
                <a:cubicBezTo>
                  <a:pt x="102" y="22"/>
                  <a:pt x="102" y="22"/>
                  <a:pt x="102" y="22"/>
                </a:cubicBezTo>
                <a:cubicBezTo>
                  <a:pt x="111" y="19"/>
                  <a:pt x="111" y="19"/>
                  <a:pt x="111" y="19"/>
                </a:cubicBezTo>
                <a:cubicBezTo>
                  <a:pt x="112" y="19"/>
                  <a:pt x="114" y="20"/>
                  <a:pt x="114" y="21"/>
                </a:cubicBezTo>
                <a:cubicBezTo>
                  <a:pt x="114" y="46"/>
                  <a:pt x="114" y="46"/>
                  <a:pt x="114" y="46"/>
                </a:cubicBezTo>
                <a:cubicBezTo>
                  <a:pt x="114" y="47"/>
                  <a:pt x="112" y="48"/>
                  <a:pt x="111" y="48"/>
                </a:cubicBezTo>
                <a:moveTo>
                  <a:pt x="17" y="34"/>
                </a:moveTo>
                <a:cubicBezTo>
                  <a:pt x="17" y="42"/>
                  <a:pt x="24" y="49"/>
                  <a:pt x="32" y="49"/>
                </a:cubicBezTo>
                <a:cubicBezTo>
                  <a:pt x="41" y="49"/>
                  <a:pt x="48" y="42"/>
                  <a:pt x="48" y="34"/>
                </a:cubicBezTo>
                <a:cubicBezTo>
                  <a:pt x="48" y="25"/>
                  <a:pt x="41" y="18"/>
                  <a:pt x="32" y="18"/>
                </a:cubicBezTo>
                <a:cubicBezTo>
                  <a:pt x="24" y="18"/>
                  <a:pt x="17" y="25"/>
                  <a:pt x="17" y="34"/>
                </a:cubicBezTo>
                <a:moveTo>
                  <a:pt x="32" y="25"/>
                </a:moveTo>
                <a:cubicBezTo>
                  <a:pt x="37" y="25"/>
                  <a:pt x="41" y="29"/>
                  <a:pt x="41" y="34"/>
                </a:cubicBezTo>
                <a:cubicBezTo>
                  <a:pt x="41" y="38"/>
                  <a:pt x="37" y="42"/>
                  <a:pt x="32" y="42"/>
                </a:cubicBezTo>
                <a:cubicBezTo>
                  <a:pt x="28" y="42"/>
                  <a:pt x="24" y="38"/>
                  <a:pt x="24" y="34"/>
                </a:cubicBezTo>
                <a:cubicBezTo>
                  <a:pt x="24" y="29"/>
                  <a:pt x="28" y="25"/>
                  <a:pt x="32" y="25"/>
                </a:cubicBezTo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1672" name="Agrupar 1671">
            <a:extLst>
              <a:ext uri="{FF2B5EF4-FFF2-40B4-BE49-F238E27FC236}">
                <a16:creationId xmlns:a16="http://schemas.microsoft.com/office/drawing/2014/main" id="{4A8802AF-737B-4A96-BF65-E98C41CD6DDB}"/>
              </a:ext>
            </a:extLst>
          </p:cNvPr>
          <p:cNvGrpSpPr/>
          <p:nvPr/>
        </p:nvGrpSpPr>
        <p:grpSpPr>
          <a:xfrm>
            <a:off x="6422540" y="3771070"/>
            <a:ext cx="203598" cy="189688"/>
            <a:chOff x="6422540" y="3771070"/>
            <a:chExt cx="203598" cy="189688"/>
          </a:xfrm>
        </p:grpSpPr>
        <p:sp>
          <p:nvSpPr>
            <p:cNvPr id="842" name="Freeform 1439">
              <a:extLst>
                <a:ext uri="{FF2B5EF4-FFF2-40B4-BE49-F238E27FC236}">
                  <a16:creationId xmlns:a16="http://schemas.microsoft.com/office/drawing/2014/main" id="{C1E51C3B-43D1-432D-9091-AE33DC604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127" y="3922820"/>
              <a:ext cx="188423" cy="34144"/>
            </a:xfrm>
            <a:custGeom>
              <a:avLst/>
              <a:gdLst>
                <a:gd name="T0" fmla="*/ 145 w 149"/>
                <a:gd name="T1" fmla="*/ 23 h 27"/>
                <a:gd name="T2" fmla="*/ 82 w 149"/>
                <a:gd name="T3" fmla="*/ 27 h 27"/>
                <a:gd name="T4" fmla="*/ 7 w 149"/>
                <a:gd name="T5" fmla="*/ 23 h 27"/>
                <a:gd name="T6" fmla="*/ 0 w 149"/>
                <a:gd name="T7" fmla="*/ 0 h 27"/>
                <a:gd name="T8" fmla="*/ 149 w 149"/>
                <a:gd name="T9" fmla="*/ 0 h 27"/>
                <a:gd name="T10" fmla="*/ 145 w 149"/>
                <a:gd name="T1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9" h="27">
                  <a:moveTo>
                    <a:pt x="145" y="23"/>
                  </a:moveTo>
                  <a:lnTo>
                    <a:pt x="82" y="27"/>
                  </a:lnTo>
                  <a:lnTo>
                    <a:pt x="7" y="23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5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3" name="Freeform 1440">
              <a:extLst>
                <a:ext uri="{FF2B5EF4-FFF2-40B4-BE49-F238E27FC236}">
                  <a16:creationId xmlns:a16="http://schemas.microsoft.com/office/drawing/2014/main" id="{6A869C03-F139-4486-A0CF-58AD4E4B63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0127" y="3886147"/>
              <a:ext cx="188423" cy="11381"/>
            </a:xfrm>
            <a:custGeom>
              <a:avLst/>
              <a:gdLst>
                <a:gd name="T0" fmla="*/ 0 w 104"/>
                <a:gd name="T1" fmla="*/ 6 h 6"/>
                <a:gd name="T2" fmla="*/ 27 w 104"/>
                <a:gd name="T3" fmla="*/ 6 h 6"/>
                <a:gd name="T4" fmla="*/ 30 w 104"/>
                <a:gd name="T5" fmla="*/ 3 h 6"/>
                <a:gd name="T6" fmla="*/ 27 w 104"/>
                <a:gd name="T7" fmla="*/ 0 h 6"/>
                <a:gd name="T8" fmla="*/ 0 w 104"/>
                <a:gd name="T9" fmla="*/ 0 h 6"/>
                <a:gd name="T10" fmla="*/ 0 w 104"/>
                <a:gd name="T11" fmla="*/ 6 h 6"/>
                <a:gd name="T12" fmla="*/ 73 w 104"/>
                <a:gd name="T13" fmla="*/ 3 h 6"/>
                <a:gd name="T14" fmla="*/ 73 w 104"/>
                <a:gd name="T15" fmla="*/ 3 h 6"/>
                <a:gd name="T16" fmla="*/ 76 w 104"/>
                <a:gd name="T17" fmla="*/ 6 h 6"/>
                <a:gd name="T18" fmla="*/ 104 w 104"/>
                <a:gd name="T19" fmla="*/ 6 h 6"/>
                <a:gd name="T20" fmla="*/ 104 w 104"/>
                <a:gd name="T21" fmla="*/ 0 h 6"/>
                <a:gd name="T22" fmla="*/ 76 w 104"/>
                <a:gd name="T23" fmla="*/ 0 h 6"/>
                <a:gd name="T24" fmla="*/ 73 w 104"/>
                <a:gd name="T2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6">
                  <a:moveTo>
                    <a:pt x="0" y="6"/>
                  </a:moveTo>
                  <a:cubicBezTo>
                    <a:pt x="27" y="6"/>
                    <a:pt x="27" y="6"/>
                    <a:pt x="27" y="6"/>
                  </a:cubicBezTo>
                  <a:cubicBezTo>
                    <a:pt x="28" y="6"/>
                    <a:pt x="30" y="5"/>
                    <a:pt x="30" y="3"/>
                  </a:cubicBezTo>
                  <a:cubicBezTo>
                    <a:pt x="30" y="1"/>
                    <a:pt x="28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"/>
                  </a:lnTo>
                  <a:close/>
                  <a:moveTo>
                    <a:pt x="73" y="3"/>
                  </a:moveTo>
                  <a:cubicBezTo>
                    <a:pt x="73" y="3"/>
                    <a:pt x="73" y="3"/>
                    <a:pt x="73" y="3"/>
                  </a:cubicBezTo>
                  <a:cubicBezTo>
                    <a:pt x="73" y="5"/>
                    <a:pt x="74" y="6"/>
                    <a:pt x="76" y="6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4" y="0"/>
                    <a:pt x="73" y="1"/>
                    <a:pt x="73" y="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4" name="Freeform 1441">
              <a:extLst>
                <a:ext uri="{FF2B5EF4-FFF2-40B4-BE49-F238E27FC236}">
                  <a16:creationId xmlns:a16="http://schemas.microsoft.com/office/drawing/2014/main" id="{0456FBA6-9BB8-43D9-BFD2-54784EBA91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22540" y="3771070"/>
              <a:ext cx="203598" cy="189688"/>
            </a:xfrm>
            <a:custGeom>
              <a:avLst/>
              <a:gdLst>
                <a:gd name="T0" fmla="*/ 95 w 112"/>
                <a:gd name="T1" fmla="*/ 32 h 105"/>
                <a:gd name="T2" fmla="*/ 87 w 112"/>
                <a:gd name="T3" fmla="*/ 32 h 105"/>
                <a:gd name="T4" fmla="*/ 71 w 112"/>
                <a:gd name="T5" fmla="*/ 15 h 105"/>
                <a:gd name="T6" fmla="*/ 61 w 112"/>
                <a:gd name="T7" fmla="*/ 5 h 105"/>
                <a:gd name="T8" fmla="*/ 52 w 112"/>
                <a:gd name="T9" fmla="*/ 0 h 105"/>
                <a:gd name="T10" fmla="*/ 4 w 112"/>
                <a:gd name="T11" fmla="*/ 0 h 105"/>
                <a:gd name="T12" fmla="*/ 1 w 112"/>
                <a:gd name="T13" fmla="*/ 3 h 105"/>
                <a:gd name="T14" fmla="*/ 4 w 112"/>
                <a:gd name="T15" fmla="*/ 7 h 105"/>
                <a:gd name="T16" fmla="*/ 52 w 112"/>
                <a:gd name="T17" fmla="*/ 7 h 105"/>
                <a:gd name="T18" fmla="*/ 57 w 112"/>
                <a:gd name="T19" fmla="*/ 10 h 105"/>
                <a:gd name="T20" fmla="*/ 66 w 112"/>
                <a:gd name="T21" fmla="*/ 19 h 105"/>
                <a:gd name="T22" fmla="*/ 78 w 112"/>
                <a:gd name="T23" fmla="*/ 32 h 105"/>
                <a:gd name="T24" fmla="*/ 54 w 112"/>
                <a:gd name="T25" fmla="*/ 32 h 105"/>
                <a:gd name="T26" fmla="*/ 43 w 112"/>
                <a:gd name="T27" fmla="*/ 21 h 105"/>
                <a:gd name="T28" fmla="*/ 38 w 112"/>
                <a:gd name="T29" fmla="*/ 21 h 105"/>
                <a:gd name="T30" fmla="*/ 38 w 112"/>
                <a:gd name="T31" fmla="*/ 21 h 105"/>
                <a:gd name="T32" fmla="*/ 38 w 112"/>
                <a:gd name="T33" fmla="*/ 25 h 105"/>
                <a:gd name="T34" fmla="*/ 63 w 112"/>
                <a:gd name="T35" fmla="*/ 50 h 105"/>
                <a:gd name="T36" fmla="*/ 65 w 112"/>
                <a:gd name="T37" fmla="*/ 55 h 105"/>
                <a:gd name="T38" fmla="*/ 63 w 112"/>
                <a:gd name="T39" fmla="*/ 61 h 105"/>
                <a:gd name="T40" fmla="*/ 57 w 112"/>
                <a:gd name="T41" fmla="*/ 63 h 105"/>
                <a:gd name="T42" fmla="*/ 51 w 112"/>
                <a:gd name="T43" fmla="*/ 61 h 105"/>
                <a:gd name="T44" fmla="*/ 14 w 112"/>
                <a:gd name="T45" fmla="*/ 24 h 105"/>
                <a:gd name="T46" fmla="*/ 10 w 112"/>
                <a:gd name="T47" fmla="*/ 24 h 105"/>
                <a:gd name="T48" fmla="*/ 10 w 112"/>
                <a:gd name="T49" fmla="*/ 28 h 105"/>
                <a:gd name="T50" fmla="*/ 14 w 112"/>
                <a:gd name="T51" fmla="*/ 32 h 105"/>
                <a:gd name="T52" fmla="*/ 0 w 112"/>
                <a:gd name="T53" fmla="*/ 49 h 105"/>
                <a:gd name="T54" fmla="*/ 0 w 112"/>
                <a:gd name="T55" fmla="*/ 88 h 105"/>
                <a:gd name="T56" fmla="*/ 17 w 112"/>
                <a:gd name="T57" fmla="*/ 105 h 105"/>
                <a:gd name="T58" fmla="*/ 95 w 112"/>
                <a:gd name="T59" fmla="*/ 105 h 105"/>
                <a:gd name="T60" fmla="*/ 112 w 112"/>
                <a:gd name="T61" fmla="*/ 88 h 105"/>
                <a:gd name="T62" fmla="*/ 112 w 112"/>
                <a:gd name="T63" fmla="*/ 49 h 105"/>
                <a:gd name="T64" fmla="*/ 95 w 112"/>
                <a:gd name="T65" fmla="*/ 32 h 105"/>
                <a:gd name="T66" fmla="*/ 17 w 112"/>
                <a:gd name="T67" fmla="*/ 38 h 105"/>
                <a:gd name="T68" fmla="*/ 20 w 112"/>
                <a:gd name="T69" fmla="*/ 38 h 105"/>
                <a:gd name="T70" fmla="*/ 47 w 112"/>
                <a:gd name="T71" fmla="*/ 65 h 105"/>
                <a:gd name="T72" fmla="*/ 57 w 112"/>
                <a:gd name="T73" fmla="*/ 70 h 105"/>
                <a:gd name="T74" fmla="*/ 57 w 112"/>
                <a:gd name="T75" fmla="*/ 70 h 105"/>
                <a:gd name="T76" fmla="*/ 67 w 112"/>
                <a:gd name="T77" fmla="*/ 65 h 105"/>
                <a:gd name="T78" fmla="*/ 71 w 112"/>
                <a:gd name="T79" fmla="*/ 55 h 105"/>
                <a:gd name="T80" fmla="*/ 67 w 112"/>
                <a:gd name="T81" fmla="*/ 45 h 105"/>
                <a:gd name="T82" fmla="*/ 60 w 112"/>
                <a:gd name="T83" fmla="*/ 38 h 105"/>
                <a:gd name="T84" fmla="*/ 95 w 112"/>
                <a:gd name="T85" fmla="*/ 38 h 105"/>
                <a:gd name="T86" fmla="*/ 105 w 112"/>
                <a:gd name="T87" fmla="*/ 49 h 105"/>
                <a:gd name="T88" fmla="*/ 105 w 112"/>
                <a:gd name="T89" fmla="*/ 82 h 105"/>
                <a:gd name="T90" fmla="*/ 7 w 112"/>
                <a:gd name="T91" fmla="*/ 82 h 105"/>
                <a:gd name="T92" fmla="*/ 7 w 112"/>
                <a:gd name="T93" fmla="*/ 49 h 105"/>
                <a:gd name="T94" fmla="*/ 17 w 112"/>
                <a:gd name="T95" fmla="*/ 38 h 105"/>
                <a:gd name="T96" fmla="*/ 95 w 112"/>
                <a:gd name="T97" fmla="*/ 99 h 105"/>
                <a:gd name="T98" fmla="*/ 17 w 112"/>
                <a:gd name="T99" fmla="*/ 99 h 105"/>
                <a:gd name="T100" fmla="*/ 7 w 112"/>
                <a:gd name="T101" fmla="*/ 89 h 105"/>
                <a:gd name="T102" fmla="*/ 105 w 112"/>
                <a:gd name="T103" fmla="*/ 89 h 105"/>
                <a:gd name="T104" fmla="*/ 95 w 112"/>
                <a:gd name="T105" fmla="*/ 9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2" h="105">
                  <a:moveTo>
                    <a:pt x="95" y="32"/>
                  </a:moveTo>
                  <a:cubicBezTo>
                    <a:pt x="87" y="32"/>
                    <a:pt x="87" y="32"/>
                    <a:pt x="87" y="32"/>
                  </a:cubicBezTo>
                  <a:cubicBezTo>
                    <a:pt x="86" y="30"/>
                    <a:pt x="81" y="26"/>
                    <a:pt x="71" y="15"/>
                  </a:cubicBezTo>
                  <a:cubicBezTo>
                    <a:pt x="67" y="11"/>
                    <a:pt x="64" y="8"/>
                    <a:pt x="61" y="5"/>
                  </a:cubicBezTo>
                  <a:cubicBezTo>
                    <a:pt x="58" y="2"/>
                    <a:pt x="55" y="0"/>
                    <a:pt x="5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1" y="2"/>
                    <a:pt x="1" y="3"/>
                  </a:cubicBezTo>
                  <a:cubicBezTo>
                    <a:pt x="1" y="5"/>
                    <a:pt x="2" y="7"/>
                    <a:pt x="4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3" y="7"/>
                    <a:pt x="55" y="8"/>
                    <a:pt x="57" y="10"/>
                  </a:cubicBezTo>
                  <a:cubicBezTo>
                    <a:pt x="60" y="12"/>
                    <a:pt x="63" y="15"/>
                    <a:pt x="66" y="19"/>
                  </a:cubicBezTo>
                  <a:cubicBezTo>
                    <a:pt x="72" y="25"/>
                    <a:pt x="75" y="29"/>
                    <a:pt x="78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2" y="19"/>
                    <a:pt x="40" y="19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2"/>
                    <a:pt x="37" y="24"/>
                    <a:pt x="38" y="25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4" y="51"/>
                    <a:pt x="65" y="53"/>
                    <a:pt x="65" y="55"/>
                  </a:cubicBezTo>
                  <a:cubicBezTo>
                    <a:pt x="65" y="57"/>
                    <a:pt x="64" y="59"/>
                    <a:pt x="63" y="61"/>
                  </a:cubicBezTo>
                  <a:cubicBezTo>
                    <a:pt x="61" y="62"/>
                    <a:pt x="59" y="63"/>
                    <a:pt x="57" y="63"/>
                  </a:cubicBezTo>
                  <a:cubicBezTo>
                    <a:pt x="55" y="63"/>
                    <a:pt x="53" y="62"/>
                    <a:pt x="51" y="61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2"/>
                    <a:pt x="11" y="22"/>
                    <a:pt x="10" y="24"/>
                  </a:cubicBezTo>
                  <a:cubicBezTo>
                    <a:pt x="9" y="25"/>
                    <a:pt x="9" y="27"/>
                    <a:pt x="10" y="28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6" y="34"/>
                    <a:pt x="0" y="41"/>
                    <a:pt x="0" y="49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7"/>
                    <a:pt x="8" y="105"/>
                    <a:pt x="17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104" y="105"/>
                    <a:pt x="112" y="97"/>
                    <a:pt x="112" y="88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39"/>
                    <a:pt x="104" y="32"/>
                    <a:pt x="95" y="32"/>
                  </a:cubicBezTo>
                  <a:moveTo>
                    <a:pt x="17" y="38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50" y="68"/>
                    <a:pt x="53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61" y="70"/>
                    <a:pt x="64" y="68"/>
                    <a:pt x="67" y="65"/>
                  </a:cubicBezTo>
                  <a:cubicBezTo>
                    <a:pt x="70" y="63"/>
                    <a:pt x="71" y="59"/>
                    <a:pt x="71" y="55"/>
                  </a:cubicBezTo>
                  <a:cubicBezTo>
                    <a:pt x="71" y="52"/>
                    <a:pt x="70" y="48"/>
                    <a:pt x="67" y="45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101" y="38"/>
                    <a:pt x="105" y="43"/>
                    <a:pt x="105" y="49"/>
                  </a:cubicBezTo>
                  <a:cubicBezTo>
                    <a:pt x="105" y="82"/>
                    <a:pt x="105" y="82"/>
                    <a:pt x="105" y="82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3"/>
                    <a:pt x="11" y="38"/>
                    <a:pt x="17" y="38"/>
                  </a:cubicBezTo>
                  <a:moveTo>
                    <a:pt x="95" y="99"/>
                  </a:moveTo>
                  <a:cubicBezTo>
                    <a:pt x="17" y="99"/>
                    <a:pt x="17" y="99"/>
                    <a:pt x="17" y="99"/>
                  </a:cubicBezTo>
                  <a:cubicBezTo>
                    <a:pt x="12" y="99"/>
                    <a:pt x="7" y="94"/>
                    <a:pt x="7" y="89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5" y="94"/>
                    <a:pt x="100" y="99"/>
                    <a:pt x="95" y="9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7" name="Agrupar 1696">
            <a:extLst>
              <a:ext uri="{FF2B5EF4-FFF2-40B4-BE49-F238E27FC236}">
                <a16:creationId xmlns:a16="http://schemas.microsoft.com/office/drawing/2014/main" id="{0984DB53-E713-41FC-955B-416477F5DD1E}"/>
              </a:ext>
            </a:extLst>
          </p:cNvPr>
          <p:cNvGrpSpPr/>
          <p:nvPr/>
        </p:nvGrpSpPr>
        <p:grpSpPr>
          <a:xfrm>
            <a:off x="4415643" y="5858900"/>
            <a:ext cx="233948" cy="247859"/>
            <a:chOff x="4415643" y="5858900"/>
            <a:chExt cx="233948" cy="247859"/>
          </a:xfrm>
        </p:grpSpPr>
        <p:sp>
          <p:nvSpPr>
            <p:cNvPr id="845" name="Freeform 1442">
              <a:extLst>
                <a:ext uri="{FF2B5EF4-FFF2-40B4-BE49-F238E27FC236}">
                  <a16:creationId xmlns:a16="http://schemas.microsoft.com/office/drawing/2014/main" id="{643DA945-8928-4358-B24F-FA569A2AC0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9437" y="5923394"/>
              <a:ext cx="227625" cy="183365"/>
            </a:xfrm>
            <a:custGeom>
              <a:avLst/>
              <a:gdLst>
                <a:gd name="T0" fmla="*/ 60 w 126"/>
                <a:gd name="T1" fmla="*/ 1 h 101"/>
                <a:gd name="T2" fmla="*/ 37 w 126"/>
                <a:gd name="T3" fmla="*/ 29 h 101"/>
                <a:gd name="T4" fmla="*/ 4 w 126"/>
                <a:gd name="T5" fmla="*/ 64 h 101"/>
                <a:gd name="T6" fmla="*/ 4 w 126"/>
                <a:gd name="T7" fmla="*/ 64 h 101"/>
                <a:gd name="T8" fmla="*/ 5 w 126"/>
                <a:gd name="T9" fmla="*/ 61 h 101"/>
                <a:gd name="T10" fmla="*/ 4 w 126"/>
                <a:gd name="T11" fmla="*/ 64 h 101"/>
                <a:gd name="T12" fmla="*/ 122 w 126"/>
                <a:gd name="T13" fmla="*/ 64 h 101"/>
                <a:gd name="T14" fmla="*/ 4 w 126"/>
                <a:gd name="T15" fmla="*/ 64 h 101"/>
                <a:gd name="T16" fmla="*/ 22 w 126"/>
                <a:gd name="T17" fmla="*/ 100 h 101"/>
                <a:gd name="T18" fmla="*/ 105 w 126"/>
                <a:gd name="T19" fmla="*/ 94 h 101"/>
                <a:gd name="T20" fmla="*/ 122 w 126"/>
                <a:gd name="T21" fmla="*/ 6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01">
                  <a:moveTo>
                    <a:pt x="60" y="1"/>
                  </a:moveTo>
                  <a:cubicBezTo>
                    <a:pt x="40" y="0"/>
                    <a:pt x="37" y="29"/>
                    <a:pt x="37" y="29"/>
                  </a:cubicBezTo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5" y="63"/>
                    <a:pt x="5" y="62"/>
                    <a:pt x="5" y="61"/>
                  </a:cubicBezTo>
                  <a:lnTo>
                    <a:pt x="4" y="64"/>
                  </a:lnTo>
                  <a:close/>
                  <a:moveTo>
                    <a:pt x="122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0" y="88"/>
                    <a:pt x="17" y="98"/>
                    <a:pt x="22" y="100"/>
                  </a:cubicBezTo>
                  <a:cubicBezTo>
                    <a:pt x="27" y="101"/>
                    <a:pt x="83" y="101"/>
                    <a:pt x="105" y="94"/>
                  </a:cubicBezTo>
                  <a:cubicBezTo>
                    <a:pt x="126" y="87"/>
                    <a:pt x="122" y="64"/>
                    <a:pt x="122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6" name="Freeform 1443">
              <a:extLst>
                <a:ext uri="{FF2B5EF4-FFF2-40B4-BE49-F238E27FC236}">
                  <a16:creationId xmlns:a16="http://schemas.microsoft.com/office/drawing/2014/main" id="{2E1B4EB4-7B85-48A3-BE0F-898E22011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5643" y="5858900"/>
              <a:ext cx="233948" cy="246594"/>
            </a:xfrm>
            <a:custGeom>
              <a:avLst/>
              <a:gdLst>
                <a:gd name="T0" fmla="*/ 127 w 129"/>
                <a:gd name="T1" fmla="*/ 94 h 136"/>
                <a:gd name="T2" fmla="*/ 8 w 129"/>
                <a:gd name="T3" fmla="*/ 94 h 136"/>
                <a:gd name="T4" fmla="*/ 8 w 129"/>
                <a:gd name="T5" fmla="*/ 35 h 136"/>
                <a:gd name="T6" fmla="*/ 35 w 129"/>
                <a:gd name="T7" fmla="*/ 8 h 136"/>
                <a:gd name="T8" fmla="*/ 38 w 129"/>
                <a:gd name="T9" fmla="*/ 8 h 136"/>
                <a:gd name="T10" fmla="*/ 65 w 129"/>
                <a:gd name="T11" fmla="*/ 31 h 136"/>
                <a:gd name="T12" fmla="*/ 34 w 129"/>
                <a:gd name="T13" fmla="*/ 63 h 136"/>
                <a:gd name="T14" fmla="*/ 34 w 129"/>
                <a:gd name="T15" fmla="*/ 67 h 136"/>
                <a:gd name="T16" fmla="*/ 100 w 129"/>
                <a:gd name="T17" fmla="*/ 67 h 136"/>
                <a:gd name="T18" fmla="*/ 100 w 129"/>
                <a:gd name="T19" fmla="*/ 63 h 136"/>
                <a:gd name="T20" fmla="*/ 73 w 129"/>
                <a:gd name="T21" fmla="*/ 32 h 136"/>
                <a:gd name="T22" fmla="*/ 38 w 129"/>
                <a:gd name="T23" fmla="*/ 0 h 136"/>
                <a:gd name="T24" fmla="*/ 35 w 129"/>
                <a:gd name="T25" fmla="*/ 0 h 136"/>
                <a:gd name="T26" fmla="*/ 0 w 129"/>
                <a:gd name="T27" fmla="*/ 35 h 136"/>
                <a:gd name="T28" fmla="*/ 0 w 129"/>
                <a:gd name="T29" fmla="*/ 98 h 136"/>
                <a:gd name="T30" fmla="*/ 0 w 129"/>
                <a:gd name="T31" fmla="*/ 98 h 136"/>
                <a:gd name="T32" fmla="*/ 0 w 129"/>
                <a:gd name="T33" fmla="*/ 101 h 136"/>
                <a:gd name="T34" fmla="*/ 35 w 129"/>
                <a:gd name="T35" fmla="*/ 136 h 136"/>
                <a:gd name="T36" fmla="*/ 95 w 129"/>
                <a:gd name="T37" fmla="*/ 136 h 136"/>
                <a:gd name="T38" fmla="*/ 129 w 129"/>
                <a:gd name="T39" fmla="*/ 101 h 136"/>
                <a:gd name="T40" fmla="*/ 129 w 129"/>
                <a:gd name="T41" fmla="*/ 97 h 136"/>
                <a:gd name="T42" fmla="*/ 127 w 129"/>
                <a:gd name="T43" fmla="*/ 94 h 136"/>
                <a:gd name="T44" fmla="*/ 92 w 129"/>
                <a:gd name="T45" fmla="*/ 59 h 136"/>
                <a:gd name="T46" fmla="*/ 42 w 129"/>
                <a:gd name="T47" fmla="*/ 59 h 136"/>
                <a:gd name="T48" fmla="*/ 67 w 129"/>
                <a:gd name="T49" fmla="*/ 39 h 136"/>
                <a:gd name="T50" fmla="*/ 92 w 129"/>
                <a:gd name="T51" fmla="*/ 59 h 136"/>
                <a:gd name="T52" fmla="*/ 95 w 129"/>
                <a:gd name="T53" fmla="*/ 128 h 136"/>
                <a:gd name="T54" fmla="*/ 35 w 129"/>
                <a:gd name="T55" fmla="*/ 128 h 136"/>
                <a:gd name="T56" fmla="*/ 8 w 129"/>
                <a:gd name="T57" fmla="*/ 102 h 136"/>
                <a:gd name="T58" fmla="*/ 122 w 129"/>
                <a:gd name="T59" fmla="*/ 102 h 136"/>
                <a:gd name="T60" fmla="*/ 95 w 129"/>
                <a:gd name="T61" fmla="*/ 1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9" h="136">
                  <a:moveTo>
                    <a:pt x="127" y="94"/>
                  </a:moveTo>
                  <a:cubicBezTo>
                    <a:pt x="8" y="94"/>
                    <a:pt x="8" y="94"/>
                    <a:pt x="8" y="94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20"/>
                    <a:pt x="20" y="8"/>
                    <a:pt x="35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52" y="8"/>
                    <a:pt x="63" y="18"/>
                    <a:pt x="65" y="31"/>
                  </a:cubicBezTo>
                  <a:cubicBezTo>
                    <a:pt x="48" y="32"/>
                    <a:pt x="35" y="46"/>
                    <a:pt x="34" y="63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99" y="47"/>
                    <a:pt x="88" y="34"/>
                    <a:pt x="73" y="32"/>
                  </a:cubicBezTo>
                  <a:cubicBezTo>
                    <a:pt x="71" y="14"/>
                    <a:pt x="56" y="0"/>
                    <a:pt x="38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21"/>
                    <a:pt x="16" y="136"/>
                    <a:pt x="35" y="136"/>
                  </a:cubicBezTo>
                  <a:cubicBezTo>
                    <a:pt x="95" y="136"/>
                    <a:pt x="95" y="136"/>
                    <a:pt x="95" y="136"/>
                  </a:cubicBezTo>
                  <a:cubicBezTo>
                    <a:pt x="114" y="136"/>
                    <a:pt x="129" y="121"/>
                    <a:pt x="129" y="101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6"/>
                    <a:pt x="128" y="94"/>
                    <a:pt x="127" y="94"/>
                  </a:cubicBezTo>
                  <a:moveTo>
                    <a:pt x="92" y="59"/>
                  </a:moveTo>
                  <a:cubicBezTo>
                    <a:pt x="42" y="59"/>
                    <a:pt x="42" y="59"/>
                    <a:pt x="42" y="59"/>
                  </a:cubicBezTo>
                  <a:cubicBezTo>
                    <a:pt x="44" y="48"/>
                    <a:pt x="55" y="39"/>
                    <a:pt x="67" y="39"/>
                  </a:cubicBezTo>
                  <a:cubicBezTo>
                    <a:pt x="79" y="39"/>
                    <a:pt x="89" y="48"/>
                    <a:pt x="92" y="59"/>
                  </a:cubicBezTo>
                  <a:moveTo>
                    <a:pt x="95" y="128"/>
                  </a:moveTo>
                  <a:cubicBezTo>
                    <a:pt x="35" y="128"/>
                    <a:pt x="35" y="128"/>
                    <a:pt x="35" y="128"/>
                  </a:cubicBezTo>
                  <a:cubicBezTo>
                    <a:pt x="20" y="128"/>
                    <a:pt x="8" y="117"/>
                    <a:pt x="8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17"/>
                    <a:pt x="110" y="128"/>
                    <a:pt x="95" y="12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7" name="Freeform 1444">
              <a:extLst>
                <a:ext uri="{FF2B5EF4-FFF2-40B4-BE49-F238E27FC236}">
                  <a16:creationId xmlns:a16="http://schemas.microsoft.com/office/drawing/2014/main" id="{0A804023-F8F8-4E6F-A800-D4F62E2F74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3930" y="6001799"/>
              <a:ext cx="98638" cy="13910"/>
            </a:xfrm>
            <a:custGeom>
              <a:avLst/>
              <a:gdLst>
                <a:gd name="T0" fmla="*/ 27 w 54"/>
                <a:gd name="T1" fmla="*/ 8 h 8"/>
                <a:gd name="T2" fmla="*/ 27 w 54"/>
                <a:gd name="T3" fmla="*/ 8 h 8"/>
                <a:gd name="T4" fmla="*/ 31 w 54"/>
                <a:gd name="T5" fmla="*/ 4 h 8"/>
                <a:gd name="T6" fmla="*/ 31 w 54"/>
                <a:gd name="T7" fmla="*/ 4 h 8"/>
                <a:gd name="T8" fmla="*/ 27 w 54"/>
                <a:gd name="T9" fmla="*/ 0 h 8"/>
                <a:gd name="T10" fmla="*/ 23 w 54"/>
                <a:gd name="T11" fmla="*/ 4 h 8"/>
                <a:gd name="T12" fmla="*/ 23 w 54"/>
                <a:gd name="T13" fmla="*/ 4 h 8"/>
                <a:gd name="T14" fmla="*/ 27 w 54"/>
                <a:gd name="T15" fmla="*/ 8 h 8"/>
                <a:gd name="T16" fmla="*/ 4 w 54"/>
                <a:gd name="T17" fmla="*/ 8 h 8"/>
                <a:gd name="T18" fmla="*/ 4 w 54"/>
                <a:gd name="T19" fmla="*/ 8 h 8"/>
                <a:gd name="T20" fmla="*/ 8 w 54"/>
                <a:gd name="T21" fmla="*/ 4 h 8"/>
                <a:gd name="T22" fmla="*/ 8 w 54"/>
                <a:gd name="T23" fmla="*/ 4 h 8"/>
                <a:gd name="T24" fmla="*/ 4 w 54"/>
                <a:gd name="T25" fmla="*/ 0 h 8"/>
                <a:gd name="T26" fmla="*/ 4 w 54"/>
                <a:gd name="T27" fmla="*/ 0 h 8"/>
                <a:gd name="T28" fmla="*/ 0 w 54"/>
                <a:gd name="T29" fmla="*/ 4 h 8"/>
                <a:gd name="T30" fmla="*/ 0 w 54"/>
                <a:gd name="T31" fmla="*/ 4 h 8"/>
                <a:gd name="T32" fmla="*/ 4 w 54"/>
                <a:gd name="T33" fmla="*/ 8 h 8"/>
                <a:gd name="T34" fmla="*/ 46 w 54"/>
                <a:gd name="T35" fmla="*/ 4 h 8"/>
                <a:gd name="T36" fmla="*/ 46 w 54"/>
                <a:gd name="T37" fmla="*/ 4 h 8"/>
                <a:gd name="T38" fmla="*/ 50 w 54"/>
                <a:gd name="T39" fmla="*/ 8 h 8"/>
                <a:gd name="T40" fmla="*/ 54 w 54"/>
                <a:gd name="T41" fmla="*/ 4 h 8"/>
                <a:gd name="T42" fmla="*/ 54 w 54"/>
                <a:gd name="T43" fmla="*/ 4 h 8"/>
                <a:gd name="T44" fmla="*/ 50 w 54"/>
                <a:gd name="T45" fmla="*/ 0 h 8"/>
                <a:gd name="T46" fmla="*/ 46 w 54"/>
                <a:gd name="T4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8">
                  <a:moveTo>
                    <a:pt x="27" y="8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9" y="8"/>
                    <a:pt x="31" y="7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2"/>
                    <a:pt x="29" y="0"/>
                    <a:pt x="27" y="0"/>
                  </a:cubicBezTo>
                  <a:cubicBezTo>
                    <a:pt x="25" y="0"/>
                    <a:pt x="23" y="2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7"/>
                    <a:pt x="25" y="8"/>
                    <a:pt x="27" y="8"/>
                  </a:cubicBezTo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6" y="8"/>
                    <a:pt x="8" y="7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moveTo>
                    <a:pt x="46" y="4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46" y="7"/>
                    <a:pt x="48" y="8"/>
                    <a:pt x="50" y="8"/>
                  </a:cubicBezTo>
                  <a:cubicBezTo>
                    <a:pt x="52" y="8"/>
                    <a:pt x="54" y="7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2"/>
                    <a:pt x="52" y="0"/>
                    <a:pt x="50" y="0"/>
                  </a:cubicBezTo>
                  <a:cubicBezTo>
                    <a:pt x="48" y="0"/>
                    <a:pt x="46" y="2"/>
                    <a:pt x="46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3" name="Agrupar 1672">
            <a:extLst>
              <a:ext uri="{FF2B5EF4-FFF2-40B4-BE49-F238E27FC236}">
                <a16:creationId xmlns:a16="http://schemas.microsoft.com/office/drawing/2014/main" id="{B648382C-1F6A-4083-B73E-1CCC240E30B9}"/>
              </a:ext>
            </a:extLst>
          </p:cNvPr>
          <p:cNvGrpSpPr/>
          <p:nvPr/>
        </p:nvGrpSpPr>
        <p:grpSpPr>
          <a:xfrm>
            <a:off x="6836059" y="3730603"/>
            <a:ext cx="165660" cy="232684"/>
            <a:chOff x="6836059" y="3730603"/>
            <a:chExt cx="165660" cy="232684"/>
          </a:xfrm>
        </p:grpSpPr>
        <p:sp>
          <p:nvSpPr>
            <p:cNvPr id="848" name="Freeform 1445">
              <a:extLst>
                <a:ext uri="{FF2B5EF4-FFF2-40B4-BE49-F238E27FC236}">
                  <a16:creationId xmlns:a16="http://schemas.microsoft.com/office/drawing/2014/main" id="{BFCE9EC7-0013-4586-9D91-B5B0757E8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6059" y="3730603"/>
              <a:ext cx="116342" cy="170719"/>
            </a:xfrm>
            <a:custGeom>
              <a:avLst/>
              <a:gdLst>
                <a:gd name="T0" fmla="*/ 42 w 64"/>
                <a:gd name="T1" fmla="*/ 83 h 94"/>
                <a:gd name="T2" fmla="*/ 32 w 64"/>
                <a:gd name="T3" fmla="*/ 73 h 94"/>
                <a:gd name="T4" fmla="*/ 32 w 64"/>
                <a:gd name="T5" fmla="*/ 88 h 94"/>
                <a:gd name="T6" fmla="*/ 9 w 64"/>
                <a:gd name="T7" fmla="*/ 88 h 94"/>
                <a:gd name="T8" fmla="*/ 6 w 64"/>
                <a:gd name="T9" fmla="*/ 85 h 94"/>
                <a:gd name="T10" fmla="*/ 6 w 64"/>
                <a:gd name="T11" fmla="*/ 10 h 94"/>
                <a:gd name="T12" fmla="*/ 9 w 64"/>
                <a:gd name="T13" fmla="*/ 7 h 94"/>
                <a:gd name="T14" fmla="*/ 32 w 64"/>
                <a:gd name="T15" fmla="*/ 7 h 94"/>
                <a:gd name="T16" fmla="*/ 32 w 64"/>
                <a:gd name="T17" fmla="*/ 48 h 94"/>
                <a:gd name="T18" fmla="*/ 39 w 64"/>
                <a:gd name="T19" fmla="*/ 51 h 94"/>
                <a:gd name="T20" fmla="*/ 48 w 64"/>
                <a:gd name="T21" fmla="*/ 59 h 94"/>
                <a:gd name="T22" fmla="*/ 48 w 64"/>
                <a:gd name="T23" fmla="*/ 7 h 94"/>
                <a:gd name="T24" fmla="*/ 55 w 64"/>
                <a:gd name="T25" fmla="*/ 7 h 94"/>
                <a:gd name="T26" fmla="*/ 58 w 64"/>
                <a:gd name="T27" fmla="*/ 10 h 94"/>
                <a:gd name="T28" fmla="*/ 58 w 64"/>
                <a:gd name="T29" fmla="*/ 70 h 94"/>
                <a:gd name="T30" fmla="*/ 64 w 64"/>
                <a:gd name="T31" fmla="*/ 76 h 94"/>
                <a:gd name="T32" fmla="*/ 64 w 64"/>
                <a:gd name="T33" fmla="*/ 10 h 94"/>
                <a:gd name="T34" fmla="*/ 55 w 64"/>
                <a:gd name="T35" fmla="*/ 0 h 94"/>
                <a:gd name="T36" fmla="*/ 9 w 64"/>
                <a:gd name="T37" fmla="*/ 0 h 94"/>
                <a:gd name="T38" fmla="*/ 0 w 64"/>
                <a:gd name="T39" fmla="*/ 10 h 94"/>
                <a:gd name="T40" fmla="*/ 0 w 64"/>
                <a:gd name="T41" fmla="*/ 85 h 94"/>
                <a:gd name="T42" fmla="*/ 9 w 64"/>
                <a:gd name="T43" fmla="*/ 94 h 94"/>
                <a:gd name="T44" fmla="*/ 40 w 64"/>
                <a:gd name="T45" fmla="*/ 94 h 94"/>
                <a:gd name="T46" fmla="*/ 42 w 64"/>
                <a:gd name="T47" fmla="*/ 8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94">
                  <a:moveTo>
                    <a:pt x="42" y="83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88"/>
                    <a:pt x="32" y="88"/>
                    <a:pt x="32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7" y="88"/>
                    <a:pt x="6" y="87"/>
                    <a:pt x="6" y="85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8"/>
                    <a:pt x="7" y="7"/>
                    <a:pt x="9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5" y="48"/>
                    <a:pt x="37" y="49"/>
                    <a:pt x="39" y="51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7" y="7"/>
                    <a:pt x="58" y="8"/>
                    <a:pt x="58" y="1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4"/>
                    <a:pt x="60" y="0"/>
                    <a:pt x="5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90"/>
                    <a:pt x="4" y="94"/>
                    <a:pt x="9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0"/>
                    <a:pt x="40" y="87"/>
                    <a:pt x="42" y="83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9" name="Freeform 1446">
              <a:extLst>
                <a:ext uri="{FF2B5EF4-FFF2-40B4-BE49-F238E27FC236}">
                  <a16:creationId xmlns:a16="http://schemas.microsoft.com/office/drawing/2014/main" id="{81F73A2E-4114-4FCD-97B3-BFE5D50407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68938" y="3797626"/>
              <a:ext cx="132781" cy="165661"/>
            </a:xfrm>
            <a:custGeom>
              <a:avLst/>
              <a:gdLst>
                <a:gd name="T0" fmla="*/ 5 w 73"/>
                <a:gd name="T1" fmla="*/ 63 h 91"/>
                <a:gd name="T2" fmla="*/ 15 w 73"/>
                <a:gd name="T3" fmla="*/ 91 h 91"/>
                <a:gd name="T4" fmla="*/ 21 w 73"/>
                <a:gd name="T5" fmla="*/ 91 h 91"/>
                <a:gd name="T6" fmla="*/ 11 w 73"/>
                <a:gd name="T7" fmla="*/ 63 h 91"/>
                <a:gd name="T8" fmla="*/ 5 w 73"/>
                <a:gd name="T9" fmla="*/ 63 h 91"/>
                <a:gd name="T10" fmla="*/ 14 w 73"/>
                <a:gd name="T11" fmla="*/ 7 h 91"/>
                <a:gd name="T12" fmla="*/ 4 w 73"/>
                <a:gd name="T13" fmla="*/ 11 h 91"/>
                <a:gd name="T14" fmla="*/ 0 w 73"/>
                <a:gd name="T15" fmla="*/ 20 h 91"/>
                <a:gd name="T16" fmla="*/ 4 w 73"/>
                <a:gd name="T17" fmla="*/ 30 h 91"/>
                <a:gd name="T18" fmla="*/ 20 w 73"/>
                <a:gd name="T19" fmla="*/ 46 h 91"/>
                <a:gd name="T20" fmla="*/ 32 w 73"/>
                <a:gd name="T21" fmla="*/ 79 h 91"/>
                <a:gd name="T22" fmla="*/ 35 w 73"/>
                <a:gd name="T23" fmla="*/ 74 h 91"/>
                <a:gd name="T24" fmla="*/ 27 w 73"/>
                <a:gd name="T25" fmla="*/ 46 h 91"/>
                <a:gd name="T26" fmla="*/ 27 w 73"/>
                <a:gd name="T27" fmla="*/ 44 h 91"/>
                <a:gd name="T28" fmla="*/ 9 w 73"/>
                <a:gd name="T29" fmla="*/ 26 h 91"/>
                <a:gd name="T30" fmla="*/ 6 w 73"/>
                <a:gd name="T31" fmla="*/ 20 h 91"/>
                <a:gd name="T32" fmla="*/ 9 w 73"/>
                <a:gd name="T33" fmla="*/ 15 h 91"/>
                <a:gd name="T34" fmla="*/ 19 w 73"/>
                <a:gd name="T35" fmla="*/ 15 h 91"/>
                <a:gd name="T36" fmla="*/ 52 w 73"/>
                <a:gd name="T37" fmla="*/ 48 h 91"/>
                <a:gd name="T38" fmla="*/ 56 w 73"/>
                <a:gd name="T39" fmla="*/ 44 h 91"/>
                <a:gd name="T40" fmla="*/ 23 w 73"/>
                <a:gd name="T41" fmla="*/ 11 h 91"/>
                <a:gd name="T42" fmla="*/ 14 w 73"/>
                <a:gd name="T43" fmla="*/ 7 h 91"/>
                <a:gd name="T44" fmla="*/ 66 w 73"/>
                <a:gd name="T45" fmla="*/ 23 h 91"/>
                <a:gd name="T46" fmla="*/ 43 w 73"/>
                <a:gd name="T47" fmla="*/ 0 h 91"/>
                <a:gd name="T48" fmla="*/ 43 w 73"/>
                <a:gd name="T49" fmla="*/ 9 h 91"/>
                <a:gd name="T50" fmla="*/ 62 w 73"/>
                <a:gd name="T51" fmla="*/ 27 h 91"/>
                <a:gd name="T52" fmla="*/ 66 w 73"/>
                <a:gd name="T53" fmla="*/ 39 h 91"/>
                <a:gd name="T54" fmla="*/ 66 w 73"/>
                <a:gd name="T55" fmla="*/ 91 h 91"/>
                <a:gd name="T56" fmla="*/ 73 w 73"/>
                <a:gd name="T57" fmla="*/ 91 h 91"/>
                <a:gd name="T58" fmla="*/ 73 w 73"/>
                <a:gd name="T59" fmla="*/ 39 h 91"/>
                <a:gd name="T60" fmla="*/ 66 w 73"/>
                <a:gd name="T61" fmla="*/ 2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3" h="91">
                  <a:moveTo>
                    <a:pt x="5" y="63"/>
                  </a:moveTo>
                  <a:cubicBezTo>
                    <a:pt x="5" y="76"/>
                    <a:pt x="12" y="83"/>
                    <a:pt x="15" y="91"/>
                  </a:cubicBezTo>
                  <a:cubicBezTo>
                    <a:pt x="21" y="91"/>
                    <a:pt x="21" y="91"/>
                    <a:pt x="21" y="91"/>
                  </a:cubicBezTo>
                  <a:cubicBezTo>
                    <a:pt x="21" y="84"/>
                    <a:pt x="11" y="76"/>
                    <a:pt x="11" y="63"/>
                  </a:cubicBezTo>
                  <a:lnTo>
                    <a:pt x="5" y="63"/>
                  </a:lnTo>
                  <a:close/>
                  <a:moveTo>
                    <a:pt x="14" y="7"/>
                  </a:moveTo>
                  <a:cubicBezTo>
                    <a:pt x="10" y="7"/>
                    <a:pt x="7" y="8"/>
                    <a:pt x="4" y="11"/>
                  </a:cubicBezTo>
                  <a:cubicBezTo>
                    <a:pt x="2" y="13"/>
                    <a:pt x="0" y="17"/>
                    <a:pt x="0" y="20"/>
                  </a:cubicBezTo>
                  <a:cubicBezTo>
                    <a:pt x="0" y="24"/>
                    <a:pt x="2" y="27"/>
                    <a:pt x="4" y="30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16" y="58"/>
                    <a:pt x="21" y="71"/>
                    <a:pt x="32" y="79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26" y="67"/>
                    <a:pt x="23" y="56"/>
                    <a:pt x="27" y="46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7" y="24"/>
                    <a:pt x="6" y="22"/>
                    <a:pt x="6" y="20"/>
                  </a:cubicBezTo>
                  <a:cubicBezTo>
                    <a:pt x="6" y="18"/>
                    <a:pt x="7" y="17"/>
                    <a:pt x="9" y="15"/>
                  </a:cubicBezTo>
                  <a:cubicBezTo>
                    <a:pt x="11" y="12"/>
                    <a:pt x="16" y="12"/>
                    <a:pt x="19" y="15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1" y="8"/>
                    <a:pt x="17" y="7"/>
                    <a:pt x="14" y="7"/>
                  </a:cubicBezTo>
                  <a:moveTo>
                    <a:pt x="66" y="23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5" y="30"/>
                    <a:pt x="66" y="34"/>
                    <a:pt x="66" y="39"/>
                  </a:cubicBezTo>
                  <a:cubicBezTo>
                    <a:pt x="66" y="91"/>
                    <a:pt x="66" y="91"/>
                    <a:pt x="6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3"/>
                    <a:pt x="70" y="27"/>
                    <a:pt x="66" y="23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1" name="Agrupar 1670">
            <a:extLst>
              <a:ext uri="{FF2B5EF4-FFF2-40B4-BE49-F238E27FC236}">
                <a16:creationId xmlns:a16="http://schemas.microsoft.com/office/drawing/2014/main" id="{619EEC51-F2E7-4ED4-885C-54AC5F950853}"/>
              </a:ext>
            </a:extLst>
          </p:cNvPr>
          <p:cNvGrpSpPr/>
          <p:nvPr/>
        </p:nvGrpSpPr>
        <p:grpSpPr>
          <a:xfrm>
            <a:off x="5902795" y="3817860"/>
            <a:ext cx="375582" cy="142898"/>
            <a:chOff x="5902795" y="3817860"/>
            <a:chExt cx="375582" cy="142898"/>
          </a:xfrm>
        </p:grpSpPr>
        <p:sp>
          <p:nvSpPr>
            <p:cNvPr id="850" name="Freeform 1447">
              <a:extLst>
                <a:ext uri="{FF2B5EF4-FFF2-40B4-BE49-F238E27FC236}">
                  <a16:creationId xmlns:a16="http://schemas.microsoft.com/office/drawing/2014/main" id="{99B7CDE9-0F1D-4F5E-A62B-FD583EE4A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0052" y="3841887"/>
              <a:ext cx="201069" cy="37938"/>
            </a:xfrm>
            <a:custGeom>
              <a:avLst/>
              <a:gdLst>
                <a:gd name="T0" fmla="*/ 109 w 111"/>
                <a:gd name="T1" fmla="*/ 16 h 21"/>
                <a:gd name="T2" fmla="*/ 109 w 111"/>
                <a:gd name="T3" fmla="*/ 16 h 21"/>
                <a:gd name="T4" fmla="*/ 106 w 111"/>
                <a:gd name="T5" fmla="*/ 16 h 21"/>
                <a:gd name="T6" fmla="*/ 1 w 111"/>
                <a:gd name="T7" fmla="*/ 21 h 21"/>
                <a:gd name="T8" fmla="*/ 1 w 111"/>
                <a:gd name="T9" fmla="*/ 21 h 21"/>
                <a:gd name="T10" fmla="*/ 0 w 111"/>
                <a:gd name="T11" fmla="*/ 19 h 21"/>
                <a:gd name="T12" fmla="*/ 1 w 111"/>
                <a:gd name="T13" fmla="*/ 17 h 21"/>
                <a:gd name="T14" fmla="*/ 106 w 111"/>
                <a:gd name="T15" fmla="*/ 13 h 21"/>
                <a:gd name="T16" fmla="*/ 107 w 111"/>
                <a:gd name="T17" fmla="*/ 13 h 21"/>
                <a:gd name="T18" fmla="*/ 107 w 111"/>
                <a:gd name="T19" fmla="*/ 13 h 21"/>
                <a:gd name="T20" fmla="*/ 108 w 111"/>
                <a:gd name="T21" fmla="*/ 12 h 21"/>
                <a:gd name="T22" fmla="*/ 107 w 111"/>
                <a:gd name="T23" fmla="*/ 12 h 21"/>
                <a:gd name="T24" fmla="*/ 107 w 111"/>
                <a:gd name="T25" fmla="*/ 12 h 21"/>
                <a:gd name="T26" fmla="*/ 107 w 111"/>
                <a:gd name="T27" fmla="*/ 12 h 21"/>
                <a:gd name="T28" fmla="*/ 93 w 111"/>
                <a:gd name="T29" fmla="*/ 3 h 21"/>
                <a:gd name="T30" fmla="*/ 92 w 111"/>
                <a:gd name="T31" fmla="*/ 1 h 21"/>
                <a:gd name="T32" fmla="*/ 94 w 111"/>
                <a:gd name="T33" fmla="*/ 0 h 21"/>
                <a:gd name="T34" fmla="*/ 109 w 111"/>
                <a:gd name="T35" fmla="*/ 9 h 21"/>
                <a:gd name="T36" fmla="*/ 111 w 111"/>
                <a:gd name="T37" fmla="*/ 13 h 21"/>
                <a:gd name="T38" fmla="*/ 109 w 111"/>
                <a:gd name="T39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1" h="21">
                  <a:moveTo>
                    <a:pt x="109" y="16"/>
                  </a:moveTo>
                  <a:cubicBezTo>
                    <a:pt x="109" y="16"/>
                    <a:pt x="109" y="16"/>
                    <a:pt x="109" y="16"/>
                  </a:cubicBezTo>
                  <a:cubicBezTo>
                    <a:pt x="108" y="16"/>
                    <a:pt x="107" y="16"/>
                    <a:pt x="106" y="16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18"/>
                    <a:pt x="0" y="17"/>
                    <a:pt x="1" y="17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6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8" y="13"/>
                    <a:pt x="108" y="12"/>
                    <a:pt x="108" y="12"/>
                  </a:cubicBezTo>
                  <a:cubicBezTo>
                    <a:pt x="108" y="12"/>
                    <a:pt x="108" y="12"/>
                    <a:pt x="107" y="12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7" y="12"/>
                    <a:pt x="102" y="6"/>
                    <a:pt x="93" y="3"/>
                  </a:cubicBezTo>
                  <a:cubicBezTo>
                    <a:pt x="92" y="3"/>
                    <a:pt x="91" y="2"/>
                    <a:pt x="92" y="1"/>
                  </a:cubicBezTo>
                  <a:cubicBezTo>
                    <a:pt x="92" y="0"/>
                    <a:pt x="93" y="0"/>
                    <a:pt x="94" y="0"/>
                  </a:cubicBezTo>
                  <a:cubicBezTo>
                    <a:pt x="103" y="3"/>
                    <a:pt x="109" y="9"/>
                    <a:pt x="109" y="9"/>
                  </a:cubicBezTo>
                  <a:cubicBezTo>
                    <a:pt x="110" y="10"/>
                    <a:pt x="111" y="11"/>
                    <a:pt x="111" y="13"/>
                  </a:cubicBezTo>
                  <a:cubicBezTo>
                    <a:pt x="111" y="14"/>
                    <a:pt x="110" y="15"/>
                    <a:pt x="109" y="1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1" name="Freeform 1448">
              <a:extLst>
                <a:ext uri="{FF2B5EF4-FFF2-40B4-BE49-F238E27FC236}">
                  <a16:creationId xmlns:a16="http://schemas.microsoft.com/office/drawing/2014/main" id="{9FCFDEED-1332-487D-B983-9C8631F13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6258" y="3838093"/>
              <a:ext cx="208657" cy="42996"/>
            </a:xfrm>
            <a:custGeom>
              <a:avLst/>
              <a:gdLst>
                <a:gd name="T0" fmla="*/ 3 w 115"/>
                <a:gd name="T1" fmla="*/ 24 h 24"/>
                <a:gd name="T2" fmla="*/ 3 w 115"/>
                <a:gd name="T3" fmla="*/ 24 h 24"/>
                <a:gd name="T4" fmla="*/ 0 w 115"/>
                <a:gd name="T5" fmla="*/ 21 h 24"/>
                <a:gd name="T6" fmla="*/ 1 w 115"/>
                <a:gd name="T7" fmla="*/ 19 h 24"/>
                <a:gd name="T8" fmla="*/ 3 w 115"/>
                <a:gd name="T9" fmla="*/ 18 h 24"/>
                <a:gd name="T10" fmla="*/ 106 w 115"/>
                <a:gd name="T11" fmla="*/ 13 h 24"/>
                <a:gd name="T12" fmla="*/ 94 w 115"/>
                <a:gd name="T13" fmla="*/ 7 h 24"/>
                <a:gd name="T14" fmla="*/ 92 w 115"/>
                <a:gd name="T15" fmla="*/ 5 h 24"/>
                <a:gd name="T16" fmla="*/ 92 w 115"/>
                <a:gd name="T17" fmla="*/ 3 h 24"/>
                <a:gd name="T18" fmla="*/ 96 w 115"/>
                <a:gd name="T19" fmla="*/ 0 h 24"/>
                <a:gd name="T20" fmla="*/ 113 w 115"/>
                <a:gd name="T21" fmla="*/ 10 h 24"/>
                <a:gd name="T22" fmla="*/ 115 w 115"/>
                <a:gd name="T23" fmla="*/ 15 h 24"/>
                <a:gd name="T24" fmla="*/ 111 w 115"/>
                <a:gd name="T25" fmla="*/ 19 h 24"/>
                <a:gd name="T26" fmla="*/ 108 w 115"/>
                <a:gd name="T27" fmla="*/ 20 h 24"/>
                <a:gd name="T28" fmla="*/ 4 w 115"/>
                <a:gd name="T29" fmla="*/ 24 h 24"/>
                <a:gd name="T30" fmla="*/ 3 w 115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24"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2" y="24"/>
                    <a:pt x="0" y="23"/>
                    <a:pt x="0" y="21"/>
                  </a:cubicBezTo>
                  <a:cubicBezTo>
                    <a:pt x="0" y="20"/>
                    <a:pt x="0" y="19"/>
                    <a:pt x="1" y="19"/>
                  </a:cubicBezTo>
                  <a:cubicBezTo>
                    <a:pt x="2" y="18"/>
                    <a:pt x="2" y="18"/>
                    <a:pt x="3" y="18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4" y="12"/>
                    <a:pt x="100" y="9"/>
                    <a:pt x="94" y="7"/>
                  </a:cubicBezTo>
                  <a:cubicBezTo>
                    <a:pt x="93" y="7"/>
                    <a:pt x="93" y="6"/>
                    <a:pt x="92" y="5"/>
                  </a:cubicBezTo>
                  <a:cubicBezTo>
                    <a:pt x="92" y="4"/>
                    <a:pt x="92" y="3"/>
                    <a:pt x="92" y="3"/>
                  </a:cubicBezTo>
                  <a:cubicBezTo>
                    <a:pt x="93" y="1"/>
                    <a:pt x="95" y="0"/>
                    <a:pt x="96" y="0"/>
                  </a:cubicBezTo>
                  <a:cubicBezTo>
                    <a:pt x="106" y="4"/>
                    <a:pt x="112" y="9"/>
                    <a:pt x="113" y="10"/>
                  </a:cubicBezTo>
                  <a:cubicBezTo>
                    <a:pt x="114" y="11"/>
                    <a:pt x="115" y="13"/>
                    <a:pt x="115" y="15"/>
                  </a:cubicBezTo>
                  <a:cubicBezTo>
                    <a:pt x="114" y="17"/>
                    <a:pt x="113" y="18"/>
                    <a:pt x="111" y="19"/>
                  </a:cubicBezTo>
                  <a:cubicBezTo>
                    <a:pt x="110" y="20"/>
                    <a:pt x="109" y="20"/>
                    <a:pt x="108" y="2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24"/>
                    <a:pt x="3" y="24"/>
                    <a:pt x="3" y="2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2" name="Freeform 1449">
              <a:extLst>
                <a:ext uri="{FF2B5EF4-FFF2-40B4-BE49-F238E27FC236}">
                  <a16:creationId xmlns:a16="http://schemas.microsoft.com/office/drawing/2014/main" id="{F9F80E71-5C2B-4B6E-9C4C-5CBD9B624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6589" y="3821653"/>
              <a:ext cx="367994" cy="135311"/>
            </a:xfrm>
            <a:custGeom>
              <a:avLst/>
              <a:gdLst>
                <a:gd name="T0" fmla="*/ 182 w 203"/>
                <a:gd name="T1" fmla="*/ 11 h 75"/>
                <a:gd name="T2" fmla="*/ 184 w 203"/>
                <a:gd name="T3" fmla="*/ 6 h 75"/>
                <a:gd name="T4" fmla="*/ 130 w 203"/>
                <a:gd name="T5" fmla="*/ 0 h 75"/>
                <a:gd name="T6" fmla="*/ 54 w 203"/>
                <a:gd name="T7" fmla="*/ 21 h 75"/>
                <a:gd name="T8" fmla="*/ 0 w 203"/>
                <a:gd name="T9" fmla="*/ 42 h 75"/>
                <a:gd name="T10" fmla="*/ 1 w 203"/>
                <a:gd name="T11" fmla="*/ 56 h 75"/>
                <a:gd name="T12" fmla="*/ 4 w 203"/>
                <a:gd name="T13" fmla="*/ 60 h 75"/>
                <a:gd name="T14" fmla="*/ 36 w 203"/>
                <a:gd name="T15" fmla="*/ 75 h 75"/>
                <a:gd name="T16" fmla="*/ 148 w 203"/>
                <a:gd name="T17" fmla="*/ 65 h 75"/>
                <a:gd name="T18" fmla="*/ 179 w 203"/>
                <a:gd name="T19" fmla="*/ 65 h 75"/>
                <a:gd name="T20" fmla="*/ 197 w 203"/>
                <a:gd name="T21" fmla="*/ 62 h 75"/>
                <a:gd name="T22" fmla="*/ 203 w 203"/>
                <a:gd name="T23" fmla="*/ 49 h 75"/>
                <a:gd name="T24" fmla="*/ 201 w 203"/>
                <a:gd name="T25" fmla="*/ 45 h 75"/>
                <a:gd name="T26" fmla="*/ 200 w 203"/>
                <a:gd name="T27" fmla="*/ 29 h 75"/>
                <a:gd name="T28" fmla="*/ 149 w 203"/>
                <a:gd name="T29" fmla="*/ 58 h 75"/>
                <a:gd name="T30" fmla="*/ 177 w 203"/>
                <a:gd name="T31" fmla="*/ 58 h 75"/>
                <a:gd name="T32" fmla="*/ 150 w 203"/>
                <a:gd name="T33" fmla="*/ 63 h 75"/>
                <a:gd name="T34" fmla="*/ 149 w 203"/>
                <a:gd name="T35" fmla="*/ 58 h 75"/>
                <a:gd name="T36" fmla="*/ 36 w 203"/>
                <a:gd name="T37" fmla="*/ 44 h 75"/>
                <a:gd name="T38" fmla="*/ 36 w 203"/>
                <a:gd name="T39" fmla="*/ 72 h 75"/>
                <a:gd name="T40" fmla="*/ 196 w 203"/>
                <a:gd name="T41" fmla="*/ 29 h 75"/>
                <a:gd name="T42" fmla="*/ 199 w 203"/>
                <a:gd name="T43" fmla="*/ 47 h 75"/>
                <a:gd name="T44" fmla="*/ 200 w 203"/>
                <a:gd name="T45" fmla="*/ 48 h 75"/>
                <a:gd name="T46" fmla="*/ 197 w 203"/>
                <a:gd name="T47" fmla="*/ 58 h 75"/>
                <a:gd name="T48" fmla="*/ 181 w 203"/>
                <a:gd name="T49" fmla="*/ 61 h 75"/>
                <a:gd name="T50" fmla="*/ 163 w 203"/>
                <a:gd name="T51" fmla="*/ 40 h 75"/>
                <a:gd name="T52" fmla="*/ 146 w 203"/>
                <a:gd name="T53" fmla="*/ 62 h 75"/>
                <a:gd name="T54" fmla="*/ 53 w 203"/>
                <a:gd name="T55" fmla="*/ 58 h 75"/>
                <a:gd name="T56" fmla="*/ 18 w 203"/>
                <a:gd name="T57" fmla="*/ 58 h 75"/>
                <a:gd name="T58" fmla="*/ 5 w 203"/>
                <a:gd name="T59" fmla="*/ 57 h 75"/>
                <a:gd name="T60" fmla="*/ 4 w 203"/>
                <a:gd name="T61" fmla="*/ 55 h 75"/>
                <a:gd name="T62" fmla="*/ 3 w 203"/>
                <a:gd name="T63" fmla="*/ 42 h 75"/>
                <a:gd name="T64" fmla="*/ 55 w 203"/>
                <a:gd name="T65" fmla="*/ 24 h 75"/>
                <a:gd name="T66" fmla="*/ 95 w 203"/>
                <a:gd name="T67" fmla="*/ 6 h 75"/>
                <a:gd name="T68" fmla="*/ 131 w 203"/>
                <a:gd name="T69" fmla="*/ 3 h 75"/>
                <a:gd name="T70" fmla="*/ 178 w 203"/>
                <a:gd name="T71" fmla="*/ 12 h 75"/>
                <a:gd name="T72" fmla="*/ 196 w 203"/>
                <a:gd name="T73" fmla="*/ 2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3" h="75">
                  <a:moveTo>
                    <a:pt x="196" y="22"/>
                  </a:moveTo>
                  <a:cubicBezTo>
                    <a:pt x="182" y="11"/>
                    <a:pt x="182" y="11"/>
                    <a:pt x="182" y="11"/>
                  </a:cubicBezTo>
                  <a:cubicBezTo>
                    <a:pt x="183" y="9"/>
                    <a:pt x="183" y="9"/>
                    <a:pt x="183" y="9"/>
                  </a:cubicBezTo>
                  <a:cubicBezTo>
                    <a:pt x="184" y="8"/>
                    <a:pt x="184" y="7"/>
                    <a:pt x="184" y="6"/>
                  </a:cubicBezTo>
                  <a:cubicBezTo>
                    <a:pt x="183" y="5"/>
                    <a:pt x="182" y="5"/>
                    <a:pt x="181" y="5"/>
                  </a:cubicBezTo>
                  <a:cubicBezTo>
                    <a:pt x="180" y="4"/>
                    <a:pt x="145" y="0"/>
                    <a:pt x="130" y="0"/>
                  </a:cubicBezTo>
                  <a:cubicBezTo>
                    <a:pt x="126" y="0"/>
                    <a:pt x="103" y="0"/>
                    <a:pt x="94" y="3"/>
                  </a:cubicBezTo>
                  <a:cubicBezTo>
                    <a:pt x="85" y="6"/>
                    <a:pt x="57" y="19"/>
                    <a:pt x="54" y="21"/>
                  </a:cubicBezTo>
                  <a:cubicBezTo>
                    <a:pt x="35" y="22"/>
                    <a:pt x="20" y="25"/>
                    <a:pt x="11" y="30"/>
                  </a:cubicBezTo>
                  <a:cubicBezTo>
                    <a:pt x="5" y="32"/>
                    <a:pt x="0" y="37"/>
                    <a:pt x="0" y="4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0" y="55"/>
                    <a:pt x="1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8"/>
                    <a:pt x="3" y="59"/>
                    <a:pt x="4" y="60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22" y="71"/>
                    <a:pt x="29" y="75"/>
                    <a:pt x="36" y="75"/>
                  </a:cubicBezTo>
                  <a:cubicBezTo>
                    <a:pt x="43" y="75"/>
                    <a:pt x="49" y="71"/>
                    <a:pt x="52" y="65"/>
                  </a:cubicBezTo>
                  <a:cubicBezTo>
                    <a:pt x="148" y="65"/>
                    <a:pt x="148" y="65"/>
                    <a:pt x="148" y="65"/>
                  </a:cubicBezTo>
                  <a:cubicBezTo>
                    <a:pt x="150" y="71"/>
                    <a:pt x="156" y="75"/>
                    <a:pt x="163" y="75"/>
                  </a:cubicBezTo>
                  <a:cubicBezTo>
                    <a:pt x="171" y="75"/>
                    <a:pt x="177" y="71"/>
                    <a:pt x="179" y="65"/>
                  </a:cubicBezTo>
                  <a:cubicBezTo>
                    <a:pt x="186" y="63"/>
                    <a:pt x="186" y="63"/>
                    <a:pt x="186" y="63"/>
                  </a:cubicBezTo>
                  <a:cubicBezTo>
                    <a:pt x="197" y="62"/>
                    <a:pt x="197" y="62"/>
                    <a:pt x="197" y="62"/>
                  </a:cubicBezTo>
                  <a:cubicBezTo>
                    <a:pt x="200" y="61"/>
                    <a:pt x="202" y="59"/>
                    <a:pt x="202" y="57"/>
                  </a:cubicBezTo>
                  <a:cubicBezTo>
                    <a:pt x="203" y="49"/>
                    <a:pt x="203" y="49"/>
                    <a:pt x="203" y="49"/>
                  </a:cubicBezTo>
                  <a:cubicBezTo>
                    <a:pt x="203" y="47"/>
                    <a:pt x="203" y="46"/>
                    <a:pt x="201" y="45"/>
                  </a:cubicBezTo>
                  <a:cubicBezTo>
                    <a:pt x="201" y="45"/>
                    <a:pt x="201" y="45"/>
                    <a:pt x="201" y="45"/>
                  </a:cubicBezTo>
                  <a:cubicBezTo>
                    <a:pt x="201" y="44"/>
                    <a:pt x="201" y="44"/>
                    <a:pt x="201" y="43"/>
                  </a:cubicBezTo>
                  <a:cubicBezTo>
                    <a:pt x="200" y="29"/>
                    <a:pt x="200" y="29"/>
                    <a:pt x="200" y="29"/>
                  </a:cubicBezTo>
                  <a:cubicBezTo>
                    <a:pt x="200" y="26"/>
                    <a:pt x="198" y="24"/>
                    <a:pt x="196" y="22"/>
                  </a:cubicBezTo>
                  <a:moveTo>
                    <a:pt x="149" y="58"/>
                  </a:moveTo>
                  <a:cubicBezTo>
                    <a:pt x="149" y="50"/>
                    <a:pt x="156" y="44"/>
                    <a:pt x="163" y="44"/>
                  </a:cubicBezTo>
                  <a:cubicBezTo>
                    <a:pt x="171" y="44"/>
                    <a:pt x="177" y="50"/>
                    <a:pt x="177" y="58"/>
                  </a:cubicBezTo>
                  <a:cubicBezTo>
                    <a:pt x="177" y="66"/>
                    <a:pt x="171" y="72"/>
                    <a:pt x="163" y="72"/>
                  </a:cubicBezTo>
                  <a:cubicBezTo>
                    <a:pt x="158" y="72"/>
                    <a:pt x="152" y="68"/>
                    <a:pt x="150" y="63"/>
                  </a:cubicBezTo>
                  <a:cubicBezTo>
                    <a:pt x="150" y="63"/>
                    <a:pt x="150" y="63"/>
                    <a:pt x="150" y="63"/>
                  </a:cubicBezTo>
                  <a:cubicBezTo>
                    <a:pt x="150" y="61"/>
                    <a:pt x="149" y="60"/>
                    <a:pt x="149" y="58"/>
                  </a:cubicBezTo>
                  <a:moveTo>
                    <a:pt x="22" y="58"/>
                  </a:moveTo>
                  <a:cubicBezTo>
                    <a:pt x="22" y="50"/>
                    <a:pt x="28" y="44"/>
                    <a:pt x="36" y="44"/>
                  </a:cubicBezTo>
                  <a:cubicBezTo>
                    <a:pt x="43" y="44"/>
                    <a:pt x="50" y="50"/>
                    <a:pt x="50" y="58"/>
                  </a:cubicBezTo>
                  <a:cubicBezTo>
                    <a:pt x="50" y="66"/>
                    <a:pt x="43" y="72"/>
                    <a:pt x="36" y="72"/>
                  </a:cubicBezTo>
                  <a:cubicBezTo>
                    <a:pt x="28" y="72"/>
                    <a:pt x="22" y="66"/>
                    <a:pt x="22" y="58"/>
                  </a:cubicBezTo>
                  <a:moveTo>
                    <a:pt x="196" y="29"/>
                  </a:moveTo>
                  <a:cubicBezTo>
                    <a:pt x="197" y="43"/>
                    <a:pt x="197" y="43"/>
                    <a:pt x="197" y="43"/>
                  </a:cubicBezTo>
                  <a:cubicBezTo>
                    <a:pt x="198" y="45"/>
                    <a:pt x="198" y="46"/>
                    <a:pt x="199" y="47"/>
                  </a:cubicBezTo>
                  <a:cubicBezTo>
                    <a:pt x="199" y="47"/>
                    <a:pt x="199" y="47"/>
                    <a:pt x="199" y="47"/>
                  </a:cubicBezTo>
                  <a:cubicBezTo>
                    <a:pt x="200" y="47"/>
                    <a:pt x="200" y="48"/>
                    <a:pt x="200" y="48"/>
                  </a:cubicBezTo>
                  <a:cubicBezTo>
                    <a:pt x="199" y="56"/>
                    <a:pt x="199" y="56"/>
                    <a:pt x="199" y="56"/>
                  </a:cubicBezTo>
                  <a:cubicBezTo>
                    <a:pt x="199" y="57"/>
                    <a:pt x="198" y="58"/>
                    <a:pt x="197" y="58"/>
                  </a:cubicBezTo>
                  <a:cubicBezTo>
                    <a:pt x="185" y="60"/>
                    <a:pt x="185" y="60"/>
                    <a:pt x="185" y="60"/>
                  </a:cubicBezTo>
                  <a:cubicBezTo>
                    <a:pt x="181" y="61"/>
                    <a:pt x="181" y="61"/>
                    <a:pt x="181" y="61"/>
                  </a:cubicBezTo>
                  <a:cubicBezTo>
                    <a:pt x="181" y="60"/>
                    <a:pt x="181" y="59"/>
                    <a:pt x="181" y="58"/>
                  </a:cubicBezTo>
                  <a:cubicBezTo>
                    <a:pt x="181" y="48"/>
                    <a:pt x="173" y="40"/>
                    <a:pt x="163" y="40"/>
                  </a:cubicBezTo>
                  <a:cubicBezTo>
                    <a:pt x="154" y="40"/>
                    <a:pt x="146" y="48"/>
                    <a:pt x="146" y="58"/>
                  </a:cubicBezTo>
                  <a:cubicBezTo>
                    <a:pt x="146" y="59"/>
                    <a:pt x="146" y="61"/>
                    <a:pt x="146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3" y="61"/>
                    <a:pt x="53" y="59"/>
                    <a:pt x="53" y="58"/>
                  </a:cubicBezTo>
                  <a:cubicBezTo>
                    <a:pt x="53" y="48"/>
                    <a:pt x="45" y="40"/>
                    <a:pt x="36" y="40"/>
                  </a:cubicBezTo>
                  <a:cubicBezTo>
                    <a:pt x="26" y="40"/>
                    <a:pt x="18" y="48"/>
                    <a:pt x="18" y="58"/>
                  </a:cubicBezTo>
                  <a:cubicBezTo>
                    <a:pt x="18" y="59"/>
                    <a:pt x="18" y="60"/>
                    <a:pt x="19" y="61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6"/>
                    <a:pt x="4" y="56"/>
                    <a:pt x="4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4"/>
                    <a:pt x="3" y="53"/>
                    <a:pt x="3" y="53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38"/>
                    <a:pt x="12" y="26"/>
                    <a:pt x="54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86" y="9"/>
                    <a:pt x="95" y="6"/>
                  </a:cubicBezTo>
                  <a:cubicBezTo>
                    <a:pt x="104" y="3"/>
                    <a:pt x="126" y="3"/>
                    <a:pt x="130" y="3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44" y="3"/>
                    <a:pt x="174" y="7"/>
                    <a:pt x="180" y="8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94" y="25"/>
                    <a:pt x="194" y="25"/>
                    <a:pt x="194" y="25"/>
                  </a:cubicBezTo>
                  <a:cubicBezTo>
                    <a:pt x="195" y="26"/>
                    <a:pt x="196" y="27"/>
                    <a:pt x="196" y="29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3" name="Freeform 1450">
              <a:extLst>
                <a:ext uri="{FF2B5EF4-FFF2-40B4-BE49-F238E27FC236}">
                  <a16:creationId xmlns:a16="http://schemas.microsoft.com/office/drawing/2014/main" id="{97B89CEC-A721-4F4D-AC0C-600297BE61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2795" y="3817860"/>
              <a:ext cx="375582" cy="142898"/>
            </a:xfrm>
            <a:custGeom>
              <a:avLst/>
              <a:gdLst>
                <a:gd name="T0" fmla="*/ 148 w 207"/>
                <a:gd name="T1" fmla="*/ 69 h 79"/>
                <a:gd name="T2" fmla="*/ 38 w 207"/>
                <a:gd name="T3" fmla="*/ 79 h 79"/>
                <a:gd name="T4" fmla="*/ 6 w 207"/>
                <a:gd name="T5" fmla="*/ 63 h 79"/>
                <a:gd name="T6" fmla="*/ 1 w 207"/>
                <a:gd name="T7" fmla="*/ 59 h 79"/>
                <a:gd name="T8" fmla="*/ 0 w 207"/>
                <a:gd name="T9" fmla="*/ 44 h 79"/>
                <a:gd name="T10" fmla="*/ 56 w 207"/>
                <a:gd name="T11" fmla="*/ 21 h 79"/>
                <a:gd name="T12" fmla="*/ 132 w 207"/>
                <a:gd name="T13" fmla="*/ 0 h 79"/>
                <a:gd name="T14" fmla="*/ 187 w 207"/>
                <a:gd name="T15" fmla="*/ 7 h 79"/>
                <a:gd name="T16" fmla="*/ 186 w 207"/>
                <a:gd name="T17" fmla="*/ 13 h 79"/>
                <a:gd name="T18" fmla="*/ 203 w 207"/>
                <a:gd name="T19" fmla="*/ 31 h 79"/>
                <a:gd name="T20" fmla="*/ 205 w 207"/>
                <a:gd name="T21" fmla="*/ 45 h 79"/>
                <a:gd name="T22" fmla="*/ 206 w 207"/>
                <a:gd name="T23" fmla="*/ 59 h 79"/>
                <a:gd name="T24" fmla="*/ 188 w 207"/>
                <a:gd name="T25" fmla="*/ 67 h 79"/>
                <a:gd name="T26" fmla="*/ 165 w 207"/>
                <a:gd name="T27" fmla="*/ 79 h 79"/>
                <a:gd name="T28" fmla="*/ 150 w 207"/>
                <a:gd name="T29" fmla="*/ 65 h 79"/>
                <a:gd name="T30" fmla="*/ 158 w 207"/>
                <a:gd name="T31" fmla="*/ 74 h 79"/>
                <a:gd name="T32" fmla="*/ 150 w 207"/>
                <a:gd name="T33" fmla="*/ 60 h 79"/>
                <a:gd name="T34" fmla="*/ 181 w 207"/>
                <a:gd name="T35" fmla="*/ 60 h 79"/>
                <a:gd name="T36" fmla="*/ 180 w 207"/>
                <a:gd name="T37" fmla="*/ 66 h 79"/>
                <a:gd name="T38" fmla="*/ 182 w 207"/>
                <a:gd name="T39" fmla="*/ 65 h 79"/>
                <a:gd name="T40" fmla="*/ 181 w 207"/>
                <a:gd name="T41" fmla="*/ 63 h 79"/>
                <a:gd name="T42" fmla="*/ 165 w 207"/>
                <a:gd name="T43" fmla="*/ 44 h 79"/>
                <a:gd name="T44" fmla="*/ 150 w 207"/>
                <a:gd name="T45" fmla="*/ 63 h 79"/>
                <a:gd name="T46" fmla="*/ 149 w 207"/>
                <a:gd name="T47" fmla="*/ 65 h 79"/>
                <a:gd name="T48" fmla="*/ 153 w 207"/>
                <a:gd name="T49" fmla="*/ 60 h 79"/>
                <a:gd name="T50" fmla="*/ 165 w 207"/>
                <a:gd name="T51" fmla="*/ 72 h 79"/>
                <a:gd name="T52" fmla="*/ 165 w 207"/>
                <a:gd name="T53" fmla="*/ 48 h 79"/>
                <a:gd name="T54" fmla="*/ 25 w 207"/>
                <a:gd name="T55" fmla="*/ 60 h 79"/>
                <a:gd name="T56" fmla="*/ 50 w 207"/>
                <a:gd name="T57" fmla="*/ 60 h 79"/>
                <a:gd name="T58" fmla="*/ 38 w 207"/>
                <a:gd name="T59" fmla="*/ 44 h 79"/>
                <a:gd name="T60" fmla="*/ 49 w 207"/>
                <a:gd name="T61" fmla="*/ 71 h 79"/>
                <a:gd name="T62" fmla="*/ 54 w 207"/>
                <a:gd name="T63" fmla="*/ 65 h 79"/>
                <a:gd name="T64" fmla="*/ 53 w 207"/>
                <a:gd name="T65" fmla="*/ 65 h 79"/>
                <a:gd name="T66" fmla="*/ 54 w 207"/>
                <a:gd name="T67" fmla="*/ 60 h 79"/>
                <a:gd name="T68" fmla="*/ 22 w 207"/>
                <a:gd name="T69" fmla="*/ 60 h 79"/>
                <a:gd name="T70" fmla="*/ 22 w 207"/>
                <a:gd name="T71" fmla="*/ 64 h 79"/>
                <a:gd name="T72" fmla="*/ 22 w 207"/>
                <a:gd name="T73" fmla="*/ 65 h 79"/>
                <a:gd name="T74" fmla="*/ 25 w 207"/>
                <a:gd name="T75" fmla="*/ 69 h 79"/>
                <a:gd name="T76" fmla="*/ 38 w 207"/>
                <a:gd name="T77" fmla="*/ 44 h 79"/>
                <a:gd name="T78" fmla="*/ 146 w 207"/>
                <a:gd name="T79" fmla="*/ 62 h 79"/>
                <a:gd name="T80" fmla="*/ 165 w 207"/>
                <a:gd name="T81" fmla="*/ 40 h 79"/>
                <a:gd name="T82" fmla="*/ 185 w 207"/>
                <a:gd name="T83" fmla="*/ 61 h 79"/>
                <a:gd name="T84" fmla="*/ 198 w 207"/>
                <a:gd name="T85" fmla="*/ 59 h 79"/>
                <a:gd name="T86" fmla="*/ 200 w 207"/>
                <a:gd name="T87" fmla="*/ 50 h 79"/>
                <a:gd name="T88" fmla="*/ 197 w 207"/>
                <a:gd name="T89" fmla="*/ 31 h 79"/>
                <a:gd name="T90" fmla="*/ 179 w 207"/>
                <a:gd name="T91" fmla="*/ 15 h 79"/>
                <a:gd name="T92" fmla="*/ 179 w 207"/>
                <a:gd name="T93" fmla="*/ 11 h 79"/>
                <a:gd name="T94" fmla="*/ 98 w 207"/>
                <a:gd name="T95" fmla="*/ 9 h 79"/>
                <a:gd name="T96" fmla="*/ 57 w 207"/>
                <a:gd name="T97" fmla="*/ 28 h 79"/>
                <a:gd name="T98" fmla="*/ 7 w 207"/>
                <a:gd name="T99" fmla="*/ 55 h 79"/>
                <a:gd name="T100" fmla="*/ 7 w 207"/>
                <a:gd name="T101" fmla="*/ 57 h 79"/>
                <a:gd name="T102" fmla="*/ 19 w 207"/>
                <a:gd name="T103" fmla="*/ 61 h 79"/>
                <a:gd name="T104" fmla="*/ 38 w 207"/>
                <a:gd name="T105" fmla="*/ 40 h 79"/>
                <a:gd name="T106" fmla="*/ 57 w 207"/>
                <a:gd name="T107" fmla="*/ 62 h 79"/>
                <a:gd name="T108" fmla="*/ 184 w 207"/>
                <a:gd name="T109" fmla="*/ 9 h 79"/>
                <a:gd name="T110" fmla="*/ 184 w 207"/>
                <a:gd name="T111" fmla="*/ 10 h 79"/>
                <a:gd name="T112" fmla="*/ 183 w 207"/>
                <a:gd name="T113" fmla="*/ 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7" h="79">
                  <a:moveTo>
                    <a:pt x="165" y="79"/>
                  </a:moveTo>
                  <a:cubicBezTo>
                    <a:pt x="158" y="79"/>
                    <a:pt x="152" y="75"/>
                    <a:pt x="148" y="69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1" y="75"/>
                    <a:pt x="45" y="79"/>
                    <a:pt x="38" y="79"/>
                  </a:cubicBezTo>
                  <a:cubicBezTo>
                    <a:pt x="30" y="79"/>
                    <a:pt x="24" y="75"/>
                    <a:pt x="21" y="6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4" y="63"/>
                    <a:pt x="3" y="62"/>
                    <a:pt x="2" y="60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58"/>
                    <a:pt x="0" y="56"/>
                    <a:pt x="0" y="5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37"/>
                    <a:pt x="9" y="32"/>
                    <a:pt x="12" y="30"/>
                  </a:cubicBezTo>
                  <a:cubicBezTo>
                    <a:pt x="22" y="25"/>
                    <a:pt x="36" y="22"/>
                    <a:pt x="56" y="21"/>
                  </a:cubicBezTo>
                  <a:cubicBezTo>
                    <a:pt x="61" y="18"/>
                    <a:pt x="87" y="6"/>
                    <a:pt x="96" y="3"/>
                  </a:cubicBezTo>
                  <a:cubicBezTo>
                    <a:pt x="105" y="1"/>
                    <a:pt x="128" y="0"/>
                    <a:pt x="132" y="0"/>
                  </a:cubicBezTo>
                  <a:cubicBezTo>
                    <a:pt x="147" y="0"/>
                    <a:pt x="180" y="5"/>
                    <a:pt x="184" y="5"/>
                  </a:cubicBezTo>
                  <a:cubicBezTo>
                    <a:pt x="185" y="5"/>
                    <a:pt x="186" y="6"/>
                    <a:pt x="187" y="7"/>
                  </a:cubicBezTo>
                  <a:cubicBezTo>
                    <a:pt x="188" y="9"/>
                    <a:pt x="188" y="10"/>
                    <a:pt x="187" y="12"/>
                  </a:cubicBezTo>
                  <a:cubicBezTo>
                    <a:pt x="186" y="13"/>
                    <a:pt x="186" y="13"/>
                    <a:pt x="186" y="13"/>
                  </a:cubicBezTo>
                  <a:cubicBezTo>
                    <a:pt x="199" y="23"/>
                    <a:pt x="199" y="23"/>
                    <a:pt x="199" y="23"/>
                  </a:cubicBezTo>
                  <a:cubicBezTo>
                    <a:pt x="202" y="25"/>
                    <a:pt x="203" y="28"/>
                    <a:pt x="203" y="31"/>
                  </a:cubicBezTo>
                  <a:cubicBezTo>
                    <a:pt x="204" y="45"/>
                    <a:pt x="204" y="45"/>
                    <a:pt x="204" y="45"/>
                  </a:cubicBezTo>
                  <a:cubicBezTo>
                    <a:pt x="204" y="45"/>
                    <a:pt x="204" y="45"/>
                    <a:pt x="205" y="45"/>
                  </a:cubicBezTo>
                  <a:cubicBezTo>
                    <a:pt x="206" y="47"/>
                    <a:pt x="207" y="49"/>
                    <a:pt x="207" y="51"/>
                  </a:cubicBezTo>
                  <a:cubicBezTo>
                    <a:pt x="206" y="59"/>
                    <a:pt x="206" y="59"/>
                    <a:pt x="206" y="59"/>
                  </a:cubicBezTo>
                  <a:cubicBezTo>
                    <a:pt x="205" y="62"/>
                    <a:pt x="203" y="65"/>
                    <a:pt x="199" y="65"/>
                  </a:cubicBezTo>
                  <a:cubicBezTo>
                    <a:pt x="188" y="67"/>
                    <a:pt x="188" y="67"/>
                    <a:pt x="188" y="67"/>
                  </a:cubicBezTo>
                  <a:cubicBezTo>
                    <a:pt x="183" y="68"/>
                    <a:pt x="183" y="68"/>
                    <a:pt x="183" y="68"/>
                  </a:cubicBezTo>
                  <a:cubicBezTo>
                    <a:pt x="179" y="75"/>
                    <a:pt x="173" y="79"/>
                    <a:pt x="165" y="79"/>
                  </a:cubicBezTo>
                  <a:close/>
                  <a:moveTo>
                    <a:pt x="149" y="65"/>
                  </a:moveTo>
                  <a:cubicBezTo>
                    <a:pt x="150" y="65"/>
                    <a:pt x="150" y="65"/>
                    <a:pt x="150" y="65"/>
                  </a:cubicBezTo>
                  <a:cubicBezTo>
                    <a:pt x="150" y="65"/>
                    <a:pt x="151" y="66"/>
                    <a:pt x="151" y="66"/>
                  </a:cubicBezTo>
                  <a:cubicBezTo>
                    <a:pt x="153" y="70"/>
                    <a:pt x="155" y="72"/>
                    <a:pt x="158" y="74"/>
                  </a:cubicBezTo>
                  <a:cubicBezTo>
                    <a:pt x="155" y="72"/>
                    <a:pt x="152" y="69"/>
                    <a:pt x="151" y="66"/>
                  </a:cubicBezTo>
                  <a:cubicBezTo>
                    <a:pt x="150" y="64"/>
                    <a:pt x="150" y="62"/>
                    <a:pt x="150" y="60"/>
                  </a:cubicBezTo>
                  <a:cubicBezTo>
                    <a:pt x="150" y="51"/>
                    <a:pt x="157" y="44"/>
                    <a:pt x="165" y="44"/>
                  </a:cubicBezTo>
                  <a:cubicBezTo>
                    <a:pt x="174" y="44"/>
                    <a:pt x="181" y="51"/>
                    <a:pt x="181" y="60"/>
                  </a:cubicBezTo>
                  <a:cubicBezTo>
                    <a:pt x="181" y="63"/>
                    <a:pt x="180" y="66"/>
                    <a:pt x="178" y="69"/>
                  </a:cubicBezTo>
                  <a:cubicBezTo>
                    <a:pt x="179" y="68"/>
                    <a:pt x="179" y="67"/>
                    <a:pt x="180" y="66"/>
                  </a:cubicBezTo>
                  <a:cubicBezTo>
                    <a:pt x="180" y="66"/>
                    <a:pt x="180" y="65"/>
                    <a:pt x="181" y="65"/>
                  </a:cubicBezTo>
                  <a:cubicBezTo>
                    <a:pt x="182" y="65"/>
                    <a:pt x="182" y="65"/>
                    <a:pt x="182" y="65"/>
                  </a:cubicBezTo>
                  <a:cubicBezTo>
                    <a:pt x="182" y="65"/>
                    <a:pt x="182" y="65"/>
                    <a:pt x="181" y="64"/>
                  </a:cubicBezTo>
                  <a:cubicBezTo>
                    <a:pt x="181" y="64"/>
                    <a:pt x="181" y="63"/>
                    <a:pt x="181" y="63"/>
                  </a:cubicBezTo>
                  <a:cubicBezTo>
                    <a:pt x="181" y="62"/>
                    <a:pt x="181" y="61"/>
                    <a:pt x="181" y="60"/>
                  </a:cubicBezTo>
                  <a:cubicBezTo>
                    <a:pt x="181" y="51"/>
                    <a:pt x="174" y="44"/>
                    <a:pt x="165" y="44"/>
                  </a:cubicBezTo>
                  <a:cubicBezTo>
                    <a:pt x="157" y="44"/>
                    <a:pt x="150" y="51"/>
                    <a:pt x="150" y="60"/>
                  </a:cubicBezTo>
                  <a:cubicBezTo>
                    <a:pt x="150" y="61"/>
                    <a:pt x="150" y="62"/>
                    <a:pt x="150" y="63"/>
                  </a:cubicBezTo>
                  <a:cubicBezTo>
                    <a:pt x="150" y="64"/>
                    <a:pt x="150" y="65"/>
                    <a:pt x="150" y="65"/>
                  </a:cubicBezTo>
                  <a:cubicBezTo>
                    <a:pt x="150" y="65"/>
                    <a:pt x="149" y="65"/>
                    <a:pt x="149" y="65"/>
                  </a:cubicBezTo>
                  <a:close/>
                  <a:moveTo>
                    <a:pt x="165" y="48"/>
                  </a:moveTo>
                  <a:cubicBezTo>
                    <a:pt x="159" y="48"/>
                    <a:pt x="153" y="53"/>
                    <a:pt x="153" y="60"/>
                  </a:cubicBezTo>
                  <a:cubicBezTo>
                    <a:pt x="153" y="61"/>
                    <a:pt x="153" y="63"/>
                    <a:pt x="154" y="64"/>
                  </a:cubicBezTo>
                  <a:cubicBezTo>
                    <a:pt x="156" y="69"/>
                    <a:pt x="160" y="72"/>
                    <a:pt x="165" y="72"/>
                  </a:cubicBezTo>
                  <a:cubicBezTo>
                    <a:pt x="172" y="72"/>
                    <a:pt x="178" y="67"/>
                    <a:pt x="178" y="60"/>
                  </a:cubicBezTo>
                  <a:cubicBezTo>
                    <a:pt x="178" y="53"/>
                    <a:pt x="172" y="48"/>
                    <a:pt x="165" y="48"/>
                  </a:cubicBezTo>
                  <a:close/>
                  <a:moveTo>
                    <a:pt x="38" y="48"/>
                  </a:moveTo>
                  <a:cubicBezTo>
                    <a:pt x="31" y="48"/>
                    <a:pt x="25" y="53"/>
                    <a:pt x="25" y="60"/>
                  </a:cubicBezTo>
                  <a:cubicBezTo>
                    <a:pt x="25" y="67"/>
                    <a:pt x="31" y="72"/>
                    <a:pt x="38" y="72"/>
                  </a:cubicBezTo>
                  <a:cubicBezTo>
                    <a:pt x="44" y="72"/>
                    <a:pt x="50" y="67"/>
                    <a:pt x="50" y="60"/>
                  </a:cubicBezTo>
                  <a:cubicBezTo>
                    <a:pt x="50" y="53"/>
                    <a:pt x="44" y="48"/>
                    <a:pt x="38" y="48"/>
                  </a:cubicBezTo>
                  <a:close/>
                  <a:moveTo>
                    <a:pt x="38" y="44"/>
                  </a:moveTo>
                  <a:cubicBezTo>
                    <a:pt x="46" y="44"/>
                    <a:pt x="53" y="51"/>
                    <a:pt x="53" y="60"/>
                  </a:cubicBezTo>
                  <a:cubicBezTo>
                    <a:pt x="53" y="64"/>
                    <a:pt x="52" y="68"/>
                    <a:pt x="49" y="71"/>
                  </a:cubicBezTo>
                  <a:cubicBezTo>
                    <a:pt x="50" y="69"/>
                    <a:pt x="51" y="68"/>
                    <a:pt x="52" y="66"/>
                  </a:cubicBezTo>
                  <a:cubicBezTo>
                    <a:pt x="52" y="66"/>
                    <a:pt x="53" y="65"/>
                    <a:pt x="54" y="6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54" y="65"/>
                    <a:pt x="54" y="65"/>
                    <a:pt x="53" y="65"/>
                  </a:cubicBezTo>
                  <a:cubicBezTo>
                    <a:pt x="53" y="65"/>
                    <a:pt x="53" y="64"/>
                    <a:pt x="53" y="63"/>
                  </a:cubicBezTo>
                  <a:cubicBezTo>
                    <a:pt x="53" y="62"/>
                    <a:pt x="54" y="61"/>
                    <a:pt x="54" y="60"/>
                  </a:cubicBezTo>
                  <a:cubicBezTo>
                    <a:pt x="54" y="51"/>
                    <a:pt x="46" y="44"/>
                    <a:pt x="38" y="44"/>
                  </a:cubicBezTo>
                  <a:cubicBezTo>
                    <a:pt x="29" y="44"/>
                    <a:pt x="22" y="51"/>
                    <a:pt x="22" y="60"/>
                  </a:cubicBezTo>
                  <a:cubicBezTo>
                    <a:pt x="22" y="61"/>
                    <a:pt x="22" y="62"/>
                    <a:pt x="22" y="63"/>
                  </a:cubicBezTo>
                  <a:cubicBezTo>
                    <a:pt x="22" y="63"/>
                    <a:pt x="22" y="64"/>
                    <a:pt x="22" y="64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3" y="65"/>
                    <a:pt x="23" y="66"/>
                    <a:pt x="23" y="66"/>
                  </a:cubicBezTo>
                  <a:cubicBezTo>
                    <a:pt x="24" y="67"/>
                    <a:pt x="24" y="68"/>
                    <a:pt x="25" y="69"/>
                  </a:cubicBezTo>
                  <a:cubicBezTo>
                    <a:pt x="23" y="67"/>
                    <a:pt x="22" y="63"/>
                    <a:pt x="22" y="60"/>
                  </a:cubicBezTo>
                  <a:cubicBezTo>
                    <a:pt x="22" y="51"/>
                    <a:pt x="29" y="44"/>
                    <a:pt x="38" y="44"/>
                  </a:cubicBezTo>
                  <a:close/>
                  <a:moveTo>
                    <a:pt x="57" y="62"/>
                  </a:moveTo>
                  <a:cubicBezTo>
                    <a:pt x="146" y="62"/>
                    <a:pt x="146" y="62"/>
                    <a:pt x="146" y="62"/>
                  </a:cubicBezTo>
                  <a:cubicBezTo>
                    <a:pt x="146" y="61"/>
                    <a:pt x="146" y="61"/>
                    <a:pt x="146" y="60"/>
                  </a:cubicBezTo>
                  <a:cubicBezTo>
                    <a:pt x="146" y="49"/>
                    <a:pt x="155" y="40"/>
                    <a:pt x="165" y="40"/>
                  </a:cubicBezTo>
                  <a:cubicBezTo>
                    <a:pt x="176" y="40"/>
                    <a:pt x="185" y="49"/>
                    <a:pt x="185" y="60"/>
                  </a:cubicBezTo>
                  <a:cubicBezTo>
                    <a:pt x="185" y="60"/>
                    <a:pt x="185" y="61"/>
                    <a:pt x="185" y="61"/>
                  </a:cubicBezTo>
                  <a:cubicBezTo>
                    <a:pt x="187" y="61"/>
                    <a:pt x="187" y="61"/>
                    <a:pt x="187" y="61"/>
                  </a:cubicBezTo>
                  <a:cubicBezTo>
                    <a:pt x="198" y="59"/>
                    <a:pt x="198" y="59"/>
                    <a:pt x="198" y="59"/>
                  </a:cubicBezTo>
                  <a:cubicBezTo>
                    <a:pt x="199" y="59"/>
                    <a:pt x="199" y="58"/>
                    <a:pt x="199" y="58"/>
                  </a:cubicBezTo>
                  <a:cubicBezTo>
                    <a:pt x="200" y="50"/>
                    <a:pt x="200" y="50"/>
                    <a:pt x="200" y="50"/>
                  </a:cubicBezTo>
                  <a:cubicBezTo>
                    <a:pt x="199" y="49"/>
                    <a:pt x="198" y="47"/>
                    <a:pt x="198" y="46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197" y="30"/>
                    <a:pt x="196" y="29"/>
                    <a:pt x="195" y="28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78" y="14"/>
                    <a:pt x="178" y="13"/>
                    <a:pt x="178" y="13"/>
                  </a:cubicBezTo>
                  <a:cubicBezTo>
                    <a:pt x="179" y="11"/>
                    <a:pt x="179" y="11"/>
                    <a:pt x="179" y="11"/>
                  </a:cubicBezTo>
                  <a:cubicBezTo>
                    <a:pt x="170" y="10"/>
                    <a:pt x="144" y="7"/>
                    <a:pt x="133" y="7"/>
                  </a:cubicBezTo>
                  <a:cubicBezTo>
                    <a:pt x="124" y="7"/>
                    <a:pt x="105" y="7"/>
                    <a:pt x="98" y="9"/>
                  </a:cubicBezTo>
                  <a:cubicBezTo>
                    <a:pt x="89" y="12"/>
                    <a:pt x="61" y="26"/>
                    <a:pt x="58" y="27"/>
                  </a:cubicBezTo>
                  <a:cubicBezTo>
                    <a:pt x="58" y="27"/>
                    <a:pt x="57" y="28"/>
                    <a:pt x="57" y="28"/>
                  </a:cubicBezTo>
                  <a:cubicBezTo>
                    <a:pt x="16" y="30"/>
                    <a:pt x="7" y="41"/>
                    <a:pt x="7" y="44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7"/>
                    <a:pt x="8" y="57"/>
                    <a:pt x="8" y="57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49"/>
                    <a:pt x="27" y="40"/>
                    <a:pt x="38" y="40"/>
                  </a:cubicBezTo>
                  <a:cubicBezTo>
                    <a:pt x="48" y="40"/>
                    <a:pt x="57" y="49"/>
                    <a:pt x="57" y="60"/>
                  </a:cubicBezTo>
                  <a:cubicBezTo>
                    <a:pt x="57" y="61"/>
                    <a:pt x="57" y="61"/>
                    <a:pt x="57" y="62"/>
                  </a:cubicBezTo>
                  <a:close/>
                  <a:moveTo>
                    <a:pt x="183" y="8"/>
                  </a:moveTo>
                  <a:cubicBezTo>
                    <a:pt x="183" y="9"/>
                    <a:pt x="184" y="9"/>
                    <a:pt x="184" y="9"/>
                  </a:cubicBezTo>
                  <a:cubicBezTo>
                    <a:pt x="184" y="9"/>
                    <a:pt x="184" y="10"/>
                    <a:pt x="184" y="10"/>
                  </a:cubicBezTo>
                  <a:cubicBezTo>
                    <a:pt x="184" y="10"/>
                    <a:pt x="184" y="10"/>
                    <a:pt x="184" y="10"/>
                  </a:cubicBezTo>
                  <a:cubicBezTo>
                    <a:pt x="184" y="10"/>
                    <a:pt x="184" y="9"/>
                    <a:pt x="184" y="9"/>
                  </a:cubicBezTo>
                  <a:cubicBezTo>
                    <a:pt x="184" y="9"/>
                    <a:pt x="184" y="8"/>
                    <a:pt x="183" y="8"/>
                  </a:cubicBezTo>
                  <a:cubicBezTo>
                    <a:pt x="183" y="8"/>
                    <a:pt x="183" y="8"/>
                    <a:pt x="183" y="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70" name="Agrupar 1669">
            <a:extLst>
              <a:ext uri="{FF2B5EF4-FFF2-40B4-BE49-F238E27FC236}">
                <a16:creationId xmlns:a16="http://schemas.microsoft.com/office/drawing/2014/main" id="{F47B22DB-C9DE-4D5A-97EC-CD3033703C97}"/>
              </a:ext>
            </a:extLst>
          </p:cNvPr>
          <p:cNvGrpSpPr/>
          <p:nvPr/>
        </p:nvGrpSpPr>
        <p:grpSpPr>
          <a:xfrm>
            <a:off x="5543653" y="3777393"/>
            <a:ext cx="266827" cy="189688"/>
            <a:chOff x="5543653" y="3777393"/>
            <a:chExt cx="266827" cy="189688"/>
          </a:xfrm>
        </p:grpSpPr>
        <p:sp>
          <p:nvSpPr>
            <p:cNvPr id="854" name="Freeform 1451">
              <a:extLst>
                <a:ext uri="{FF2B5EF4-FFF2-40B4-BE49-F238E27FC236}">
                  <a16:creationId xmlns:a16="http://schemas.microsoft.com/office/drawing/2014/main" id="{0FF1B2A5-1D79-43D7-9F37-F76AA5941C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6532" y="3854533"/>
              <a:ext cx="58171" cy="37938"/>
            </a:xfrm>
            <a:custGeom>
              <a:avLst/>
              <a:gdLst>
                <a:gd name="T0" fmla="*/ 21 w 32"/>
                <a:gd name="T1" fmla="*/ 21 h 21"/>
                <a:gd name="T2" fmla="*/ 6 w 32"/>
                <a:gd name="T3" fmla="*/ 18 h 21"/>
                <a:gd name="T4" fmla="*/ 2 w 32"/>
                <a:gd name="T5" fmla="*/ 16 h 21"/>
                <a:gd name="T6" fmla="*/ 1 w 32"/>
                <a:gd name="T7" fmla="*/ 8 h 21"/>
                <a:gd name="T8" fmla="*/ 7 w 32"/>
                <a:gd name="T9" fmla="*/ 0 h 21"/>
                <a:gd name="T10" fmla="*/ 11 w 32"/>
                <a:gd name="T11" fmla="*/ 0 h 21"/>
                <a:gd name="T12" fmla="*/ 26 w 32"/>
                <a:gd name="T13" fmla="*/ 7 h 21"/>
                <a:gd name="T14" fmla="*/ 32 w 32"/>
                <a:gd name="T15" fmla="*/ 17 h 21"/>
                <a:gd name="T16" fmla="*/ 21 w 32"/>
                <a:gd name="T17" fmla="*/ 21 h 21"/>
                <a:gd name="T18" fmla="*/ 7 w 32"/>
                <a:gd name="T19" fmla="*/ 5 h 21"/>
                <a:gd name="T20" fmla="*/ 6 w 32"/>
                <a:gd name="T21" fmla="*/ 9 h 21"/>
                <a:gd name="T22" fmla="*/ 6 w 32"/>
                <a:gd name="T23" fmla="*/ 13 h 21"/>
                <a:gd name="T24" fmla="*/ 6 w 32"/>
                <a:gd name="T25" fmla="*/ 13 h 21"/>
                <a:gd name="T26" fmla="*/ 20 w 32"/>
                <a:gd name="T27" fmla="*/ 16 h 21"/>
                <a:gd name="T28" fmla="*/ 24 w 32"/>
                <a:gd name="T29" fmla="*/ 14 h 21"/>
                <a:gd name="T30" fmla="*/ 23 w 32"/>
                <a:gd name="T31" fmla="*/ 11 h 21"/>
                <a:gd name="T32" fmla="*/ 9 w 32"/>
                <a:gd name="T33" fmla="*/ 5 h 21"/>
                <a:gd name="T34" fmla="*/ 7 w 32"/>
                <a:gd name="T35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21">
                  <a:moveTo>
                    <a:pt x="21" y="21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3" y="18"/>
                    <a:pt x="2" y="16"/>
                  </a:cubicBezTo>
                  <a:cubicBezTo>
                    <a:pt x="0" y="15"/>
                    <a:pt x="0" y="12"/>
                    <a:pt x="1" y="8"/>
                  </a:cubicBezTo>
                  <a:cubicBezTo>
                    <a:pt x="1" y="5"/>
                    <a:pt x="2" y="0"/>
                    <a:pt x="7" y="0"/>
                  </a:cubicBezTo>
                  <a:cubicBezTo>
                    <a:pt x="8" y="0"/>
                    <a:pt x="9" y="0"/>
                    <a:pt x="11" y="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32" y="17"/>
                    <a:pt x="32" y="17"/>
                    <a:pt x="32" y="17"/>
                  </a:cubicBezTo>
                  <a:lnTo>
                    <a:pt x="21" y="21"/>
                  </a:lnTo>
                  <a:close/>
                  <a:moveTo>
                    <a:pt x="7" y="5"/>
                  </a:moveTo>
                  <a:cubicBezTo>
                    <a:pt x="7" y="5"/>
                    <a:pt x="7" y="5"/>
                    <a:pt x="6" y="9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5" name="Rectangle 1452">
              <a:extLst>
                <a:ext uri="{FF2B5EF4-FFF2-40B4-BE49-F238E27FC236}">
                  <a16:creationId xmlns:a16="http://schemas.microsoft.com/office/drawing/2014/main" id="{6958F531-4765-4080-9E50-EF08BF697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4586" y="3876031"/>
              <a:ext cx="40467" cy="8852"/>
            </a:xfrm>
            <a:prstGeom prst="rect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6" name="Freeform 1453">
              <a:extLst>
                <a:ext uri="{FF2B5EF4-FFF2-40B4-BE49-F238E27FC236}">
                  <a16:creationId xmlns:a16="http://schemas.microsoft.com/office/drawing/2014/main" id="{5485C3C0-8DBF-4B3E-A253-7B8F0469E7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2524" y="3863385"/>
              <a:ext cx="29085" cy="2908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6 h 16"/>
                <a:gd name="T12" fmla="*/ 5 w 16"/>
                <a:gd name="T13" fmla="*/ 8 h 16"/>
                <a:gd name="T14" fmla="*/ 8 w 16"/>
                <a:gd name="T15" fmla="*/ 11 h 16"/>
                <a:gd name="T16" fmla="*/ 11 w 16"/>
                <a:gd name="T17" fmla="*/ 8 h 16"/>
                <a:gd name="T18" fmla="*/ 8 w 16"/>
                <a:gd name="T1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3"/>
                    <a:pt x="12" y="16"/>
                    <a:pt x="8" y="16"/>
                  </a:cubicBezTo>
                  <a:close/>
                  <a:moveTo>
                    <a:pt x="8" y="6"/>
                  </a:moveTo>
                  <a:cubicBezTo>
                    <a:pt x="6" y="6"/>
                    <a:pt x="5" y="7"/>
                    <a:pt x="5" y="8"/>
                  </a:cubicBezTo>
                  <a:cubicBezTo>
                    <a:pt x="5" y="10"/>
                    <a:pt x="6" y="11"/>
                    <a:pt x="8" y="11"/>
                  </a:cubicBezTo>
                  <a:cubicBezTo>
                    <a:pt x="9" y="11"/>
                    <a:pt x="11" y="10"/>
                    <a:pt x="11" y="8"/>
                  </a:cubicBezTo>
                  <a:cubicBezTo>
                    <a:pt x="11" y="7"/>
                    <a:pt x="9" y="6"/>
                    <a:pt x="8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7" name="Freeform 1454">
              <a:extLst>
                <a:ext uri="{FF2B5EF4-FFF2-40B4-BE49-F238E27FC236}">
                  <a16:creationId xmlns:a16="http://schemas.microsoft.com/office/drawing/2014/main" id="{FF857770-22DE-4572-A738-A683C551A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3653" y="3816595"/>
              <a:ext cx="36673" cy="27821"/>
            </a:xfrm>
            <a:custGeom>
              <a:avLst/>
              <a:gdLst>
                <a:gd name="T0" fmla="*/ 20 w 20"/>
                <a:gd name="T1" fmla="*/ 16 h 16"/>
                <a:gd name="T2" fmla="*/ 17 w 20"/>
                <a:gd name="T3" fmla="*/ 16 h 16"/>
                <a:gd name="T4" fmla="*/ 0 w 20"/>
                <a:gd name="T5" fmla="*/ 8 h 16"/>
                <a:gd name="T6" fmla="*/ 15 w 20"/>
                <a:gd name="T7" fmla="*/ 0 h 16"/>
                <a:gd name="T8" fmla="*/ 20 w 20"/>
                <a:gd name="T9" fmla="*/ 5 h 16"/>
                <a:gd name="T10" fmla="*/ 20 w 20"/>
                <a:gd name="T11" fmla="*/ 16 h 16"/>
                <a:gd name="T12" fmla="*/ 14 w 20"/>
                <a:gd name="T13" fmla="*/ 5 h 16"/>
                <a:gd name="T14" fmla="*/ 6 w 20"/>
                <a:gd name="T15" fmla="*/ 8 h 16"/>
                <a:gd name="T16" fmla="*/ 15 w 20"/>
                <a:gd name="T17" fmla="*/ 11 h 16"/>
                <a:gd name="T18" fmla="*/ 15 w 20"/>
                <a:gd name="T19" fmla="*/ 5 h 16"/>
                <a:gd name="T20" fmla="*/ 14 w 20"/>
                <a:gd name="T21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16">
                  <a:moveTo>
                    <a:pt x="20" y="16"/>
                  </a:moveTo>
                  <a:cubicBezTo>
                    <a:pt x="17" y="16"/>
                    <a:pt x="17" y="16"/>
                    <a:pt x="17" y="16"/>
                  </a:cubicBezTo>
                  <a:cubicBezTo>
                    <a:pt x="13" y="16"/>
                    <a:pt x="0" y="15"/>
                    <a:pt x="0" y="8"/>
                  </a:cubicBezTo>
                  <a:cubicBezTo>
                    <a:pt x="0" y="3"/>
                    <a:pt x="5" y="0"/>
                    <a:pt x="15" y="0"/>
                  </a:cubicBezTo>
                  <a:cubicBezTo>
                    <a:pt x="18" y="0"/>
                    <a:pt x="20" y="3"/>
                    <a:pt x="20" y="5"/>
                  </a:cubicBezTo>
                  <a:lnTo>
                    <a:pt x="20" y="16"/>
                  </a:lnTo>
                  <a:close/>
                  <a:moveTo>
                    <a:pt x="14" y="5"/>
                  </a:moveTo>
                  <a:cubicBezTo>
                    <a:pt x="8" y="5"/>
                    <a:pt x="6" y="7"/>
                    <a:pt x="6" y="8"/>
                  </a:cubicBezTo>
                  <a:cubicBezTo>
                    <a:pt x="6" y="9"/>
                    <a:pt x="10" y="10"/>
                    <a:pt x="15" y="1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8" name="Freeform 1455">
              <a:extLst>
                <a:ext uri="{FF2B5EF4-FFF2-40B4-BE49-F238E27FC236}">
                  <a16:creationId xmlns:a16="http://schemas.microsoft.com/office/drawing/2014/main" id="{F2047852-150B-46FE-A415-ADB984A5C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357" y="3935466"/>
              <a:ext cx="44260" cy="31615"/>
            </a:xfrm>
            <a:custGeom>
              <a:avLst/>
              <a:gdLst>
                <a:gd name="T0" fmla="*/ 18 w 24"/>
                <a:gd name="T1" fmla="*/ 17 h 17"/>
                <a:gd name="T2" fmla="*/ 6 w 24"/>
                <a:gd name="T3" fmla="*/ 17 h 17"/>
                <a:gd name="T4" fmla="*/ 0 w 24"/>
                <a:gd name="T5" fmla="*/ 10 h 17"/>
                <a:gd name="T6" fmla="*/ 0 w 24"/>
                <a:gd name="T7" fmla="*/ 0 h 17"/>
                <a:gd name="T8" fmla="*/ 5 w 24"/>
                <a:gd name="T9" fmla="*/ 0 h 17"/>
                <a:gd name="T10" fmla="*/ 5 w 24"/>
                <a:gd name="T11" fmla="*/ 10 h 17"/>
                <a:gd name="T12" fmla="*/ 6 w 24"/>
                <a:gd name="T13" fmla="*/ 12 h 17"/>
                <a:gd name="T14" fmla="*/ 18 w 24"/>
                <a:gd name="T15" fmla="*/ 12 h 17"/>
                <a:gd name="T16" fmla="*/ 19 w 24"/>
                <a:gd name="T17" fmla="*/ 10 h 17"/>
                <a:gd name="T18" fmla="*/ 19 w 24"/>
                <a:gd name="T19" fmla="*/ 2 h 17"/>
                <a:gd name="T20" fmla="*/ 24 w 24"/>
                <a:gd name="T21" fmla="*/ 2 h 17"/>
                <a:gd name="T22" fmla="*/ 24 w 24"/>
                <a:gd name="T23" fmla="*/ 10 h 17"/>
                <a:gd name="T24" fmla="*/ 18 w 24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7">
                  <a:moveTo>
                    <a:pt x="18" y="17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1" y="17"/>
                    <a:pt x="0" y="13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2"/>
                    <a:pt x="6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2"/>
                    <a:pt x="19" y="11"/>
                    <a:pt x="19" y="1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5"/>
                    <a:pt x="21" y="17"/>
                    <a:pt x="18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9" name="Freeform 1456">
              <a:extLst>
                <a:ext uri="{FF2B5EF4-FFF2-40B4-BE49-F238E27FC236}">
                  <a16:creationId xmlns:a16="http://schemas.microsoft.com/office/drawing/2014/main" id="{A61C2150-B43B-41A0-9C99-E0050FB19A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0695" y="3854533"/>
              <a:ext cx="58171" cy="37938"/>
            </a:xfrm>
            <a:custGeom>
              <a:avLst/>
              <a:gdLst>
                <a:gd name="T0" fmla="*/ 11 w 32"/>
                <a:gd name="T1" fmla="*/ 21 h 21"/>
                <a:gd name="T2" fmla="*/ 0 w 32"/>
                <a:gd name="T3" fmla="*/ 17 h 21"/>
                <a:gd name="T4" fmla="*/ 6 w 32"/>
                <a:gd name="T5" fmla="*/ 7 h 21"/>
                <a:gd name="T6" fmla="*/ 21 w 32"/>
                <a:gd name="T7" fmla="*/ 0 h 21"/>
                <a:gd name="T8" fmla="*/ 24 w 32"/>
                <a:gd name="T9" fmla="*/ 0 h 21"/>
                <a:gd name="T10" fmla="*/ 31 w 32"/>
                <a:gd name="T11" fmla="*/ 8 h 21"/>
                <a:gd name="T12" fmla="*/ 30 w 32"/>
                <a:gd name="T13" fmla="*/ 16 h 21"/>
                <a:gd name="T14" fmla="*/ 26 w 32"/>
                <a:gd name="T15" fmla="*/ 18 h 21"/>
                <a:gd name="T16" fmla="*/ 11 w 32"/>
                <a:gd name="T17" fmla="*/ 21 h 21"/>
                <a:gd name="T18" fmla="*/ 7 w 32"/>
                <a:gd name="T19" fmla="*/ 14 h 21"/>
                <a:gd name="T20" fmla="*/ 11 w 32"/>
                <a:gd name="T21" fmla="*/ 16 h 21"/>
                <a:gd name="T22" fmla="*/ 26 w 32"/>
                <a:gd name="T23" fmla="*/ 13 h 21"/>
                <a:gd name="T24" fmla="*/ 26 w 32"/>
                <a:gd name="T25" fmla="*/ 9 h 21"/>
                <a:gd name="T26" fmla="*/ 24 w 32"/>
                <a:gd name="T27" fmla="*/ 5 h 21"/>
                <a:gd name="T28" fmla="*/ 23 w 32"/>
                <a:gd name="T29" fmla="*/ 5 h 21"/>
                <a:gd name="T30" fmla="*/ 9 w 32"/>
                <a:gd name="T31" fmla="*/ 11 h 21"/>
                <a:gd name="T32" fmla="*/ 7 w 32"/>
                <a:gd name="T3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21">
                  <a:moveTo>
                    <a:pt x="11" y="21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3" y="0"/>
                    <a:pt x="24" y="0"/>
                  </a:cubicBezTo>
                  <a:cubicBezTo>
                    <a:pt x="29" y="0"/>
                    <a:pt x="30" y="5"/>
                    <a:pt x="31" y="8"/>
                  </a:cubicBezTo>
                  <a:cubicBezTo>
                    <a:pt x="32" y="12"/>
                    <a:pt x="31" y="15"/>
                    <a:pt x="30" y="16"/>
                  </a:cubicBezTo>
                  <a:cubicBezTo>
                    <a:pt x="28" y="18"/>
                    <a:pt x="27" y="18"/>
                    <a:pt x="26" y="18"/>
                  </a:cubicBezTo>
                  <a:lnTo>
                    <a:pt x="11" y="21"/>
                  </a:lnTo>
                  <a:close/>
                  <a:moveTo>
                    <a:pt x="7" y="14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2"/>
                    <a:pt x="26" y="9"/>
                  </a:cubicBezTo>
                  <a:cubicBezTo>
                    <a:pt x="25" y="5"/>
                    <a:pt x="24" y="5"/>
                    <a:pt x="24" y="5"/>
                  </a:cubicBezTo>
                  <a:cubicBezTo>
                    <a:pt x="24" y="5"/>
                    <a:pt x="23" y="5"/>
                    <a:pt x="23" y="5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7" y="14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60" name="Rectangle 1457">
              <a:extLst>
                <a:ext uri="{FF2B5EF4-FFF2-40B4-BE49-F238E27FC236}">
                  <a16:creationId xmlns:a16="http://schemas.microsoft.com/office/drawing/2014/main" id="{7D7C0590-3AE0-4E47-A696-F4D564624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9080" y="3876031"/>
              <a:ext cx="41731" cy="8852"/>
            </a:xfrm>
            <a:prstGeom prst="rect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61" name="Rectangle 1458">
              <a:extLst>
                <a:ext uri="{FF2B5EF4-FFF2-40B4-BE49-F238E27FC236}">
                  <a16:creationId xmlns:a16="http://schemas.microsoft.com/office/drawing/2014/main" id="{F9DE0A4D-B433-4DE5-A985-61781CF253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5384" y="3835564"/>
              <a:ext cx="184629" cy="8852"/>
            </a:xfrm>
            <a:prstGeom prst="rect">
              <a:avLst/>
            </a:pr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62" name="Freeform 1459">
              <a:extLst>
                <a:ext uri="{FF2B5EF4-FFF2-40B4-BE49-F238E27FC236}">
                  <a16:creationId xmlns:a16="http://schemas.microsoft.com/office/drawing/2014/main" id="{9F511E87-832F-4487-99C4-FF3841845A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5072" y="3816595"/>
              <a:ext cx="35408" cy="27821"/>
            </a:xfrm>
            <a:custGeom>
              <a:avLst/>
              <a:gdLst>
                <a:gd name="T0" fmla="*/ 2 w 19"/>
                <a:gd name="T1" fmla="*/ 16 h 16"/>
                <a:gd name="T2" fmla="*/ 0 w 19"/>
                <a:gd name="T3" fmla="*/ 16 h 16"/>
                <a:gd name="T4" fmla="*/ 0 w 19"/>
                <a:gd name="T5" fmla="*/ 5 h 16"/>
                <a:gd name="T6" fmla="*/ 5 w 19"/>
                <a:gd name="T7" fmla="*/ 0 h 16"/>
                <a:gd name="T8" fmla="*/ 19 w 19"/>
                <a:gd name="T9" fmla="*/ 8 h 16"/>
                <a:gd name="T10" fmla="*/ 2 w 19"/>
                <a:gd name="T11" fmla="*/ 16 h 16"/>
                <a:gd name="T12" fmla="*/ 5 w 19"/>
                <a:gd name="T13" fmla="*/ 5 h 16"/>
                <a:gd name="T14" fmla="*/ 5 w 19"/>
                <a:gd name="T15" fmla="*/ 11 h 16"/>
                <a:gd name="T16" fmla="*/ 14 w 19"/>
                <a:gd name="T17" fmla="*/ 8 h 16"/>
                <a:gd name="T18" fmla="*/ 5 w 19"/>
                <a:gd name="T1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6">
                  <a:moveTo>
                    <a:pt x="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0"/>
                    <a:pt x="5" y="0"/>
                  </a:cubicBezTo>
                  <a:cubicBezTo>
                    <a:pt x="14" y="0"/>
                    <a:pt x="19" y="3"/>
                    <a:pt x="19" y="8"/>
                  </a:cubicBezTo>
                  <a:cubicBezTo>
                    <a:pt x="19" y="15"/>
                    <a:pt x="6" y="16"/>
                    <a:pt x="2" y="16"/>
                  </a:cubicBezTo>
                  <a:close/>
                  <a:moveTo>
                    <a:pt x="5" y="5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10" y="10"/>
                    <a:pt x="14" y="9"/>
                    <a:pt x="14" y="8"/>
                  </a:cubicBezTo>
                  <a:cubicBezTo>
                    <a:pt x="14" y="7"/>
                    <a:pt x="12" y="5"/>
                    <a:pt x="5" y="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63" name="Freeform 1460">
              <a:extLst>
                <a:ext uri="{FF2B5EF4-FFF2-40B4-BE49-F238E27FC236}">
                  <a16:creationId xmlns:a16="http://schemas.microsoft.com/office/drawing/2014/main" id="{5A32F74E-E8E5-45C9-A172-723C3B41C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8516" y="3935466"/>
              <a:ext cx="45525" cy="31615"/>
            </a:xfrm>
            <a:custGeom>
              <a:avLst/>
              <a:gdLst>
                <a:gd name="T0" fmla="*/ 19 w 25"/>
                <a:gd name="T1" fmla="*/ 17 h 17"/>
                <a:gd name="T2" fmla="*/ 7 w 25"/>
                <a:gd name="T3" fmla="*/ 17 h 17"/>
                <a:gd name="T4" fmla="*/ 0 w 25"/>
                <a:gd name="T5" fmla="*/ 10 h 17"/>
                <a:gd name="T6" fmla="*/ 0 w 25"/>
                <a:gd name="T7" fmla="*/ 2 h 17"/>
                <a:gd name="T8" fmla="*/ 5 w 25"/>
                <a:gd name="T9" fmla="*/ 2 h 17"/>
                <a:gd name="T10" fmla="*/ 5 w 25"/>
                <a:gd name="T11" fmla="*/ 10 h 17"/>
                <a:gd name="T12" fmla="*/ 7 w 25"/>
                <a:gd name="T13" fmla="*/ 12 h 17"/>
                <a:gd name="T14" fmla="*/ 19 w 25"/>
                <a:gd name="T15" fmla="*/ 12 h 17"/>
                <a:gd name="T16" fmla="*/ 20 w 25"/>
                <a:gd name="T17" fmla="*/ 10 h 17"/>
                <a:gd name="T18" fmla="*/ 20 w 25"/>
                <a:gd name="T19" fmla="*/ 0 h 17"/>
                <a:gd name="T20" fmla="*/ 25 w 25"/>
                <a:gd name="T21" fmla="*/ 0 h 17"/>
                <a:gd name="T22" fmla="*/ 25 w 25"/>
                <a:gd name="T23" fmla="*/ 10 h 17"/>
                <a:gd name="T24" fmla="*/ 19 w 25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17">
                  <a:moveTo>
                    <a:pt x="1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4" y="17"/>
                    <a:pt x="0" y="15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6" y="12"/>
                    <a:pt x="7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20" y="12"/>
                    <a:pt x="20" y="1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3"/>
                    <a:pt x="23" y="17"/>
                    <a:pt x="19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64" name="Freeform 1461">
              <a:extLst>
                <a:ext uri="{FF2B5EF4-FFF2-40B4-BE49-F238E27FC236}">
                  <a16:creationId xmlns:a16="http://schemas.microsoft.com/office/drawing/2014/main" id="{DA08BFE5-6758-45B9-87C1-757AA45A5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6299" y="3777393"/>
              <a:ext cx="242800" cy="166925"/>
            </a:xfrm>
            <a:custGeom>
              <a:avLst/>
              <a:gdLst>
                <a:gd name="T0" fmla="*/ 122 w 134"/>
                <a:gd name="T1" fmla="*/ 92 h 92"/>
                <a:gd name="T2" fmla="*/ 12 w 134"/>
                <a:gd name="T3" fmla="*/ 92 h 92"/>
                <a:gd name="T4" fmla="*/ 4 w 134"/>
                <a:gd name="T5" fmla="*/ 89 h 92"/>
                <a:gd name="T6" fmla="*/ 0 w 134"/>
                <a:gd name="T7" fmla="*/ 79 h 92"/>
                <a:gd name="T8" fmla="*/ 0 w 134"/>
                <a:gd name="T9" fmla="*/ 46 h 92"/>
                <a:gd name="T10" fmla="*/ 5 w 134"/>
                <a:gd name="T11" fmla="*/ 39 h 92"/>
                <a:gd name="T12" fmla="*/ 14 w 134"/>
                <a:gd name="T13" fmla="*/ 32 h 92"/>
                <a:gd name="T14" fmla="*/ 30 w 134"/>
                <a:gd name="T15" fmla="*/ 6 h 92"/>
                <a:gd name="T16" fmla="*/ 55 w 134"/>
                <a:gd name="T17" fmla="*/ 0 h 92"/>
                <a:gd name="T18" fmla="*/ 79 w 134"/>
                <a:gd name="T19" fmla="*/ 0 h 92"/>
                <a:gd name="T20" fmla="*/ 104 w 134"/>
                <a:gd name="T21" fmla="*/ 7 h 92"/>
                <a:gd name="T22" fmla="*/ 120 w 134"/>
                <a:gd name="T23" fmla="*/ 32 h 92"/>
                <a:gd name="T24" fmla="*/ 128 w 134"/>
                <a:gd name="T25" fmla="*/ 39 h 92"/>
                <a:gd name="T26" fmla="*/ 134 w 134"/>
                <a:gd name="T27" fmla="*/ 46 h 92"/>
                <a:gd name="T28" fmla="*/ 134 w 134"/>
                <a:gd name="T29" fmla="*/ 79 h 92"/>
                <a:gd name="T30" fmla="*/ 130 w 134"/>
                <a:gd name="T31" fmla="*/ 89 h 92"/>
                <a:gd name="T32" fmla="*/ 122 w 134"/>
                <a:gd name="T33" fmla="*/ 92 h 92"/>
                <a:gd name="T34" fmla="*/ 16 w 134"/>
                <a:gd name="T35" fmla="*/ 37 h 92"/>
                <a:gd name="T36" fmla="*/ 10 w 134"/>
                <a:gd name="T37" fmla="*/ 41 h 92"/>
                <a:gd name="T38" fmla="*/ 10 w 134"/>
                <a:gd name="T39" fmla="*/ 43 h 92"/>
                <a:gd name="T40" fmla="*/ 8 w 134"/>
                <a:gd name="T41" fmla="*/ 43 h 92"/>
                <a:gd name="T42" fmla="*/ 5 w 134"/>
                <a:gd name="T43" fmla="*/ 46 h 92"/>
                <a:gd name="T44" fmla="*/ 5 w 134"/>
                <a:gd name="T45" fmla="*/ 79 h 92"/>
                <a:gd name="T46" fmla="*/ 7 w 134"/>
                <a:gd name="T47" fmla="*/ 85 h 92"/>
                <a:gd name="T48" fmla="*/ 12 w 134"/>
                <a:gd name="T49" fmla="*/ 87 h 92"/>
                <a:gd name="T50" fmla="*/ 122 w 134"/>
                <a:gd name="T51" fmla="*/ 87 h 92"/>
                <a:gd name="T52" fmla="*/ 126 w 134"/>
                <a:gd name="T53" fmla="*/ 85 h 92"/>
                <a:gd name="T54" fmla="*/ 129 w 134"/>
                <a:gd name="T55" fmla="*/ 79 h 92"/>
                <a:gd name="T56" fmla="*/ 129 w 134"/>
                <a:gd name="T57" fmla="*/ 46 h 92"/>
                <a:gd name="T58" fmla="*/ 125 w 134"/>
                <a:gd name="T59" fmla="*/ 43 h 92"/>
                <a:gd name="T60" fmla="*/ 123 w 134"/>
                <a:gd name="T61" fmla="*/ 43 h 92"/>
                <a:gd name="T62" fmla="*/ 123 w 134"/>
                <a:gd name="T63" fmla="*/ 41 h 92"/>
                <a:gd name="T64" fmla="*/ 118 w 134"/>
                <a:gd name="T65" fmla="*/ 37 h 92"/>
                <a:gd name="T66" fmla="*/ 116 w 134"/>
                <a:gd name="T67" fmla="*/ 37 h 92"/>
                <a:gd name="T68" fmla="*/ 116 w 134"/>
                <a:gd name="T69" fmla="*/ 36 h 92"/>
                <a:gd name="T70" fmla="*/ 100 w 134"/>
                <a:gd name="T71" fmla="*/ 10 h 92"/>
                <a:gd name="T72" fmla="*/ 79 w 134"/>
                <a:gd name="T73" fmla="*/ 5 h 92"/>
                <a:gd name="T74" fmla="*/ 55 w 134"/>
                <a:gd name="T75" fmla="*/ 5 h 92"/>
                <a:gd name="T76" fmla="*/ 34 w 134"/>
                <a:gd name="T77" fmla="*/ 9 h 92"/>
                <a:gd name="T78" fmla="*/ 18 w 134"/>
                <a:gd name="T79" fmla="*/ 36 h 92"/>
                <a:gd name="T80" fmla="*/ 17 w 134"/>
                <a:gd name="T81" fmla="*/ 37 h 92"/>
                <a:gd name="T82" fmla="*/ 16 w 134"/>
                <a:gd name="T83" fmla="*/ 3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" h="92">
                  <a:moveTo>
                    <a:pt x="122" y="92"/>
                  </a:moveTo>
                  <a:cubicBezTo>
                    <a:pt x="12" y="92"/>
                    <a:pt x="12" y="92"/>
                    <a:pt x="12" y="92"/>
                  </a:cubicBezTo>
                  <a:cubicBezTo>
                    <a:pt x="9" y="92"/>
                    <a:pt x="6" y="91"/>
                    <a:pt x="4" y="89"/>
                  </a:cubicBezTo>
                  <a:cubicBezTo>
                    <a:pt x="0" y="85"/>
                    <a:pt x="0" y="79"/>
                    <a:pt x="0" y="7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2"/>
                    <a:pt x="3" y="40"/>
                    <a:pt x="5" y="39"/>
                  </a:cubicBezTo>
                  <a:cubicBezTo>
                    <a:pt x="6" y="34"/>
                    <a:pt x="11" y="32"/>
                    <a:pt x="14" y="32"/>
                  </a:cubicBezTo>
                  <a:cubicBezTo>
                    <a:pt x="17" y="27"/>
                    <a:pt x="25" y="12"/>
                    <a:pt x="30" y="6"/>
                  </a:cubicBezTo>
                  <a:cubicBezTo>
                    <a:pt x="34" y="1"/>
                    <a:pt x="52" y="0"/>
                    <a:pt x="5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2" y="0"/>
                    <a:pt x="100" y="1"/>
                    <a:pt x="104" y="7"/>
                  </a:cubicBezTo>
                  <a:cubicBezTo>
                    <a:pt x="108" y="12"/>
                    <a:pt x="117" y="27"/>
                    <a:pt x="120" y="32"/>
                  </a:cubicBezTo>
                  <a:cubicBezTo>
                    <a:pt x="123" y="32"/>
                    <a:pt x="127" y="34"/>
                    <a:pt x="128" y="39"/>
                  </a:cubicBezTo>
                  <a:cubicBezTo>
                    <a:pt x="131" y="40"/>
                    <a:pt x="134" y="42"/>
                    <a:pt x="134" y="46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4" y="79"/>
                    <a:pt x="134" y="85"/>
                    <a:pt x="130" y="89"/>
                  </a:cubicBezTo>
                  <a:cubicBezTo>
                    <a:pt x="128" y="91"/>
                    <a:pt x="125" y="92"/>
                    <a:pt x="122" y="92"/>
                  </a:cubicBezTo>
                  <a:close/>
                  <a:moveTo>
                    <a:pt x="16" y="37"/>
                  </a:moveTo>
                  <a:cubicBezTo>
                    <a:pt x="15" y="37"/>
                    <a:pt x="10" y="37"/>
                    <a:pt x="10" y="41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5" y="44"/>
                    <a:pt x="5" y="46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79"/>
                    <a:pt x="5" y="83"/>
                    <a:pt x="7" y="85"/>
                  </a:cubicBezTo>
                  <a:cubicBezTo>
                    <a:pt x="8" y="86"/>
                    <a:pt x="10" y="87"/>
                    <a:pt x="12" y="87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24" y="87"/>
                    <a:pt x="125" y="86"/>
                    <a:pt x="126" y="85"/>
                  </a:cubicBezTo>
                  <a:cubicBezTo>
                    <a:pt x="129" y="83"/>
                    <a:pt x="129" y="79"/>
                    <a:pt x="129" y="79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4"/>
                    <a:pt x="125" y="43"/>
                    <a:pt x="125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37"/>
                    <a:pt x="119" y="37"/>
                    <a:pt x="118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6" y="35"/>
                    <a:pt x="105" y="16"/>
                    <a:pt x="100" y="10"/>
                  </a:cubicBezTo>
                  <a:cubicBezTo>
                    <a:pt x="98" y="7"/>
                    <a:pt x="86" y="5"/>
                    <a:pt x="79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46" y="5"/>
                    <a:pt x="36" y="7"/>
                    <a:pt x="34" y="9"/>
                  </a:cubicBezTo>
                  <a:cubicBezTo>
                    <a:pt x="29" y="15"/>
                    <a:pt x="18" y="35"/>
                    <a:pt x="18" y="36"/>
                  </a:cubicBezTo>
                  <a:cubicBezTo>
                    <a:pt x="17" y="37"/>
                    <a:pt x="17" y="37"/>
                    <a:pt x="17" y="37"/>
                  </a:cubicBezTo>
                  <a:lnTo>
                    <a:pt x="16" y="3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65" name="Freeform 1462">
              <a:extLst>
                <a:ext uri="{FF2B5EF4-FFF2-40B4-BE49-F238E27FC236}">
                  <a16:creationId xmlns:a16="http://schemas.microsoft.com/office/drawing/2014/main" id="{51129263-4378-4834-8060-D64D88F9B3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5384" y="3900058"/>
              <a:ext cx="184629" cy="27821"/>
            </a:xfrm>
            <a:custGeom>
              <a:avLst/>
              <a:gdLst>
                <a:gd name="T0" fmla="*/ 94 w 102"/>
                <a:gd name="T1" fmla="*/ 16 h 16"/>
                <a:gd name="T2" fmla="*/ 8 w 102"/>
                <a:gd name="T3" fmla="*/ 16 h 16"/>
                <a:gd name="T4" fmla="*/ 0 w 102"/>
                <a:gd name="T5" fmla="*/ 8 h 16"/>
                <a:gd name="T6" fmla="*/ 8 w 102"/>
                <a:gd name="T7" fmla="*/ 0 h 16"/>
                <a:gd name="T8" fmla="*/ 94 w 102"/>
                <a:gd name="T9" fmla="*/ 0 h 16"/>
                <a:gd name="T10" fmla="*/ 102 w 102"/>
                <a:gd name="T11" fmla="*/ 8 h 16"/>
                <a:gd name="T12" fmla="*/ 94 w 102"/>
                <a:gd name="T13" fmla="*/ 16 h 16"/>
                <a:gd name="T14" fmla="*/ 94 w 102"/>
                <a:gd name="T15" fmla="*/ 5 h 16"/>
                <a:gd name="T16" fmla="*/ 8 w 102"/>
                <a:gd name="T17" fmla="*/ 5 h 16"/>
                <a:gd name="T18" fmla="*/ 5 w 102"/>
                <a:gd name="T19" fmla="*/ 8 h 16"/>
                <a:gd name="T20" fmla="*/ 8 w 102"/>
                <a:gd name="T21" fmla="*/ 11 h 16"/>
                <a:gd name="T22" fmla="*/ 94 w 102"/>
                <a:gd name="T23" fmla="*/ 11 h 16"/>
                <a:gd name="T24" fmla="*/ 97 w 102"/>
                <a:gd name="T25" fmla="*/ 8 h 16"/>
                <a:gd name="T26" fmla="*/ 94 w 102"/>
                <a:gd name="T27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16">
                  <a:moveTo>
                    <a:pt x="94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7" y="0"/>
                    <a:pt x="102" y="2"/>
                    <a:pt x="102" y="8"/>
                  </a:cubicBezTo>
                  <a:cubicBezTo>
                    <a:pt x="102" y="14"/>
                    <a:pt x="97" y="16"/>
                    <a:pt x="94" y="16"/>
                  </a:cubicBezTo>
                  <a:close/>
                  <a:moveTo>
                    <a:pt x="94" y="5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6" y="5"/>
                    <a:pt x="5" y="6"/>
                    <a:pt x="5" y="8"/>
                  </a:cubicBezTo>
                  <a:cubicBezTo>
                    <a:pt x="5" y="10"/>
                    <a:pt x="6" y="11"/>
                    <a:pt x="8" y="11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95" y="11"/>
                    <a:pt x="97" y="10"/>
                    <a:pt x="97" y="8"/>
                  </a:cubicBezTo>
                  <a:cubicBezTo>
                    <a:pt x="97" y="6"/>
                    <a:pt x="95" y="5"/>
                    <a:pt x="94" y="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866" name="Freeform 1463">
            <a:extLst>
              <a:ext uri="{FF2B5EF4-FFF2-40B4-BE49-F238E27FC236}">
                <a16:creationId xmlns:a16="http://schemas.microsoft.com/office/drawing/2014/main" id="{DA6D0549-FBDB-44DA-A0C2-FA8F8CD9AAFE}"/>
              </a:ext>
            </a:extLst>
          </p:cNvPr>
          <p:cNvSpPr>
            <a:spLocks noEditPoints="1"/>
          </p:cNvSpPr>
          <p:nvPr/>
        </p:nvSpPr>
        <p:spPr bwMode="auto">
          <a:xfrm>
            <a:off x="7210376" y="2845394"/>
            <a:ext cx="218773" cy="188423"/>
          </a:xfrm>
          <a:custGeom>
            <a:avLst/>
            <a:gdLst>
              <a:gd name="T0" fmla="*/ 109 w 121"/>
              <a:gd name="T1" fmla="*/ 20 h 104"/>
              <a:gd name="T2" fmla="*/ 87 w 121"/>
              <a:gd name="T3" fmla="*/ 20 h 104"/>
              <a:gd name="T4" fmla="*/ 87 w 121"/>
              <a:gd name="T5" fmla="*/ 15 h 104"/>
              <a:gd name="T6" fmla="*/ 72 w 121"/>
              <a:gd name="T7" fmla="*/ 0 h 104"/>
              <a:gd name="T8" fmla="*/ 49 w 121"/>
              <a:gd name="T9" fmla="*/ 0 h 104"/>
              <a:gd name="T10" fmla="*/ 34 w 121"/>
              <a:gd name="T11" fmla="*/ 15 h 104"/>
              <a:gd name="T12" fmla="*/ 34 w 121"/>
              <a:gd name="T13" fmla="*/ 20 h 104"/>
              <a:gd name="T14" fmla="*/ 12 w 121"/>
              <a:gd name="T15" fmla="*/ 20 h 104"/>
              <a:gd name="T16" fmla="*/ 0 w 121"/>
              <a:gd name="T17" fmla="*/ 32 h 104"/>
              <a:gd name="T18" fmla="*/ 0 w 121"/>
              <a:gd name="T19" fmla="*/ 92 h 104"/>
              <a:gd name="T20" fmla="*/ 12 w 121"/>
              <a:gd name="T21" fmla="*/ 104 h 104"/>
              <a:gd name="T22" fmla="*/ 109 w 121"/>
              <a:gd name="T23" fmla="*/ 104 h 104"/>
              <a:gd name="T24" fmla="*/ 121 w 121"/>
              <a:gd name="T25" fmla="*/ 92 h 104"/>
              <a:gd name="T26" fmla="*/ 121 w 121"/>
              <a:gd name="T27" fmla="*/ 32 h 104"/>
              <a:gd name="T28" fmla="*/ 109 w 121"/>
              <a:gd name="T29" fmla="*/ 20 h 104"/>
              <a:gd name="T30" fmla="*/ 32 w 121"/>
              <a:gd name="T31" fmla="*/ 28 h 104"/>
              <a:gd name="T32" fmla="*/ 89 w 121"/>
              <a:gd name="T33" fmla="*/ 28 h 104"/>
              <a:gd name="T34" fmla="*/ 89 w 121"/>
              <a:gd name="T35" fmla="*/ 97 h 104"/>
              <a:gd name="T36" fmla="*/ 32 w 121"/>
              <a:gd name="T37" fmla="*/ 97 h 104"/>
              <a:gd name="T38" fmla="*/ 32 w 121"/>
              <a:gd name="T39" fmla="*/ 28 h 104"/>
              <a:gd name="T40" fmla="*/ 42 w 121"/>
              <a:gd name="T41" fmla="*/ 15 h 104"/>
              <a:gd name="T42" fmla="*/ 49 w 121"/>
              <a:gd name="T43" fmla="*/ 8 h 104"/>
              <a:gd name="T44" fmla="*/ 72 w 121"/>
              <a:gd name="T45" fmla="*/ 8 h 104"/>
              <a:gd name="T46" fmla="*/ 79 w 121"/>
              <a:gd name="T47" fmla="*/ 15 h 104"/>
              <a:gd name="T48" fmla="*/ 79 w 121"/>
              <a:gd name="T49" fmla="*/ 20 h 104"/>
              <a:gd name="T50" fmla="*/ 42 w 121"/>
              <a:gd name="T51" fmla="*/ 20 h 104"/>
              <a:gd name="T52" fmla="*/ 42 w 121"/>
              <a:gd name="T53" fmla="*/ 15 h 104"/>
              <a:gd name="T54" fmla="*/ 7 w 121"/>
              <a:gd name="T55" fmla="*/ 92 h 104"/>
              <a:gd name="T56" fmla="*/ 7 w 121"/>
              <a:gd name="T57" fmla="*/ 32 h 104"/>
              <a:gd name="T58" fmla="*/ 12 w 121"/>
              <a:gd name="T59" fmla="*/ 28 h 104"/>
              <a:gd name="T60" fmla="*/ 24 w 121"/>
              <a:gd name="T61" fmla="*/ 28 h 104"/>
              <a:gd name="T62" fmla="*/ 24 w 121"/>
              <a:gd name="T63" fmla="*/ 97 h 104"/>
              <a:gd name="T64" fmla="*/ 12 w 121"/>
              <a:gd name="T65" fmla="*/ 97 h 104"/>
              <a:gd name="T66" fmla="*/ 7 w 121"/>
              <a:gd name="T67" fmla="*/ 92 h 104"/>
              <a:gd name="T68" fmla="*/ 114 w 121"/>
              <a:gd name="T69" fmla="*/ 92 h 104"/>
              <a:gd name="T70" fmla="*/ 109 w 121"/>
              <a:gd name="T71" fmla="*/ 97 h 104"/>
              <a:gd name="T72" fmla="*/ 97 w 121"/>
              <a:gd name="T73" fmla="*/ 97 h 104"/>
              <a:gd name="T74" fmla="*/ 97 w 121"/>
              <a:gd name="T75" fmla="*/ 28 h 104"/>
              <a:gd name="T76" fmla="*/ 109 w 121"/>
              <a:gd name="T77" fmla="*/ 28 h 104"/>
              <a:gd name="T78" fmla="*/ 114 w 121"/>
              <a:gd name="T79" fmla="*/ 32 h 104"/>
              <a:gd name="T80" fmla="*/ 114 w 121"/>
              <a:gd name="T81" fmla="*/ 9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21" h="104">
                <a:moveTo>
                  <a:pt x="109" y="20"/>
                </a:moveTo>
                <a:cubicBezTo>
                  <a:pt x="87" y="20"/>
                  <a:pt x="87" y="20"/>
                  <a:pt x="87" y="20"/>
                </a:cubicBezTo>
                <a:cubicBezTo>
                  <a:pt x="87" y="15"/>
                  <a:pt x="87" y="15"/>
                  <a:pt x="87" y="15"/>
                </a:cubicBezTo>
                <a:cubicBezTo>
                  <a:pt x="87" y="7"/>
                  <a:pt x="80" y="0"/>
                  <a:pt x="72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41" y="0"/>
                  <a:pt x="34" y="7"/>
                  <a:pt x="34" y="15"/>
                </a:cubicBezTo>
                <a:cubicBezTo>
                  <a:pt x="34" y="20"/>
                  <a:pt x="34" y="20"/>
                  <a:pt x="34" y="20"/>
                </a:cubicBezTo>
                <a:cubicBezTo>
                  <a:pt x="12" y="20"/>
                  <a:pt x="12" y="20"/>
                  <a:pt x="12" y="20"/>
                </a:cubicBezTo>
                <a:cubicBezTo>
                  <a:pt x="4" y="20"/>
                  <a:pt x="0" y="24"/>
                  <a:pt x="0" y="32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100"/>
                  <a:pt x="4" y="104"/>
                  <a:pt x="12" y="104"/>
                </a:cubicBezTo>
                <a:cubicBezTo>
                  <a:pt x="109" y="104"/>
                  <a:pt x="109" y="104"/>
                  <a:pt x="109" y="104"/>
                </a:cubicBezTo>
                <a:cubicBezTo>
                  <a:pt x="117" y="104"/>
                  <a:pt x="121" y="100"/>
                  <a:pt x="121" y="92"/>
                </a:cubicBezTo>
                <a:cubicBezTo>
                  <a:pt x="121" y="32"/>
                  <a:pt x="121" y="32"/>
                  <a:pt x="121" y="32"/>
                </a:cubicBezTo>
                <a:cubicBezTo>
                  <a:pt x="121" y="24"/>
                  <a:pt x="117" y="20"/>
                  <a:pt x="109" y="20"/>
                </a:cubicBezTo>
                <a:moveTo>
                  <a:pt x="32" y="28"/>
                </a:moveTo>
                <a:cubicBezTo>
                  <a:pt x="89" y="28"/>
                  <a:pt x="89" y="28"/>
                  <a:pt x="89" y="28"/>
                </a:cubicBezTo>
                <a:cubicBezTo>
                  <a:pt x="89" y="97"/>
                  <a:pt x="89" y="97"/>
                  <a:pt x="89" y="97"/>
                </a:cubicBezTo>
                <a:cubicBezTo>
                  <a:pt x="32" y="97"/>
                  <a:pt x="32" y="97"/>
                  <a:pt x="32" y="97"/>
                </a:cubicBezTo>
                <a:lnTo>
                  <a:pt x="32" y="28"/>
                </a:lnTo>
                <a:close/>
                <a:moveTo>
                  <a:pt x="42" y="15"/>
                </a:moveTo>
                <a:cubicBezTo>
                  <a:pt x="42" y="11"/>
                  <a:pt x="45" y="8"/>
                  <a:pt x="49" y="8"/>
                </a:cubicBezTo>
                <a:cubicBezTo>
                  <a:pt x="72" y="8"/>
                  <a:pt x="72" y="8"/>
                  <a:pt x="72" y="8"/>
                </a:cubicBezTo>
                <a:cubicBezTo>
                  <a:pt x="76" y="8"/>
                  <a:pt x="79" y="11"/>
                  <a:pt x="79" y="15"/>
                </a:cubicBezTo>
                <a:cubicBezTo>
                  <a:pt x="79" y="20"/>
                  <a:pt x="79" y="20"/>
                  <a:pt x="79" y="20"/>
                </a:cubicBezTo>
                <a:cubicBezTo>
                  <a:pt x="42" y="20"/>
                  <a:pt x="42" y="20"/>
                  <a:pt x="42" y="20"/>
                </a:cubicBezTo>
                <a:lnTo>
                  <a:pt x="42" y="15"/>
                </a:lnTo>
                <a:close/>
                <a:moveTo>
                  <a:pt x="7" y="92"/>
                </a:moveTo>
                <a:cubicBezTo>
                  <a:pt x="7" y="32"/>
                  <a:pt x="7" y="32"/>
                  <a:pt x="7" y="32"/>
                </a:cubicBezTo>
                <a:cubicBezTo>
                  <a:pt x="7" y="28"/>
                  <a:pt x="8" y="28"/>
                  <a:pt x="12" y="28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97"/>
                  <a:pt x="24" y="97"/>
                  <a:pt x="24" y="97"/>
                </a:cubicBezTo>
                <a:cubicBezTo>
                  <a:pt x="12" y="97"/>
                  <a:pt x="12" y="97"/>
                  <a:pt x="12" y="97"/>
                </a:cubicBezTo>
                <a:cubicBezTo>
                  <a:pt x="8" y="97"/>
                  <a:pt x="7" y="96"/>
                  <a:pt x="7" y="92"/>
                </a:cubicBezTo>
                <a:moveTo>
                  <a:pt x="114" y="92"/>
                </a:moveTo>
                <a:cubicBezTo>
                  <a:pt x="114" y="96"/>
                  <a:pt x="113" y="97"/>
                  <a:pt x="109" y="97"/>
                </a:cubicBezTo>
                <a:cubicBezTo>
                  <a:pt x="97" y="97"/>
                  <a:pt x="97" y="97"/>
                  <a:pt x="97" y="97"/>
                </a:cubicBezTo>
                <a:cubicBezTo>
                  <a:pt x="97" y="28"/>
                  <a:pt x="97" y="28"/>
                  <a:pt x="97" y="28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113" y="28"/>
                  <a:pt x="114" y="28"/>
                  <a:pt x="114" y="32"/>
                </a:cubicBezTo>
                <a:lnTo>
                  <a:pt x="114" y="92"/>
                </a:lnTo>
                <a:close/>
              </a:path>
            </a:pathLst>
          </a:custGeom>
          <a:solidFill>
            <a:srgbClr val="2121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1700" name="Agrupar 1699">
            <a:extLst>
              <a:ext uri="{FF2B5EF4-FFF2-40B4-BE49-F238E27FC236}">
                <a16:creationId xmlns:a16="http://schemas.microsoft.com/office/drawing/2014/main" id="{EF1CDEED-EC40-44DC-AC6C-FC98CAABC8BC}"/>
              </a:ext>
            </a:extLst>
          </p:cNvPr>
          <p:cNvGrpSpPr/>
          <p:nvPr/>
        </p:nvGrpSpPr>
        <p:grpSpPr>
          <a:xfrm>
            <a:off x="5551240" y="5886721"/>
            <a:ext cx="251652" cy="212450"/>
            <a:chOff x="5551240" y="5886721"/>
            <a:chExt cx="251652" cy="212450"/>
          </a:xfrm>
        </p:grpSpPr>
        <p:sp>
          <p:nvSpPr>
            <p:cNvPr id="867" name="Freeform 1464">
              <a:extLst>
                <a:ext uri="{FF2B5EF4-FFF2-40B4-BE49-F238E27FC236}">
                  <a16:creationId xmlns:a16="http://schemas.microsoft.com/office/drawing/2014/main" id="{1F8D3486-7F83-43FE-A077-E4A2FAB20B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1240" y="5925923"/>
              <a:ext cx="251652" cy="173248"/>
            </a:xfrm>
            <a:custGeom>
              <a:avLst/>
              <a:gdLst>
                <a:gd name="T0" fmla="*/ 117 w 139"/>
                <a:gd name="T1" fmla="*/ 75 h 96"/>
                <a:gd name="T2" fmla="*/ 130 w 139"/>
                <a:gd name="T3" fmla="*/ 81 h 96"/>
                <a:gd name="T4" fmla="*/ 131 w 139"/>
                <a:gd name="T5" fmla="*/ 88 h 96"/>
                <a:gd name="T6" fmla="*/ 9 w 139"/>
                <a:gd name="T7" fmla="*/ 88 h 96"/>
                <a:gd name="T8" fmla="*/ 23 w 139"/>
                <a:gd name="T9" fmla="*/ 75 h 96"/>
                <a:gd name="T10" fmla="*/ 117 w 139"/>
                <a:gd name="T11" fmla="*/ 75 h 96"/>
                <a:gd name="T12" fmla="*/ 0 w 139"/>
                <a:gd name="T13" fmla="*/ 92 h 96"/>
                <a:gd name="T14" fmla="*/ 5 w 139"/>
                <a:gd name="T15" fmla="*/ 96 h 96"/>
                <a:gd name="T16" fmla="*/ 72 w 139"/>
                <a:gd name="T17" fmla="*/ 96 h 96"/>
                <a:gd name="T18" fmla="*/ 135 w 139"/>
                <a:gd name="T19" fmla="*/ 96 h 96"/>
                <a:gd name="T20" fmla="*/ 139 w 139"/>
                <a:gd name="T21" fmla="*/ 92 h 96"/>
                <a:gd name="T22" fmla="*/ 117 w 139"/>
                <a:gd name="T23" fmla="*/ 67 h 96"/>
                <a:gd name="T24" fmla="*/ 23 w 139"/>
                <a:gd name="T25" fmla="*/ 67 h 96"/>
                <a:gd name="T26" fmla="*/ 0 w 139"/>
                <a:gd name="T27" fmla="*/ 92 h 96"/>
                <a:gd name="T28" fmla="*/ 70 w 139"/>
                <a:gd name="T29" fmla="*/ 0 h 96"/>
                <a:gd name="T30" fmla="*/ 9 w 139"/>
                <a:gd name="T31" fmla="*/ 55 h 96"/>
                <a:gd name="T32" fmla="*/ 13 w 139"/>
                <a:gd name="T33" fmla="*/ 59 h 96"/>
                <a:gd name="T34" fmla="*/ 127 w 139"/>
                <a:gd name="T35" fmla="*/ 59 h 96"/>
                <a:gd name="T36" fmla="*/ 131 w 139"/>
                <a:gd name="T37" fmla="*/ 55 h 96"/>
                <a:gd name="T38" fmla="*/ 70 w 139"/>
                <a:gd name="T39" fmla="*/ 0 h 96"/>
                <a:gd name="T40" fmla="*/ 18 w 139"/>
                <a:gd name="T41" fmla="*/ 45 h 96"/>
                <a:gd name="T42" fmla="*/ 70 w 139"/>
                <a:gd name="T43" fmla="*/ 8 h 96"/>
                <a:gd name="T44" fmla="*/ 123 w 139"/>
                <a:gd name="T45" fmla="*/ 51 h 96"/>
                <a:gd name="T46" fmla="*/ 17 w 139"/>
                <a:gd name="T47" fmla="*/ 51 h 96"/>
                <a:gd name="T48" fmla="*/ 18 w 139"/>
                <a:gd name="T49" fmla="*/ 4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9" h="96">
                  <a:moveTo>
                    <a:pt x="117" y="75"/>
                  </a:moveTo>
                  <a:cubicBezTo>
                    <a:pt x="124" y="75"/>
                    <a:pt x="128" y="77"/>
                    <a:pt x="130" y="81"/>
                  </a:cubicBezTo>
                  <a:cubicBezTo>
                    <a:pt x="131" y="84"/>
                    <a:pt x="131" y="88"/>
                    <a:pt x="131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78"/>
                    <a:pt x="13" y="75"/>
                    <a:pt x="23" y="75"/>
                  </a:cubicBezTo>
                  <a:lnTo>
                    <a:pt x="117" y="75"/>
                  </a:lnTo>
                  <a:close/>
                  <a:moveTo>
                    <a:pt x="0" y="92"/>
                  </a:moveTo>
                  <a:cubicBezTo>
                    <a:pt x="0" y="94"/>
                    <a:pt x="2" y="96"/>
                    <a:pt x="5" y="96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7" y="96"/>
                    <a:pt x="139" y="94"/>
                    <a:pt x="139" y="92"/>
                  </a:cubicBezTo>
                  <a:cubicBezTo>
                    <a:pt x="139" y="75"/>
                    <a:pt x="133" y="67"/>
                    <a:pt x="117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7" y="67"/>
                    <a:pt x="0" y="75"/>
                    <a:pt x="0" y="92"/>
                  </a:cubicBezTo>
                  <a:moveTo>
                    <a:pt x="70" y="0"/>
                  </a:moveTo>
                  <a:cubicBezTo>
                    <a:pt x="32" y="0"/>
                    <a:pt x="9" y="23"/>
                    <a:pt x="9" y="55"/>
                  </a:cubicBezTo>
                  <a:cubicBezTo>
                    <a:pt x="9" y="57"/>
                    <a:pt x="10" y="59"/>
                    <a:pt x="1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1" y="57"/>
                    <a:pt x="131" y="55"/>
                  </a:cubicBezTo>
                  <a:cubicBezTo>
                    <a:pt x="131" y="23"/>
                    <a:pt x="108" y="0"/>
                    <a:pt x="70" y="0"/>
                  </a:cubicBezTo>
                  <a:moveTo>
                    <a:pt x="18" y="45"/>
                  </a:moveTo>
                  <a:cubicBezTo>
                    <a:pt x="22" y="23"/>
                    <a:pt x="40" y="8"/>
                    <a:pt x="70" y="8"/>
                  </a:cubicBezTo>
                  <a:cubicBezTo>
                    <a:pt x="102" y="8"/>
                    <a:pt x="121" y="25"/>
                    <a:pt x="123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48"/>
                    <a:pt x="18" y="45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68" name="Freeform 1465">
              <a:extLst>
                <a:ext uri="{FF2B5EF4-FFF2-40B4-BE49-F238E27FC236}">
                  <a16:creationId xmlns:a16="http://schemas.microsoft.com/office/drawing/2014/main" id="{7A7C576E-AC8D-4FAF-9D0F-47CE0350B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613" y="5886721"/>
              <a:ext cx="58171" cy="49319"/>
            </a:xfrm>
            <a:custGeom>
              <a:avLst/>
              <a:gdLst>
                <a:gd name="T0" fmla="*/ 12 w 32"/>
                <a:gd name="T1" fmla="*/ 9 h 27"/>
                <a:gd name="T2" fmla="*/ 12 w 32"/>
                <a:gd name="T3" fmla="*/ 23 h 27"/>
                <a:gd name="T4" fmla="*/ 16 w 32"/>
                <a:gd name="T5" fmla="*/ 27 h 27"/>
                <a:gd name="T6" fmla="*/ 20 w 32"/>
                <a:gd name="T7" fmla="*/ 23 h 27"/>
                <a:gd name="T8" fmla="*/ 20 w 32"/>
                <a:gd name="T9" fmla="*/ 9 h 27"/>
                <a:gd name="T10" fmla="*/ 28 w 32"/>
                <a:gd name="T11" fmla="*/ 9 h 27"/>
                <a:gd name="T12" fmla="*/ 32 w 32"/>
                <a:gd name="T13" fmla="*/ 4 h 27"/>
                <a:gd name="T14" fmla="*/ 28 w 32"/>
                <a:gd name="T15" fmla="*/ 0 h 27"/>
                <a:gd name="T16" fmla="*/ 4 w 32"/>
                <a:gd name="T17" fmla="*/ 0 h 27"/>
                <a:gd name="T18" fmla="*/ 0 w 32"/>
                <a:gd name="T19" fmla="*/ 4 h 27"/>
                <a:gd name="T20" fmla="*/ 4 w 32"/>
                <a:gd name="T21" fmla="*/ 9 h 27"/>
                <a:gd name="T22" fmla="*/ 12 w 32"/>
                <a:gd name="T23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27">
                  <a:moveTo>
                    <a:pt x="12" y="9"/>
                  </a:move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4" y="27"/>
                    <a:pt x="16" y="27"/>
                  </a:cubicBezTo>
                  <a:cubicBezTo>
                    <a:pt x="18" y="27"/>
                    <a:pt x="20" y="25"/>
                    <a:pt x="20" y="23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0" y="9"/>
                    <a:pt x="32" y="7"/>
                    <a:pt x="32" y="4"/>
                  </a:cubicBezTo>
                  <a:cubicBezTo>
                    <a:pt x="32" y="2"/>
                    <a:pt x="30" y="0"/>
                    <a:pt x="2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7"/>
                    <a:pt x="1" y="9"/>
                    <a:pt x="4" y="9"/>
                  </a:cubicBezTo>
                  <a:lnTo>
                    <a:pt x="12" y="9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98" name="Agrupar 1697">
            <a:extLst>
              <a:ext uri="{FF2B5EF4-FFF2-40B4-BE49-F238E27FC236}">
                <a16:creationId xmlns:a16="http://schemas.microsoft.com/office/drawing/2014/main" id="{BB2E5E0F-96C8-4EA1-A0DD-3CB351E57BCF}"/>
              </a:ext>
            </a:extLst>
          </p:cNvPr>
          <p:cNvGrpSpPr/>
          <p:nvPr/>
        </p:nvGrpSpPr>
        <p:grpSpPr>
          <a:xfrm>
            <a:off x="4817781" y="5861430"/>
            <a:ext cx="212450" cy="246594"/>
            <a:chOff x="4817781" y="5861430"/>
            <a:chExt cx="212450" cy="246594"/>
          </a:xfrm>
        </p:grpSpPr>
        <p:sp>
          <p:nvSpPr>
            <p:cNvPr id="840" name="Freeform 1437">
              <a:extLst>
                <a:ext uri="{FF2B5EF4-FFF2-40B4-BE49-F238E27FC236}">
                  <a16:creationId xmlns:a16="http://schemas.microsoft.com/office/drawing/2014/main" id="{5DCA60BB-4EA9-40DE-A294-D695CCB444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7781" y="5861430"/>
              <a:ext cx="212450" cy="246594"/>
            </a:xfrm>
            <a:custGeom>
              <a:avLst/>
              <a:gdLst>
                <a:gd name="T0" fmla="*/ 117 w 117"/>
                <a:gd name="T1" fmla="*/ 117 h 136"/>
                <a:gd name="T2" fmla="*/ 117 w 117"/>
                <a:gd name="T3" fmla="*/ 38 h 136"/>
                <a:gd name="T4" fmla="*/ 98 w 117"/>
                <a:gd name="T5" fmla="*/ 19 h 136"/>
                <a:gd name="T6" fmla="*/ 90 w 117"/>
                <a:gd name="T7" fmla="*/ 19 h 136"/>
                <a:gd name="T8" fmla="*/ 90 w 117"/>
                <a:gd name="T9" fmla="*/ 13 h 136"/>
                <a:gd name="T10" fmla="*/ 77 w 117"/>
                <a:gd name="T11" fmla="*/ 0 h 136"/>
                <a:gd name="T12" fmla="*/ 63 w 117"/>
                <a:gd name="T13" fmla="*/ 13 h 136"/>
                <a:gd name="T14" fmla="*/ 63 w 117"/>
                <a:gd name="T15" fmla="*/ 19 h 136"/>
                <a:gd name="T16" fmla="*/ 48 w 117"/>
                <a:gd name="T17" fmla="*/ 19 h 136"/>
                <a:gd name="T18" fmla="*/ 48 w 117"/>
                <a:gd name="T19" fmla="*/ 13 h 136"/>
                <a:gd name="T20" fmla="*/ 35 w 117"/>
                <a:gd name="T21" fmla="*/ 0 h 136"/>
                <a:gd name="T22" fmla="*/ 22 w 117"/>
                <a:gd name="T23" fmla="*/ 13 h 136"/>
                <a:gd name="T24" fmla="*/ 22 w 117"/>
                <a:gd name="T25" fmla="*/ 19 h 136"/>
                <a:gd name="T26" fmla="*/ 19 w 117"/>
                <a:gd name="T27" fmla="*/ 19 h 136"/>
                <a:gd name="T28" fmla="*/ 0 w 117"/>
                <a:gd name="T29" fmla="*/ 38 h 136"/>
                <a:gd name="T30" fmla="*/ 0 w 117"/>
                <a:gd name="T31" fmla="*/ 117 h 136"/>
                <a:gd name="T32" fmla="*/ 19 w 117"/>
                <a:gd name="T33" fmla="*/ 136 h 136"/>
                <a:gd name="T34" fmla="*/ 98 w 117"/>
                <a:gd name="T35" fmla="*/ 136 h 136"/>
                <a:gd name="T36" fmla="*/ 117 w 117"/>
                <a:gd name="T37" fmla="*/ 117 h 136"/>
                <a:gd name="T38" fmla="*/ 71 w 117"/>
                <a:gd name="T39" fmla="*/ 13 h 136"/>
                <a:gd name="T40" fmla="*/ 77 w 117"/>
                <a:gd name="T41" fmla="*/ 7 h 136"/>
                <a:gd name="T42" fmla="*/ 83 w 117"/>
                <a:gd name="T43" fmla="*/ 13 h 136"/>
                <a:gd name="T44" fmla="*/ 83 w 117"/>
                <a:gd name="T45" fmla="*/ 19 h 136"/>
                <a:gd name="T46" fmla="*/ 71 w 117"/>
                <a:gd name="T47" fmla="*/ 19 h 136"/>
                <a:gd name="T48" fmla="*/ 71 w 117"/>
                <a:gd name="T49" fmla="*/ 13 h 136"/>
                <a:gd name="T50" fmla="*/ 29 w 117"/>
                <a:gd name="T51" fmla="*/ 13 h 136"/>
                <a:gd name="T52" fmla="*/ 35 w 117"/>
                <a:gd name="T53" fmla="*/ 7 h 136"/>
                <a:gd name="T54" fmla="*/ 41 w 117"/>
                <a:gd name="T55" fmla="*/ 13 h 136"/>
                <a:gd name="T56" fmla="*/ 41 w 117"/>
                <a:gd name="T57" fmla="*/ 19 h 136"/>
                <a:gd name="T58" fmla="*/ 29 w 117"/>
                <a:gd name="T59" fmla="*/ 19 h 136"/>
                <a:gd name="T60" fmla="*/ 29 w 117"/>
                <a:gd name="T61" fmla="*/ 13 h 136"/>
                <a:gd name="T62" fmla="*/ 110 w 117"/>
                <a:gd name="T63" fmla="*/ 117 h 136"/>
                <a:gd name="T64" fmla="*/ 98 w 117"/>
                <a:gd name="T65" fmla="*/ 128 h 136"/>
                <a:gd name="T66" fmla="*/ 19 w 117"/>
                <a:gd name="T67" fmla="*/ 128 h 136"/>
                <a:gd name="T68" fmla="*/ 8 w 117"/>
                <a:gd name="T69" fmla="*/ 117 h 136"/>
                <a:gd name="T70" fmla="*/ 8 w 117"/>
                <a:gd name="T71" fmla="*/ 38 h 136"/>
                <a:gd name="T72" fmla="*/ 19 w 117"/>
                <a:gd name="T73" fmla="*/ 26 h 136"/>
                <a:gd name="T74" fmla="*/ 22 w 117"/>
                <a:gd name="T75" fmla="*/ 26 h 136"/>
                <a:gd name="T76" fmla="*/ 22 w 117"/>
                <a:gd name="T77" fmla="*/ 29 h 136"/>
                <a:gd name="T78" fmla="*/ 30 w 117"/>
                <a:gd name="T79" fmla="*/ 41 h 136"/>
                <a:gd name="T80" fmla="*/ 35 w 117"/>
                <a:gd name="T81" fmla="*/ 38 h 136"/>
                <a:gd name="T82" fmla="*/ 35 w 117"/>
                <a:gd name="T83" fmla="*/ 38 h 136"/>
                <a:gd name="T84" fmla="*/ 33 w 117"/>
                <a:gd name="T85" fmla="*/ 34 h 136"/>
                <a:gd name="T86" fmla="*/ 29 w 117"/>
                <a:gd name="T87" fmla="*/ 29 h 136"/>
                <a:gd name="T88" fmla="*/ 29 w 117"/>
                <a:gd name="T89" fmla="*/ 26 h 136"/>
                <a:gd name="T90" fmla="*/ 63 w 117"/>
                <a:gd name="T91" fmla="*/ 26 h 136"/>
                <a:gd name="T92" fmla="*/ 63 w 117"/>
                <a:gd name="T93" fmla="*/ 29 h 136"/>
                <a:gd name="T94" fmla="*/ 72 w 117"/>
                <a:gd name="T95" fmla="*/ 41 h 136"/>
                <a:gd name="T96" fmla="*/ 77 w 117"/>
                <a:gd name="T97" fmla="*/ 38 h 136"/>
                <a:gd name="T98" fmla="*/ 77 w 117"/>
                <a:gd name="T99" fmla="*/ 38 h 136"/>
                <a:gd name="T100" fmla="*/ 74 w 117"/>
                <a:gd name="T101" fmla="*/ 34 h 136"/>
                <a:gd name="T102" fmla="*/ 71 w 117"/>
                <a:gd name="T103" fmla="*/ 29 h 136"/>
                <a:gd name="T104" fmla="*/ 71 w 117"/>
                <a:gd name="T105" fmla="*/ 26 h 136"/>
                <a:gd name="T106" fmla="*/ 98 w 117"/>
                <a:gd name="T107" fmla="*/ 26 h 136"/>
                <a:gd name="T108" fmla="*/ 110 w 117"/>
                <a:gd name="T109" fmla="*/ 38 h 136"/>
                <a:gd name="T110" fmla="*/ 110 w 117"/>
                <a:gd name="T111" fmla="*/ 117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" h="136">
                  <a:moveTo>
                    <a:pt x="117" y="117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28"/>
                    <a:pt x="108" y="19"/>
                    <a:pt x="98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0" y="6"/>
                    <a:pt x="84" y="0"/>
                    <a:pt x="77" y="0"/>
                  </a:cubicBezTo>
                  <a:cubicBezTo>
                    <a:pt x="69" y="0"/>
                    <a:pt x="63" y="6"/>
                    <a:pt x="63" y="13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6"/>
                    <a:pt x="42" y="0"/>
                    <a:pt x="35" y="0"/>
                  </a:cubicBezTo>
                  <a:cubicBezTo>
                    <a:pt x="28" y="0"/>
                    <a:pt x="22" y="6"/>
                    <a:pt x="22" y="13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9" y="19"/>
                    <a:pt x="0" y="28"/>
                    <a:pt x="0" y="38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7"/>
                    <a:pt x="9" y="136"/>
                    <a:pt x="19" y="136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8" y="136"/>
                    <a:pt x="117" y="127"/>
                    <a:pt x="117" y="117"/>
                  </a:cubicBezTo>
                  <a:close/>
                  <a:moveTo>
                    <a:pt x="71" y="13"/>
                  </a:moveTo>
                  <a:cubicBezTo>
                    <a:pt x="71" y="10"/>
                    <a:pt x="73" y="7"/>
                    <a:pt x="77" y="7"/>
                  </a:cubicBezTo>
                  <a:cubicBezTo>
                    <a:pt x="80" y="7"/>
                    <a:pt x="83" y="10"/>
                    <a:pt x="83" y="13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71" y="19"/>
                    <a:pt x="71" y="19"/>
                    <a:pt x="71" y="19"/>
                  </a:cubicBezTo>
                  <a:lnTo>
                    <a:pt x="71" y="13"/>
                  </a:lnTo>
                  <a:close/>
                  <a:moveTo>
                    <a:pt x="29" y="13"/>
                  </a:moveTo>
                  <a:cubicBezTo>
                    <a:pt x="29" y="10"/>
                    <a:pt x="32" y="7"/>
                    <a:pt x="35" y="7"/>
                  </a:cubicBezTo>
                  <a:cubicBezTo>
                    <a:pt x="38" y="7"/>
                    <a:pt x="41" y="10"/>
                    <a:pt x="41" y="13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29" y="19"/>
                    <a:pt x="29" y="19"/>
                    <a:pt x="29" y="19"/>
                  </a:cubicBezTo>
                  <a:lnTo>
                    <a:pt x="29" y="13"/>
                  </a:lnTo>
                  <a:close/>
                  <a:moveTo>
                    <a:pt x="110" y="117"/>
                  </a:moveTo>
                  <a:cubicBezTo>
                    <a:pt x="110" y="123"/>
                    <a:pt x="104" y="128"/>
                    <a:pt x="98" y="128"/>
                  </a:cubicBezTo>
                  <a:cubicBezTo>
                    <a:pt x="19" y="128"/>
                    <a:pt x="19" y="128"/>
                    <a:pt x="19" y="128"/>
                  </a:cubicBezTo>
                  <a:cubicBezTo>
                    <a:pt x="13" y="128"/>
                    <a:pt x="8" y="123"/>
                    <a:pt x="8" y="117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2"/>
                    <a:pt x="13" y="26"/>
                    <a:pt x="19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35"/>
                    <a:pt x="25" y="39"/>
                    <a:pt x="30" y="41"/>
                  </a:cubicBezTo>
                  <a:cubicBezTo>
                    <a:pt x="32" y="42"/>
                    <a:pt x="35" y="40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6"/>
                    <a:pt x="34" y="35"/>
                    <a:pt x="33" y="34"/>
                  </a:cubicBezTo>
                  <a:cubicBezTo>
                    <a:pt x="31" y="34"/>
                    <a:pt x="29" y="31"/>
                    <a:pt x="29" y="29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35"/>
                    <a:pt x="67" y="39"/>
                    <a:pt x="72" y="41"/>
                  </a:cubicBezTo>
                  <a:cubicBezTo>
                    <a:pt x="74" y="42"/>
                    <a:pt x="77" y="40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6"/>
                    <a:pt x="76" y="35"/>
                    <a:pt x="74" y="34"/>
                  </a:cubicBezTo>
                  <a:cubicBezTo>
                    <a:pt x="72" y="34"/>
                    <a:pt x="71" y="31"/>
                    <a:pt x="71" y="29"/>
                  </a:cubicBezTo>
                  <a:cubicBezTo>
                    <a:pt x="71" y="26"/>
                    <a:pt x="71" y="26"/>
                    <a:pt x="71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104" y="26"/>
                    <a:pt x="110" y="32"/>
                    <a:pt x="110" y="38"/>
                  </a:cubicBezTo>
                  <a:cubicBezTo>
                    <a:pt x="110" y="117"/>
                    <a:pt x="110" y="117"/>
                    <a:pt x="110" y="11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1" name="Freeform 1438">
              <a:extLst>
                <a:ext uri="{FF2B5EF4-FFF2-40B4-BE49-F238E27FC236}">
                  <a16:creationId xmlns:a16="http://schemas.microsoft.com/office/drawing/2014/main" id="{6B5684D0-E503-44C0-BA35-7F22E8DD2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1925" y="5943628"/>
              <a:ext cx="144163" cy="13910"/>
            </a:xfrm>
            <a:custGeom>
              <a:avLst/>
              <a:gdLst>
                <a:gd name="T0" fmla="*/ 4 w 79"/>
                <a:gd name="T1" fmla="*/ 0 h 8"/>
                <a:gd name="T2" fmla="*/ 76 w 79"/>
                <a:gd name="T3" fmla="*/ 0 h 8"/>
                <a:gd name="T4" fmla="*/ 79 w 79"/>
                <a:gd name="T5" fmla="*/ 4 h 8"/>
                <a:gd name="T6" fmla="*/ 76 w 79"/>
                <a:gd name="T7" fmla="*/ 8 h 8"/>
                <a:gd name="T8" fmla="*/ 4 w 79"/>
                <a:gd name="T9" fmla="*/ 8 h 8"/>
                <a:gd name="T10" fmla="*/ 0 w 79"/>
                <a:gd name="T11" fmla="*/ 4 h 8"/>
                <a:gd name="T12" fmla="*/ 4 w 79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8">
                  <a:moveTo>
                    <a:pt x="4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78" y="0"/>
                    <a:pt x="79" y="2"/>
                    <a:pt x="79" y="4"/>
                  </a:cubicBezTo>
                  <a:cubicBezTo>
                    <a:pt x="79" y="6"/>
                    <a:pt x="78" y="8"/>
                    <a:pt x="76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69" name="Freeform 1466">
              <a:extLst>
                <a:ext uri="{FF2B5EF4-FFF2-40B4-BE49-F238E27FC236}">
                  <a16:creationId xmlns:a16="http://schemas.microsoft.com/office/drawing/2014/main" id="{D0F9EC4D-8414-410C-95DE-F55E838E18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3539" y="5968919"/>
              <a:ext cx="39202" cy="41731"/>
            </a:xfrm>
            <a:custGeom>
              <a:avLst/>
              <a:gdLst>
                <a:gd name="T0" fmla="*/ 16 w 22"/>
                <a:gd name="T1" fmla="*/ 23 h 23"/>
                <a:gd name="T2" fmla="*/ 6 w 22"/>
                <a:gd name="T3" fmla="*/ 23 h 23"/>
                <a:gd name="T4" fmla="*/ 0 w 22"/>
                <a:gd name="T5" fmla="*/ 16 h 23"/>
                <a:gd name="T6" fmla="*/ 0 w 22"/>
                <a:gd name="T7" fmla="*/ 7 h 23"/>
                <a:gd name="T8" fmla="*/ 6 w 22"/>
                <a:gd name="T9" fmla="*/ 0 h 23"/>
                <a:gd name="T10" fmla="*/ 16 w 22"/>
                <a:gd name="T11" fmla="*/ 0 h 23"/>
                <a:gd name="T12" fmla="*/ 22 w 22"/>
                <a:gd name="T13" fmla="*/ 7 h 23"/>
                <a:gd name="T14" fmla="*/ 22 w 22"/>
                <a:gd name="T15" fmla="*/ 16 h 23"/>
                <a:gd name="T16" fmla="*/ 16 w 22"/>
                <a:gd name="T17" fmla="*/ 23 h 23"/>
                <a:gd name="T18" fmla="*/ 7 w 22"/>
                <a:gd name="T19" fmla="*/ 16 h 23"/>
                <a:gd name="T20" fmla="*/ 15 w 22"/>
                <a:gd name="T21" fmla="*/ 16 h 23"/>
                <a:gd name="T22" fmla="*/ 15 w 22"/>
                <a:gd name="T23" fmla="*/ 7 h 23"/>
                <a:gd name="T24" fmla="*/ 7 w 22"/>
                <a:gd name="T25" fmla="*/ 7 h 23"/>
                <a:gd name="T26" fmla="*/ 7 w 22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6" y="23"/>
                  </a:moveTo>
                  <a:cubicBezTo>
                    <a:pt x="6" y="23"/>
                    <a:pt x="6" y="23"/>
                    <a:pt x="6" y="23"/>
                  </a:cubicBezTo>
                  <a:cubicBezTo>
                    <a:pt x="3" y="23"/>
                    <a:pt x="0" y="20"/>
                    <a:pt x="0" y="1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9" y="0"/>
                    <a:pt x="22" y="3"/>
                    <a:pt x="22" y="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20"/>
                    <a:pt x="19" y="23"/>
                    <a:pt x="16" y="23"/>
                  </a:cubicBezTo>
                  <a:close/>
                  <a:moveTo>
                    <a:pt x="7" y="16"/>
                  </a:moveTo>
                  <a:cubicBezTo>
                    <a:pt x="15" y="16"/>
                    <a:pt x="15" y="16"/>
                    <a:pt x="15" y="1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0" name="Freeform 1467">
              <a:extLst>
                <a:ext uri="{FF2B5EF4-FFF2-40B4-BE49-F238E27FC236}">
                  <a16:creationId xmlns:a16="http://schemas.microsoft.com/office/drawing/2014/main" id="{929FF5BB-53C4-4C86-95C7-4A8A7E580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6535" y="5968919"/>
              <a:ext cx="40467" cy="41731"/>
            </a:xfrm>
            <a:custGeom>
              <a:avLst/>
              <a:gdLst>
                <a:gd name="T0" fmla="*/ 16 w 22"/>
                <a:gd name="T1" fmla="*/ 23 h 23"/>
                <a:gd name="T2" fmla="*/ 6 w 22"/>
                <a:gd name="T3" fmla="*/ 23 h 23"/>
                <a:gd name="T4" fmla="*/ 0 w 22"/>
                <a:gd name="T5" fmla="*/ 16 h 23"/>
                <a:gd name="T6" fmla="*/ 0 w 22"/>
                <a:gd name="T7" fmla="*/ 7 h 23"/>
                <a:gd name="T8" fmla="*/ 6 w 22"/>
                <a:gd name="T9" fmla="*/ 0 h 23"/>
                <a:gd name="T10" fmla="*/ 16 w 22"/>
                <a:gd name="T11" fmla="*/ 0 h 23"/>
                <a:gd name="T12" fmla="*/ 22 w 22"/>
                <a:gd name="T13" fmla="*/ 7 h 23"/>
                <a:gd name="T14" fmla="*/ 22 w 22"/>
                <a:gd name="T15" fmla="*/ 16 h 23"/>
                <a:gd name="T16" fmla="*/ 16 w 22"/>
                <a:gd name="T17" fmla="*/ 23 h 23"/>
                <a:gd name="T18" fmla="*/ 6 w 22"/>
                <a:gd name="T19" fmla="*/ 16 h 23"/>
                <a:gd name="T20" fmla="*/ 15 w 22"/>
                <a:gd name="T21" fmla="*/ 16 h 23"/>
                <a:gd name="T22" fmla="*/ 15 w 22"/>
                <a:gd name="T23" fmla="*/ 7 h 23"/>
                <a:gd name="T24" fmla="*/ 6 w 22"/>
                <a:gd name="T25" fmla="*/ 7 h 23"/>
                <a:gd name="T26" fmla="*/ 6 w 22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6" y="23"/>
                  </a:moveTo>
                  <a:cubicBezTo>
                    <a:pt x="6" y="23"/>
                    <a:pt x="6" y="23"/>
                    <a:pt x="6" y="23"/>
                  </a:cubicBezTo>
                  <a:cubicBezTo>
                    <a:pt x="2" y="23"/>
                    <a:pt x="0" y="20"/>
                    <a:pt x="0" y="1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9" y="0"/>
                    <a:pt x="22" y="3"/>
                    <a:pt x="22" y="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20"/>
                    <a:pt x="19" y="23"/>
                    <a:pt x="16" y="23"/>
                  </a:cubicBezTo>
                  <a:close/>
                  <a:moveTo>
                    <a:pt x="6" y="16"/>
                  </a:moveTo>
                  <a:cubicBezTo>
                    <a:pt x="15" y="16"/>
                    <a:pt x="15" y="16"/>
                    <a:pt x="15" y="1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1" name="Freeform 1468">
              <a:extLst>
                <a:ext uri="{FF2B5EF4-FFF2-40B4-BE49-F238E27FC236}">
                  <a16:creationId xmlns:a16="http://schemas.microsoft.com/office/drawing/2014/main" id="{85851FF9-95DB-4321-98CE-8ECEB76FB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3539" y="6014444"/>
              <a:ext cx="39202" cy="39202"/>
            </a:xfrm>
            <a:custGeom>
              <a:avLst/>
              <a:gdLst>
                <a:gd name="T0" fmla="*/ 16 w 22"/>
                <a:gd name="T1" fmla="*/ 22 h 22"/>
                <a:gd name="T2" fmla="*/ 6 w 22"/>
                <a:gd name="T3" fmla="*/ 22 h 22"/>
                <a:gd name="T4" fmla="*/ 0 w 22"/>
                <a:gd name="T5" fmla="*/ 16 h 22"/>
                <a:gd name="T6" fmla="*/ 0 w 22"/>
                <a:gd name="T7" fmla="*/ 6 h 22"/>
                <a:gd name="T8" fmla="*/ 6 w 22"/>
                <a:gd name="T9" fmla="*/ 0 h 22"/>
                <a:gd name="T10" fmla="*/ 16 w 22"/>
                <a:gd name="T11" fmla="*/ 0 h 22"/>
                <a:gd name="T12" fmla="*/ 22 w 22"/>
                <a:gd name="T13" fmla="*/ 6 h 22"/>
                <a:gd name="T14" fmla="*/ 22 w 22"/>
                <a:gd name="T15" fmla="*/ 16 h 22"/>
                <a:gd name="T16" fmla="*/ 16 w 22"/>
                <a:gd name="T17" fmla="*/ 22 h 22"/>
                <a:gd name="T18" fmla="*/ 7 w 22"/>
                <a:gd name="T19" fmla="*/ 15 h 22"/>
                <a:gd name="T20" fmla="*/ 15 w 22"/>
                <a:gd name="T21" fmla="*/ 15 h 22"/>
                <a:gd name="T22" fmla="*/ 15 w 22"/>
                <a:gd name="T23" fmla="*/ 6 h 22"/>
                <a:gd name="T24" fmla="*/ 7 w 22"/>
                <a:gd name="T25" fmla="*/ 6 h 22"/>
                <a:gd name="T26" fmla="*/ 7 w 22"/>
                <a:gd name="T27" fmla="*/ 1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2">
                  <a:moveTo>
                    <a:pt x="16" y="22"/>
                  </a:moveTo>
                  <a:cubicBezTo>
                    <a:pt x="6" y="22"/>
                    <a:pt x="6" y="22"/>
                    <a:pt x="6" y="22"/>
                  </a:cubicBezTo>
                  <a:cubicBezTo>
                    <a:pt x="3" y="22"/>
                    <a:pt x="0" y="19"/>
                    <a:pt x="0" y="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9" y="0"/>
                    <a:pt x="22" y="2"/>
                    <a:pt x="22" y="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9"/>
                    <a:pt x="19" y="22"/>
                    <a:pt x="16" y="22"/>
                  </a:cubicBezTo>
                  <a:close/>
                  <a:moveTo>
                    <a:pt x="7" y="15"/>
                  </a:moveTo>
                  <a:cubicBezTo>
                    <a:pt x="15" y="15"/>
                    <a:pt x="15" y="15"/>
                    <a:pt x="15" y="1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2" name="Freeform 1469">
              <a:extLst>
                <a:ext uri="{FF2B5EF4-FFF2-40B4-BE49-F238E27FC236}">
                  <a16:creationId xmlns:a16="http://schemas.microsoft.com/office/drawing/2014/main" id="{17DA6778-EF35-474A-A142-F8771EB7BD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9279" y="6014444"/>
              <a:ext cx="40467" cy="39202"/>
            </a:xfrm>
            <a:custGeom>
              <a:avLst/>
              <a:gdLst>
                <a:gd name="T0" fmla="*/ 16 w 22"/>
                <a:gd name="T1" fmla="*/ 22 h 22"/>
                <a:gd name="T2" fmla="*/ 6 w 22"/>
                <a:gd name="T3" fmla="*/ 22 h 22"/>
                <a:gd name="T4" fmla="*/ 0 w 22"/>
                <a:gd name="T5" fmla="*/ 16 h 22"/>
                <a:gd name="T6" fmla="*/ 0 w 22"/>
                <a:gd name="T7" fmla="*/ 6 h 22"/>
                <a:gd name="T8" fmla="*/ 6 w 22"/>
                <a:gd name="T9" fmla="*/ 0 h 22"/>
                <a:gd name="T10" fmla="*/ 16 w 22"/>
                <a:gd name="T11" fmla="*/ 0 h 22"/>
                <a:gd name="T12" fmla="*/ 22 w 22"/>
                <a:gd name="T13" fmla="*/ 6 h 22"/>
                <a:gd name="T14" fmla="*/ 22 w 22"/>
                <a:gd name="T15" fmla="*/ 16 h 22"/>
                <a:gd name="T16" fmla="*/ 16 w 22"/>
                <a:gd name="T17" fmla="*/ 22 h 22"/>
                <a:gd name="T18" fmla="*/ 7 w 22"/>
                <a:gd name="T19" fmla="*/ 15 h 22"/>
                <a:gd name="T20" fmla="*/ 16 w 22"/>
                <a:gd name="T21" fmla="*/ 15 h 22"/>
                <a:gd name="T22" fmla="*/ 16 w 22"/>
                <a:gd name="T23" fmla="*/ 6 h 22"/>
                <a:gd name="T24" fmla="*/ 7 w 22"/>
                <a:gd name="T25" fmla="*/ 6 h 22"/>
                <a:gd name="T26" fmla="*/ 7 w 22"/>
                <a:gd name="T27" fmla="*/ 1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2">
                  <a:moveTo>
                    <a:pt x="16" y="22"/>
                  </a:moveTo>
                  <a:cubicBezTo>
                    <a:pt x="6" y="22"/>
                    <a:pt x="6" y="22"/>
                    <a:pt x="6" y="22"/>
                  </a:cubicBezTo>
                  <a:cubicBezTo>
                    <a:pt x="3" y="22"/>
                    <a:pt x="0" y="19"/>
                    <a:pt x="0" y="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9" y="0"/>
                    <a:pt x="22" y="2"/>
                    <a:pt x="22" y="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9"/>
                    <a:pt x="19" y="22"/>
                    <a:pt x="16" y="22"/>
                  </a:cubicBezTo>
                  <a:close/>
                  <a:moveTo>
                    <a:pt x="7" y="15"/>
                  </a:moveTo>
                  <a:cubicBezTo>
                    <a:pt x="16" y="15"/>
                    <a:pt x="16" y="15"/>
                    <a:pt x="16" y="1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3" name="Freeform 1470">
              <a:extLst>
                <a:ext uri="{FF2B5EF4-FFF2-40B4-BE49-F238E27FC236}">
                  <a16:creationId xmlns:a16="http://schemas.microsoft.com/office/drawing/2014/main" id="{3FBCADEE-7652-4AA2-AACB-DA6164A60A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8267" y="5968919"/>
              <a:ext cx="41731" cy="41731"/>
            </a:xfrm>
            <a:custGeom>
              <a:avLst/>
              <a:gdLst>
                <a:gd name="T0" fmla="*/ 16 w 23"/>
                <a:gd name="T1" fmla="*/ 23 h 23"/>
                <a:gd name="T2" fmla="*/ 7 w 23"/>
                <a:gd name="T3" fmla="*/ 23 h 23"/>
                <a:gd name="T4" fmla="*/ 0 w 23"/>
                <a:gd name="T5" fmla="*/ 16 h 23"/>
                <a:gd name="T6" fmla="*/ 0 w 23"/>
                <a:gd name="T7" fmla="*/ 7 h 23"/>
                <a:gd name="T8" fmla="*/ 7 w 23"/>
                <a:gd name="T9" fmla="*/ 0 h 23"/>
                <a:gd name="T10" fmla="*/ 16 w 23"/>
                <a:gd name="T11" fmla="*/ 0 h 23"/>
                <a:gd name="T12" fmla="*/ 23 w 23"/>
                <a:gd name="T13" fmla="*/ 7 h 23"/>
                <a:gd name="T14" fmla="*/ 23 w 23"/>
                <a:gd name="T15" fmla="*/ 16 h 23"/>
                <a:gd name="T16" fmla="*/ 16 w 23"/>
                <a:gd name="T17" fmla="*/ 23 h 23"/>
                <a:gd name="T18" fmla="*/ 7 w 23"/>
                <a:gd name="T19" fmla="*/ 16 h 23"/>
                <a:gd name="T20" fmla="*/ 16 w 23"/>
                <a:gd name="T21" fmla="*/ 16 h 23"/>
                <a:gd name="T22" fmla="*/ 16 w 23"/>
                <a:gd name="T23" fmla="*/ 7 h 23"/>
                <a:gd name="T24" fmla="*/ 7 w 23"/>
                <a:gd name="T25" fmla="*/ 7 h 23"/>
                <a:gd name="T26" fmla="*/ 7 w 23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3">
                  <a:moveTo>
                    <a:pt x="16" y="23"/>
                  </a:moveTo>
                  <a:cubicBezTo>
                    <a:pt x="7" y="23"/>
                    <a:pt x="7" y="23"/>
                    <a:pt x="7" y="23"/>
                  </a:cubicBezTo>
                  <a:cubicBezTo>
                    <a:pt x="3" y="23"/>
                    <a:pt x="0" y="20"/>
                    <a:pt x="0" y="1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0"/>
                    <a:pt x="23" y="3"/>
                    <a:pt x="23" y="7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20"/>
                    <a:pt x="20" y="23"/>
                    <a:pt x="16" y="23"/>
                  </a:cubicBezTo>
                  <a:close/>
                  <a:moveTo>
                    <a:pt x="7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4" name="Freeform 1471">
              <a:extLst>
                <a:ext uri="{FF2B5EF4-FFF2-40B4-BE49-F238E27FC236}">
                  <a16:creationId xmlns:a16="http://schemas.microsoft.com/office/drawing/2014/main" id="{F9D78A59-8297-4183-B13B-81BA508165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9279" y="5968919"/>
              <a:ext cx="40467" cy="41731"/>
            </a:xfrm>
            <a:custGeom>
              <a:avLst/>
              <a:gdLst>
                <a:gd name="T0" fmla="*/ 16 w 22"/>
                <a:gd name="T1" fmla="*/ 23 h 23"/>
                <a:gd name="T2" fmla="*/ 6 w 22"/>
                <a:gd name="T3" fmla="*/ 23 h 23"/>
                <a:gd name="T4" fmla="*/ 0 w 22"/>
                <a:gd name="T5" fmla="*/ 16 h 23"/>
                <a:gd name="T6" fmla="*/ 0 w 22"/>
                <a:gd name="T7" fmla="*/ 7 h 23"/>
                <a:gd name="T8" fmla="*/ 6 w 22"/>
                <a:gd name="T9" fmla="*/ 0 h 23"/>
                <a:gd name="T10" fmla="*/ 16 w 22"/>
                <a:gd name="T11" fmla="*/ 0 h 23"/>
                <a:gd name="T12" fmla="*/ 22 w 22"/>
                <a:gd name="T13" fmla="*/ 7 h 23"/>
                <a:gd name="T14" fmla="*/ 22 w 22"/>
                <a:gd name="T15" fmla="*/ 16 h 23"/>
                <a:gd name="T16" fmla="*/ 16 w 22"/>
                <a:gd name="T17" fmla="*/ 23 h 23"/>
                <a:gd name="T18" fmla="*/ 7 w 22"/>
                <a:gd name="T19" fmla="*/ 16 h 23"/>
                <a:gd name="T20" fmla="*/ 16 w 22"/>
                <a:gd name="T21" fmla="*/ 16 h 23"/>
                <a:gd name="T22" fmla="*/ 16 w 22"/>
                <a:gd name="T23" fmla="*/ 7 h 23"/>
                <a:gd name="T24" fmla="*/ 7 w 22"/>
                <a:gd name="T25" fmla="*/ 7 h 23"/>
                <a:gd name="T26" fmla="*/ 7 w 22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6" y="23"/>
                  </a:moveTo>
                  <a:cubicBezTo>
                    <a:pt x="6" y="23"/>
                    <a:pt x="6" y="23"/>
                    <a:pt x="6" y="23"/>
                  </a:cubicBezTo>
                  <a:cubicBezTo>
                    <a:pt x="3" y="23"/>
                    <a:pt x="0" y="20"/>
                    <a:pt x="0" y="1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9" y="0"/>
                    <a:pt x="22" y="3"/>
                    <a:pt x="22" y="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20"/>
                    <a:pt x="19" y="23"/>
                    <a:pt x="16" y="23"/>
                  </a:cubicBezTo>
                  <a:close/>
                  <a:moveTo>
                    <a:pt x="7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8" name="Agrupar 1657">
            <a:extLst>
              <a:ext uri="{FF2B5EF4-FFF2-40B4-BE49-F238E27FC236}">
                <a16:creationId xmlns:a16="http://schemas.microsoft.com/office/drawing/2014/main" id="{2E34A53C-2BB6-476E-8E9D-C7DC9A52A6FA}"/>
              </a:ext>
            </a:extLst>
          </p:cNvPr>
          <p:cNvGrpSpPr/>
          <p:nvPr/>
        </p:nvGrpSpPr>
        <p:grpSpPr>
          <a:xfrm>
            <a:off x="5594236" y="2836541"/>
            <a:ext cx="166925" cy="264298"/>
            <a:chOff x="5594236" y="2836541"/>
            <a:chExt cx="166925" cy="264298"/>
          </a:xfrm>
        </p:grpSpPr>
        <p:sp>
          <p:nvSpPr>
            <p:cNvPr id="875" name="Freeform 1472">
              <a:extLst>
                <a:ext uri="{FF2B5EF4-FFF2-40B4-BE49-F238E27FC236}">
                  <a16:creationId xmlns:a16="http://schemas.microsoft.com/office/drawing/2014/main" id="{ABF25E47-3841-4759-BEC4-4EB6C396F0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4236" y="2836541"/>
              <a:ext cx="166925" cy="264298"/>
            </a:xfrm>
            <a:custGeom>
              <a:avLst/>
              <a:gdLst>
                <a:gd name="T0" fmla="*/ 79 w 92"/>
                <a:gd name="T1" fmla="*/ 19 h 146"/>
                <a:gd name="T2" fmla="*/ 74 w 92"/>
                <a:gd name="T3" fmla="*/ 19 h 146"/>
                <a:gd name="T4" fmla="*/ 74 w 92"/>
                <a:gd name="T5" fmla="*/ 13 h 146"/>
                <a:gd name="T6" fmla="*/ 61 w 92"/>
                <a:gd name="T7" fmla="*/ 0 h 146"/>
                <a:gd name="T8" fmla="*/ 31 w 92"/>
                <a:gd name="T9" fmla="*/ 0 h 146"/>
                <a:gd name="T10" fmla="*/ 18 w 92"/>
                <a:gd name="T11" fmla="*/ 13 h 146"/>
                <a:gd name="T12" fmla="*/ 18 w 92"/>
                <a:gd name="T13" fmla="*/ 19 h 146"/>
                <a:gd name="T14" fmla="*/ 13 w 92"/>
                <a:gd name="T15" fmla="*/ 19 h 146"/>
                <a:gd name="T16" fmla="*/ 0 w 92"/>
                <a:gd name="T17" fmla="*/ 32 h 146"/>
                <a:gd name="T18" fmla="*/ 0 w 92"/>
                <a:gd name="T19" fmla="*/ 127 h 146"/>
                <a:gd name="T20" fmla="*/ 13 w 92"/>
                <a:gd name="T21" fmla="*/ 139 h 146"/>
                <a:gd name="T22" fmla="*/ 16 w 92"/>
                <a:gd name="T23" fmla="*/ 139 h 146"/>
                <a:gd name="T24" fmla="*/ 16 w 92"/>
                <a:gd name="T25" fmla="*/ 143 h 146"/>
                <a:gd name="T26" fmla="*/ 19 w 92"/>
                <a:gd name="T27" fmla="*/ 146 h 146"/>
                <a:gd name="T28" fmla="*/ 22 w 92"/>
                <a:gd name="T29" fmla="*/ 143 h 146"/>
                <a:gd name="T30" fmla="*/ 22 w 92"/>
                <a:gd name="T31" fmla="*/ 139 h 146"/>
                <a:gd name="T32" fmla="*/ 71 w 92"/>
                <a:gd name="T33" fmla="*/ 139 h 146"/>
                <a:gd name="T34" fmla="*/ 71 w 92"/>
                <a:gd name="T35" fmla="*/ 143 h 146"/>
                <a:gd name="T36" fmla="*/ 74 w 92"/>
                <a:gd name="T37" fmla="*/ 146 h 146"/>
                <a:gd name="T38" fmla="*/ 76 w 92"/>
                <a:gd name="T39" fmla="*/ 143 h 146"/>
                <a:gd name="T40" fmla="*/ 76 w 92"/>
                <a:gd name="T41" fmla="*/ 139 h 146"/>
                <a:gd name="T42" fmla="*/ 79 w 92"/>
                <a:gd name="T43" fmla="*/ 139 h 146"/>
                <a:gd name="T44" fmla="*/ 92 w 92"/>
                <a:gd name="T45" fmla="*/ 127 h 146"/>
                <a:gd name="T46" fmla="*/ 92 w 92"/>
                <a:gd name="T47" fmla="*/ 32 h 146"/>
                <a:gd name="T48" fmla="*/ 79 w 92"/>
                <a:gd name="T49" fmla="*/ 19 h 146"/>
                <a:gd name="T50" fmla="*/ 23 w 92"/>
                <a:gd name="T51" fmla="*/ 13 h 146"/>
                <a:gd name="T52" fmla="*/ 31 w 92"/>
                <a:gd name="T53" fmla="*/ 6 h 146"/>
                <a:gd name="T54" fmla="*/ 61 w 92"/>
                <a:gd name="T55" fmla="*/ 6 h 146"/>
                <a:gd name="T56" fmla="*/ 69 w 92"/>
                <a:gd name="T57" fmla="*/ 13 h 146"/>
                <a:gd name="T58" fmla="*/ 69 w 92"/>
                <a:gd name="T59" fmla="*/ 19 h 146"/>
                <a:gd name="T60" fmla="*/ 23 w 92"/>
                <a:gd name="T61" fmla="*/ 19 h 146"/>
                <a:gd name="T62" fmla="*/ 23 w 92"/>
                <a:gd name="T63" fmla="*/ 13 h 146"/>
                <a:gd name="T64" fmla="*/ 86 w 92"/>
                <a:gd name="T65" fmla="*/ 127 h 146"/>
                <a:gd name="T66" fmla="*/ 79 w 92"/>
                <a:gd name="T67" fmla="*/ 134 h 146"/>
                <a:gd name="T68" fmla="*/ 13 w 92"/>
                <a:gd name="T69" fmla="*/ 134 h 146"/>
                <a:gd name="T70" fmla="*/ 6 w 92"/>
                <a:gd name="T71" fmla="*/ 127 h 146"/>
                <a:gd name="T72" fmla="*/ 6 w 92"/>
                <a:gd name="T73" fmla="*/ 32 h 146"/>
                <a:gd name="T74" fmla="*/ 13 w 92"/>
                <a:gd name="T75" fmla="*/ 24 h 146"/>
                <a:gd name="T76" fmla="*/ 21 w 92"/>
                <a:gd name="T77" fmla="*/ 24 h 146"/>
                <a:gd name="T78" fmla="*/ 71 w 92"/>
                <a:gd name="T79" fmla="*/ 24 h 146"/>
                <a:gd name="T80" fmla="*/ 79 w 92"/>
                <a:gd name="T81" fmla="*/ 24 h 146"/>
                <a:gd name="T82" fmla="*/ 86 w 92"/>
                <a:gd name="T83" fmla="*/ 32 h 146"/>
                <a:gd name="T84" fmla="*/ 86 w 92"/>
                <a:gd name="T85" fmla="*/ 12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146">
                  <a:moveTo>
                    <a:pt x="79" y="19"/>
                  </a:moveTo>
                  <a:cubicBezTo>
                    <a:pt x="74" y="19"/>
                    <a:pt x="74" y="19"/>
                    <a:pt x="74" y="19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6"/>
                    <a:pt x="68" y="0"/>
                    <a:pt x="6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4" y="0"/>
                    <a:pt x="18" y="6"/>
                    <a:pt x="18" y="13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6" y="19"/>
                    <a:pt x="0" y="25"/>
                    <a:pt x="0" y="32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4"/>
                    <a:pt x="6" y="139"/>
                    <a:pt x="13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3"/>
                    <a:pt x="16" y="143"/>
                    <a:pt x="16" y="143"/>
                  </a:cubicBezTo>
                  <a:cubicBezTo>
                    <a:pt x="16" y="145"/>
                    <a:pt x="17" y="146"/>
                    <a:pt x="19" y="146"/>
                  </a:cubicBezTo>
                  <a:cubicBezTo>
                    <a:pt x="21" y="146"/>
                    <a:pt x="22" y="145"/>
                    <a:pt x="22" y="143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5"/>
                    <a:pt x="72" y="146"/>
                    <a:pt x="74" y="146"/>
                  </a:cubicBezTo>
                  <a:cubicBezTo>
                    <a:pt x="75" y="146"/>
                    <a:pt x="76" y="145"/>
                    <a:pt x="76" y="143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79" y="139"/>
                    <a:pt x="79" y="139"/>
                    <a:pt x="79" y="139"/>
                  </a:cubicBezTo>
                  <a:cubicBezTo>
                    <a:pt x="86" y="139"/>
                    <a:pt x="92" y="134"/>
                    <a:pt x="92" y="127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25"/>
                    <a:pt x="86" y="19"/>
                    <a:pt x="79" y="19"/>
                  </a:cubicBezTo>
                  <a:moveTo>
                    <a:pt x="23" y="13"/>
                  </a:moveTo>
                  <a:cubicBezTo>
                    <a:pt x="23" y="9"/>
                    <a:pt x="27" y="6"/>
                    <a:pt x="3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5" y="6"/>
                    <a:pt x="69" y="9"/>
                    <a:pt x="69" y="13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23" y="19"/>
                    <a:pt x="23" y="19"/>
                    <a:pt x="23" y="19"/>
                  </a:cubicBezTo>
                  <a:lnTo>
                    <a:pt x="23" y="13"/>
                  </a:lnTo>
                  <a:close/>
                  <a:moveTo>
                    <a:pt x="86" y="127"/>
                  </a:moveTo>
                  <a:cubicBezTo>
                    <a:pt x="86" y="131"/>
                    <a:pt x="83" y="134"/>
                    <a:pt x="79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9" y="134"/>
                    <a:pt x="6" y="131"/>
                    <a:pt x="6" y="127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28"/>
                    <a:pt x="9" y="24"/>
                    <a:pt x="13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83" y="24"/>
                    <a:pt x="86" y="28"/>
                    <a:pt x="86" y="32"/>
                  </a:cubicBezTo>
                  <a:lnTo>
                    <a:pt x="86" y="12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6" name="Freeform 1473">
              <a:extLst>
                <a:ext uri="{FF2B5EF4-FFF2-40B4-BE49-F238E27FC236}">
                  <a16:creationId xmlns:a16="http://schemas.microsoft.com/office/drawing/2014/main" id="{976D0CB1-0F27-44E8-9FB1-C033A51F4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793" y="2895977"/>
              <a:ext cx="10117" cy="166925"/>
            </a:xfrm>
            <a:custGeom>
              <a:avLst/>
              <a:gdLst>
                <a:gd name="T0" fmla="*/ 2 w 5"/>
                <a:gd name="T1" fmla="*/ 0 h 92"/>
                <a:gd name="T2" fmla="*/ 0 w 5"/>
                <a:gd name="T3" fmla="*/ 3 h 92"/>
                <a:gd name="T4" fmla="*/ 0 w 5"/>
                <a:gd name="T5" fmla="*/ 89 h 92"/>
                <a:gd name="T6" fmla="*/ 2 w 5"/>
                <a:gd name="T7" fmla="*/ 92 h 92"/>
                <a:gd name="T8" fmla="*/ 5 w 5"/>
                <a:gd name="T9" fmla="*/ 89 h 92"/>
                <a:gd name="T10" fmla="*/ 5 w 5"/>
                <a:gd name="T11" fmla="*/ 3 h 92"/>
                <a:gd name="T12" fmla="*/ 2 w 5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2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4" y="92"/>
                    <a:pt x="5" y="91"/>
                    <a:pt x="5" y="89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2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7" name="Freeform 1474">
              <a:extLst>
                <a:ext uri="{FF2B5EF4-FFF2-40B4-BE49-F238E27FC236}">
                  <a16:creationId xmlns:a16="http://schemas.microsoft.com/office/drawing/2014/main" id="{99AF6320-7CA4-40D2-9821-144732EC4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349" y="2895977"/>
              <a:ext cx="10117" cy="166925"/>
            </a:xfrm>
            <a:custGeom>
              <a:avLst/>
              <a:gdLst>
                <a:gd name="T0" fmla="*/ 3 w 6"/>
                <a:gd name="T1" fmla="*/ 0 h 92"/>
                <a:gd name="T2" fmla="*/ 0 w 6"/>
                <a:gd name="T3" fmla="*/ 3 h 92"/>
                <a:gd name="T4" fmla="*/ 0 w 6"/>
                <a:gd name="T5" fmla="*/ 89 h 92"/>
                <a:gd name="T6" fmla="*/ 3 w 6"/>
                <a:gd name="T7" fmla="*/ 92 h 92"/>
                <a:gd name="T8" fmla="*/ 6 w 6"/>
                <a:gd name="T9" fmla="*/ 89 h 92"/>
                <a:gd name="T10" fmla="*/ 6 w 6"/>
                <a:gd name="T11" fmla="*/ 3 h 92"/>
                <a:gd name="T12" fmla="*/ 3 w 6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2">
                  <a:moveTo>
                    <a:pt x="3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1"/>
                    <a:pt x="1" y="92"/>
                    <a:pt x="3" y="92"/>
                  </a:cubicBezTo>
                  <a:cubicBezTo>
                    <a:pt x="4" y="92"/>
                    <a:pt x="6" y="91"/>
                    <a:pt x="6" y="89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8" name="Freeform 1475">
              <a:extLst>
                <a:ext uri="{FF2B5EF4-FFF2-40B4-BE49-F238E27FC236}">
                  <a16:creationId xmlns:a16="http://schemas.microsoft.com/office/drawing/2014/main" id="{6DFA03D5-1B6A-40C6-A1A9-D717AD1B9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3905" y="2895977"/>
              <a:ext cx="8852" cy="166925"/>
            </a:xfrm>
            <a:custGeom>
              <a:avLst/>
              <a:gdLst>
                <a:gd name="T0" fmla="*/ 2 w 5"/>
                <a:gd name="T1" fmla="*/ 0 h 92"/>
                <a:gd name="T2" fmla="*/ 0 w 5"/>
                <a:gd name="T3" fmla="*/ 3 h 92"/>
                <a:gd name="T4" fmla="*/ 0 w 5"/>
                <a:gd name="T5" fmla="*/ 89 h 92"/>
                <a:gd name="T6" fmla="*/ 2 w 5"/>
                <a:gd name="T7" fmla="*/ 92 h 92"/>
                <a:gd name="T8" fmla="*/ 5 w 5"/>
                <a:gd name="T9" fmla="*/ 89 h 92"/>
                <a:gd name="T10" fmla="*/ 5 w 5"/>
                <a:gd name="T11" fmla="*/ 3 h 92"/>
                <a:gd name="T12" fmla="*/ 2 w 5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2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4" y="92"/>
                    <a:pt x="5" y="91"/>
                    <a:pt x="5" y="89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2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9" name="Freeform 1476">
              <a:extLst>
                <a:ext uri="{FF2B5EF4-FFF2-40B4-BE49-F238E27FC236}">
                  <a16:creationId xmlns:a16="http://schemas.microsoft.com/office/drawing/2014/main" id="{640FA6E7-CBB1-4F89-B769-F36B61A72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197" y="2895977"/>
              <a:ext cx="8852" cy="166925"/>
            </a:xfrm>
            <a:custGeom>
              <a:avLst/>
              <a:gdLst>
                <a:gd name="T0" fmla="*/ 2 w 5"/>
                <a:gd name="T1" fmla="*/ 0 h 92"/>
                <a:gd name="T2" fmla="*/ 0 w 5"/>
                <a:gd name="T3" fmla="*/ 3 h 92"/>
                <a:gd name="T4" fmla="*/ 0 w 5"/>
                <a:gd name="T5" fmla="*/ 89 h 92"/>
                <a:gd name="T6" fmla="*/ 2 w 5"/>
                <a:gd name="T7" fmla="*/ 92 h 92"/>
                <a:gd name="T8" fmla="*/ 5 w 5"/>
                <a:gd name="T9" fmla="*/ 89 h 92"/>
                <a:gd name="T10" fmla="*/ 5 w 5"/>
                <a:gd name="T11" fmla="*/ 3 h 92"/>
                <a:gd name="T12" fmla="*/ 2 w 5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2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4" y="92"/>
                    <a:pt x="5" y="91"/>
                    <a:pt x="5" y="89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2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0" name="Freeform 1477">
              <a:extLst>
                <a:ext uri="{FF2B5EF4-FFF2-40B4-BE49-F238E27FC236}">
                  <a16:creationId xmlns:a16="http://schemas.microsoft.com/office/drawing/2014/main" id="{D920C24D-F03B-40E6-8B68-722E6B281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489" y="2895977"/>
              <a:ext cx="8852" cy="166925"/>
            </a:xfrm>
            <a:custGeom>
              <a:avLst/>
              <a:gdLst>
                <a:gd name="T0" fmla="*/ 3 w 5"/>
                <a:gd name="T1" fmla="*/ 0 h 92"/>
                <a:gd name="T2" fmla="*/ 0 w 5"/>
                <a:gd name="T3" fmla="*/ 3 h 92"/>
                <a:gd name="T4" fmla="*/ 0 w 5"/>
                <a:gd name="T5" fmla="*/ 89 h 92"/>
                <a:gd name="T6" fmla="*/ 3 w 5"/>
                <a:gd name="T7" fmla="*/ 92 h 92"/>
                <a:gd name="T8" fmla="*/ 5 w 5"/>
                <a:gd name="T9" fmla="*/ 89 h 92"/>
                <a:gd name="T10" fmla="*/ 5 w 5"/>
                <a:gd name="T11" fmla="*/ 3 h 92"/>
                <a:gd name="T12" fmla="*/ 3 w 5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2">
                  <a:moveTo>
                    <a:pt x="3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1"/>
                    <a:pt x="1" y="92"/>
                    <a:pt x="3" y="92"/>
                  </a:cubicBezTo>
                  <a:cubicBezTo>
                    <a:pt x="4" y="92"/>
                    <a:pt x="5" y="91"/>
                    <a:pt x="5" y="89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7" name="Agrupar 1656">
            <a:extLst>
              <a:ext uri="{FF2B5EF4-FFF2-40B4-BE49-F238E27FC236}">
                <a16:creationId xmlns:a16="http://schemas.microsoft.com/office/drawing/2014/main" id="{C33D450A-5B87-460E-A3B9-726BAE0A94F6}"/>
              </a:ext>
            </a:extLst>
          </p:cNvPr>
          <p:cNvGrpSpPr/>
          <p:nvPr/>
        </p:nvGrpSpPr>
        <p:grpSpPr>
          <a:xfrm>
            <a:off x="5874974" y="2787223"/>
            <a:ext cx="429959" cy="316146"/>
            <a:chOff x="5874974" y="2787223"/>
            <a:chExt cx="429959" cy="316146"/>
          </a:xfrm>
        </p:grpSpPr>
        <p:sp>
          <p:nvSpPr>
            <p:cNvPr id="881" name="Freeform 1478">
              <a:extLst>
                <a:ext uri="{FF2B5EF4-FFF2-40B4-BE49-F238E27FC236}">
                  <a16:creationId xmlns:a16="http://schemas.microsoft.com/office/drawing/2014/main" id="{272F66AB-333C-45AB-9D50-D5824D30D6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1316" y="2787223"/>
              <a:ext cx="199804" cy="316146"/>
            </a:xfrm>
            <a:custGeom>
              <a:avLst/>
              <a:gdLst>
                <a:gd name="T0" fmla="*/ 95 w 110"/>
                <a:gd name="T1" fmla="*/ 22 h 174"/>
                <a:gd name="T2" fmla="*/ 88 w 110"/>
                <a:gd name="T3" fmla="*/ 22 h 174"/>
                <a:gd name="T4" fmla="*/ 88 w 110"/>
                <a:gd name="T5" fmla="*/ 15 h 174"/>
                <a:gd name="T6" fmla="*/ 72 w 110"/>
                <a:gd name="T7" fmla="*/ 0 h 174"/>
                <a:gd name="T8" fmla="*/ 37 w 110"/>
                <a:gd name="T9" fmla="*/ 0 h 174"/>
                <a:gd name="T10" fmla="*/ 21 w 110"/>
                <a:gd name="T11" fmla="*/ 15 h 174"/>
                <a:gd name="T12" fmla="*/ 21 w 110"/>
                <a:gd name="T13" fmla="*/ 22 h 174"/>
                <a:gd name="T14" fmla="*/ 15 w 110"/>
                <a:gd name="T15" fmla="*/ 22 h 174"/>
                <a:gd name="T16" fmla="*/ 0 w 110"/>
                <a:gd name="T17" fmla="*/ 37 h 174"/>
                <a:gd name="T18" fmla="*/ 0 w 110"/>
                <a:gd name="T19" fmla="*/ 151 h 174"/>
                <a:gd name="T20" fmla="*/ 15 w 110"/>
                <a:gd name="T21" fmla="*/ 166 h 174"/>
                <a:gd name="T22" fmla="*/ 19 w 110"/>
                <a:gd name="T23" fmla="*/ 166 h 174"/>
                <a:gd name="T24" fmla="*/ 19 w 110"/>
                <a:gd name="T25" fmla="*/ 171 h 174"/>
                <a:gd name="T26" fmla="*/ 23 w 110"/>
                <a:gd name="T27" fmla="*/ 174 h 174"/>
                <a:gd name="T28" fmla="*/ 26 w 110"/>
                <a:gd name="T29" fmla="*/ 171 h 174"/>
                <a:gd name="T30" fmla="*/ 26 w 110"/>
                <a:gd name="T31" fmla="*/ 166 h 174"/>
                <a:gd name="T32" fmla="*/ 85 w 110"/>
                <a:gd name="T33" fmla="*/ 166 h 174"/>
                <a:gd name="T34" fmla="*/ 85 w 110"/>
                <a:gd name="T35" fmla="*/ 171 h 174"/>
                <a:gd name="T36" fmla="*/ 88 w 110"/>
                <a:gd name="T37" fmla="*/ 174 h 174"/>
                <a:gd name="T38" fmla="*/ 91 w 110"/>
                <a:gd name="T39" fmla="*/ 171 h 174"/>
                <a:gd name="T40" fmla="*/ 91 w 110"/>
                <a:gd name="T41" fmla="*/ 166 h 174"/>
                <a:gd name="T42" fmla="*/ 95 w 110"/>
                <a:gd name="T43" fmla="*/ 166 h 174"/>
                <a:gd name="T44" fmla="*/ 110 w 110"/>
                <a:gd name="T45" fmla="*/ 151 h 174"/>
                <a:gd name="T46" fmla="*/ 110 w 110"/>
                <a:gd name="T47" fmla="*/ 37 h 174"/>
                <a:gd name="T48" fmla="*/ 95 w 110"/>
                <a:gd name="T49" fmla="*/ 22 h 174"/>
                <a:gd name="T50" fmla="*/ 28 w 110"/>
                <a:gd name="T51" fmla="*/ 15 h 174"/>
                <a:gd name="T52" fmla="*/ 37 w 110"/>
                <a:gd name="T53" fmla="*/ 6 h 174"/>
                <a:gd name="T54" fmla="*/ 73 w 110"/>
                <a:gd name="T55" fmla="*/ 6 h 174"/>
                <a:gd name="T56" fmla="*/ 82 w 110"/>
                <a:gd name="T57" fmla="*/ 15 h 174"/>
                <a:gd name="T58" fmla="*/ 82 w 110"/>
                <a:gd name="T59" fmla="*/ 22 h 174"/>
                <a:gd name="T60" fmla="*/ 28 w 110"/>
                <a:gd name="T61" fmla="*/ 22 h 174"/>
                <a:gd name="T62" fmla="*/ 28 w 110"/>
                <a:gd name="T63" fmla="*/ 15 h 174"/>
                <a:gd name="T64" fmla="*/ 103 w 110"/>
                <a:gd name="T65" fmla="*/ 151 h 174"/>
                <a:gd name="T66" fmla="*/ 95 w 110"/>
                <a:gd name="T67" fmla="*/ 160 h 174"/>
                <a:gd name="T68" fmla="*/ 15 w 110"/>
                <a:gd name="T69" fmla="*/ 160 h 174"/>
                <a:gd name="T70" fmla="*/ 7 w 110"/>
                <a:gd name="T71" fmla="*/ 151 h 174"/>
                <a:gd name="T72" fmla="*/ 7 w 110"/>
                <a:gd name="T73" fmla="*/ 37 h 174"/>
                <a:gd name="T74" fmla="*/ 15 w 110"/>
                <a:gd name="T75" fmla="*/ 28 h 174"/>
                <a:gd name="T76" fmla="*/ 25 w 110"/>
                <a:gd name="T77" fmla="*/ 28 h 174"/>
                <a:gd name="T78" fmla="*/ 85 w 110"/>
                <a:gd name="T79" fmla="*/ 28 h 174"/>
                <a:gd name="T80" fmla="*/ 95 w 110"/>
                <a:gd name="T81" fmla="*/ 28 h 174"/>
                <a:gd name="T82" fmla="*/ 103 w 110"/>
                <a:gd name="T83" fmla="*/ 37 h 174"/>
                <a:gd name="T84" fmla="*/ 103 w 110"/>
                <a:gd name="T85" fmla="*/ 151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0" h="174">
                  <a:moveTo>
                    <a:pt x="95" y="22"/>
                  </a:moveTo>
                  <a:cubicBezTo>
                    <a:pt x="88" y="22"/>
                    <a:pt x="88" y="22"/>
                    <a:pt x="88" y="22"/>
                  </a:cubicBezTo>
                  <a:cubicBezTo>
                    <a:pt x="88" y="15"/>
                    <a:pt x="88" y="15"/>
                    <a:pt x="88" y="15"/>
                  </a:cubicBezTo>
                  <a:cubicBezTo>
                    <a:pt x="88" y="7"/>
                    <a:pt x="81" y="0"/>
                    <a:pt x="7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8" y="0"/>
                    <a:pt x="21" y="7"/>
                    <a:pt x="21" y="15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7" y="22"/>
                    <a:pt x="0" y="29"/>
                    <a:pt x="0" y="37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9"/>
                    <a:pt x="7" y="166"/>
                    <a:pt x="15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73"/>
                    <a:pt x="21" y="174"/>
                    <a:pt x="23" y="174"/>
                  </a:cubicBezTo>
                  <a:cubicBezTo>
                    <a:pt x="25" y="174"/>
                    <a:pt x="26" y="173"/>
                    <a:pt x="26" y="171"/>
                  </a:cubicBezTo>
                  <a:cubicBezTo>
                    <a:pt x="26" y="166"/>
                    <a:pt x="26" y="166"/>
                    <a:pt x="26" y="166"/>
                  </a:cubicBezTo>
                  <a:cubicBezTo>
                    <a:pt x="85" y="166"/>
                    <a:pt x="85" y="166"/>
                    <a:pt x="85" y="166"/>
                  </a:cubicBezTo>
                  <a:cubicBezTo>
                    <a:pt x="85" y="171"/>
                    <a:pt x="85" y="171"/>
                    <a:pt x="85" y="171"/>
                  </a:cubicBezTo>
                  <a:cubicBezTo>
                    <a:pt x="85" y="173"/>
                    <a:pt x="86" y="174"/>
                    <a:pt x="88" y="174"/>
                  </a:cubicBezTo>
                  <a:cubicBezTo>
                    <a:pt x="90" y="174"/>
                    <a:pt x="91" y="173"/>
                    <a:pt x="91" y="171"/>
                  </a:cubicBezTo>
                  <a:cubicBezTo>
                    <a:pt x="91" y="166"/>
                    <a:pt x="91" y="166"/>
                    <a:pt x="91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103" y="166"/>
                    <a:pt x="110" y="159"/>
                    <a:pt x="110" y="151"/>
                  </a:cubicBezTo>
                  <a:cubicBezTo>
                    <a:pt x="110" y="37"/>
                    <a:pt x="110" y="37"/>
                    <a:pt x="110" y="37"/>
                  </a:cubicBezTo>
                  <a:cubicBezTo>
                    <a:pt x="110" y="29"/>
                    <a:pt x="103" y="22"/>
                    <a:pt x="95" y="22"/>
                  </a:cubicBezTo>
                  <a:moveTo>
                    <a:pt x="28" y="15"/>
                  </a:moveTo>
                  <a:cubicBezTo>
                    <a:pt x="28" y="10"/>
                    <a:pt x="32" y="6"/>
                    <a:pt x="37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8" y="6"/>
                    <a:pt x="82" y="10"/>
                    <a:pt x="82" y="15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28" y="22"/>
                    <a:pt x="28" y="22"/>
                    <a:pt x="28" y="22"/>
                  </a:cubicBezTo>
                  <a:lnTo>
                    <a:pt x="28" y="15"/>
                  </a:lnTo>
                  <a:close/>
                  <a:moveTo>
                    <a:pt x="103" y="151"/>
                  </a:moveTo>
                  <a:cubicBezTo>
                    <a:pt x="103" y="156"/>
                    <a:pt x="100" y="160"/>
                    <a:pt x="95" y="160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10" y="160"/>
                    <a:pt x="7" y="156"/>
                    <a:pt x="7" y="151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2"/>
                    <a:pt x="10" y="28"/>
                    <a:pt x="15" y="28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100" y="28"/>
                    <a:pt x="103" y="32"/>
                    <a:pt x="103" y="37"/>
                  </a:cubicBezTo>
                  <a:lnTo>
                    <a:pt x="103" y="151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2" name="Freeform 1479">
              <a:extLst>
                <a:ext uri="{FF2B5EF4-FFF2-40B4-BE49-F238E27FC236}">
                  <a16:creationId xmlns:a16="http://schemas.microsoft.com/office/drawing/2014/main" id="{C36C63C4-940B-4124-B935-065792D90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4195" y="2858039"/>
              <a:ext cx="10117" cy="199804"/>
            </a:xfrm>
            <a:custGeom>
              <a:avLst/>
              <a:gdLst>
                <a:gd name="T0" fmla="*/ 3 w 6"/>
                <a:gd name="T1" fmla="*/ 0 h 110"/>
                <a:gd name="T2" fmla="*/ 0 w 6"/>
                <a:gd name="T3" fmla="*/ 3 h 110"/>
                <a:gd name="T4" fmla="*/ 0 w 6"/>
                <a:gd name="T5" fmla="*/ 107 h 110"/>
                <a:gd name="T6" fmla="*/ 3 w 6"/>
                <a:gd name="T7" fmla="*/ 110 h 110"/>
                <a:gd name="T8" fmla="*/ 6 w 6"/>
                <a:gd name="T9" fmla="*/ 107 h 110"/>
                <a:gd name="T10" fmla="*/ 6 w 6"/>
                <a:gd name="T11" fmla="*/ 3 h 110"/>
                <a:gd name="T12" fmla="*/ 3 w 6"/>
                <a:gd name="T1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10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1" y="110"/>
                    <a:pt x="3" y="110"/>
                  </a:cubicBezTo>
                  <a:cubicBezTo>
                    <a:pt x="5" y="110"/>
                    <a:pt x="6" y="109"/>
                    <a:pt x="6" y="107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3" name="Freeform 1480">
              <a:extLst>
                <a:ext uri="{FF2B5EF4-FFF2-40B4-BE49-F238E27FC236}">
                  <a16:creationId xmlns:a16="http://schemas.microsoft.com/office/drawing/2014/main" id="{B43227B0-F6D7-49FE-97E6-0C975BAE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4545" y="2858039"/>
              <a:ext cx="11381" cy="199804"/>
            </a:xfrm>
            <a:custGeom>
              <a:avLst/>
              <a:gdLst>
                <a:gd name="T0" fmla="*/ 3 w 6"/>
                <a:gd name="T1" fmla="*/ 0 h 110"/>
                <a:gd name="T2" fmla="*/ 0 w 6"/>
                <a:gd name="T3" fmla="*/ 3 h 110"/>
                <a:gd name="T4" fmla="*/ 0 w 6"/>
                <a:gd name="T5" fmla="*/ 107 h 110"/>
                <a:gd name="T6" fmla="*/ 3 w 6"/>
                <a:gd name="T7" fmla="*/ 110 h 110"/>
                <a:gd name="T8" fmla="*/ 6 w 6"/>
                <a:gd name="T9" fmla="*/ 107 h 110"/>
                <a:gd name="T10" fmla="*/ 6 w 6"/>
                <a:gd name="T11" fmla="*/ 3 h 110"/>
                <a:gd name="T12" fmla="*/ 3 w 6"/>
                <a:gd name="T1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10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1" y="110"/>
                    <a:pt x="3" y="110"/>
                  </a:cubicBezTo>
                  <a:cubicBezTo>
                    <a:pt x="5" y="110"/>
                    <a:pt x="6" y="109"/>
                    <a:pt x="6" y="107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4" name="Freeform 1481">
              <a:extLst>
                <a:ext uri="{FF2B5EF4-FFF2-40B4-BE49-F238E27FC236}">
                  <a16:creationId xmlns:a16="http://schemas.microsoft.com/office/drawing/2014/main" id="{44DB62A5-4606-4A70-8837-7E9D64EB8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6160" y="2858039"/>
              <a:ext cx="10117" cy="199804"/>
            </a:xfrm>
            <a:custGeom>
              <a:avLst/>
              <a:gdLst>
                <a:gd name="T0" fmla="*/ 3 w 6"/>
                <a:gd name="T1" fmla="*/ 0 h 110"/>
                <a:gd name="T2" fmla="*/ 0 w 6"/>
                <a:gd name="T3" fmla="*/ 3 h 110"/>
                <a:gd name="T4" fmla="*/ 0 w 6"/>
                <a:gd name="T5" fmla="*/ 107 h 110"/>
                <a:gd name="T6" fmla="*/ 3 w 6"/>
                <a:gd name="T7" fmla="*/ 110 h 110"/>
                <a:gd name="T8" fmla="*/ 6 w 6"/>
                <a:gd name="T9" fmla="*/ 107 h 110"/>
                <a:gd name="T10" fmla="*/ 6 w 6"/>
                <a:gd name="T11" fmla="*/ 3 h 110"/>
                <a:gd name="T12" fmla="*/ 3 w 6"/>
                <a:gd name="T1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10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1" y="110"/>
                    <a:pt x="3" y="110"/>
                  </a:cubicBezTo>
                  <a:cubicBezTo>
                    <a:pt x="5" y="110"/>
                    <a:pt x="6" y="109"/>
                    <a:pt x="6" y="107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5" name="Freeform 1482">
              <a:extLst>
                <a:ext uri="{FF2B5EF4-FFF2-40B4-BE49-F238E27FC236}">
                  <a16:creationId xmlns:a16="http://schemas.microsoft.com/office/drawing/2014/main" id="{D1B70608-C3F1-42A9-8ECA-7590C6426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6510" y="2858039"/>
              <a:ext cx="11381" cy="199804"/>
            </a:xfrm>
            <a:custGeom>
              <a:avLst/>
              <a:gdLst>
                <a:gd name="T0" fmla="*/ 3 w 6"/>
                <a:gd name="T1" fmla="*/ 0 h 110"/>
                <a:gd name="T2" fmla="*/ 0 w 6"/>
                <a:gd name="T3" fmla="*/ 3 h 110"/>
                <a:gd name="T4" fmla="*/ 0 w 6"/>
                <a:gd name="T5" fmla="*/ 107 h 110"/>
                <a:gd name="T6" fmla="*/ 3 w 6"/>
                <a:gd name="T7" fmla="*/ 110 h 110"/>
                <a:gd name="T8" fmla="*/ 6 w 6"/>
                <a:gd name="T9" fmla="*/ 107 h 110"/>
                <a:gd name="T10" fmla="*/ 6 w 6"/>
                <a:gd name="T11" fmla="*/ 3 h 110"/>
                <a:gd name="T12" fmla="*/ 3 w 6"/>
                <a:gd name="T1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10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1" y="110"/>
                    <a:pt x="3" y="110"/>
                  </a:cubicBezTo>
                  <a:cubicBezTo>
                    <a:pt x="5" y="110"/>
                    <a:pt x="6" y="109"/>
                    <a:pt x="6" y="107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6" name="Freeform 1483">
              <a:extLst>
                <a:ext uri="{FF2B5EF4-FFF2-40B4-BE49-F238E27FC236}">
                  <a16:creationId xmlns:a16="http://schemas.microsoft.com/office/drawing/2014/main" id="{E97910C6-FB41-479A-B7EF-323AE49A0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60" y="2858039"/>
              <a:ext cx="12646" cy="199804"/>
            </a:xfrm>
            <a:custGeom>
              <a:avLst/>
              <a:gdLst>
                <a:gd name="T0" fmla="*/ 3 w 7"/>
                <a:gd name="T1" fmla="*/ 0 h 110"/>
                <a:gd name="T2" fmla="*/ 0 w 7"/>
                <a:gd name="T3" fmla="*/ 3 h 110"/>
                <a:gd name="T4" fmla="*/ 0 w 7"/>
                <a:gd name="T5" fmla="*/ 107 h 110"/>
                <a:gd name="T6" fmla="*/ 3 w 7"/>
                <a:gd name="T7" fmla="*/ 110 h 110"/>
                <a:gd name="T8" fmla="*/ 7 w 7"/>
                <a:gd name="T9" fmla="*/ 107 h 110"/>
                <a:gd name="T10" fmla="*/ 7 w 7"/>
                <a:gd name="T11" fmla="*/ 3 h 110"/>
                <a:gd name="T12" fmla="*/ 3 w 7"/>
                <a:gd name="T1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10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1" y="110"/>
                    <a:pt x="3" y="110"/>
                  </a:cubicBezTo>
                  <a:cubicBezTo>
                    <a:pt x="5" y="110"/>
                    <a:pt x="7" y="109"/>
                    <a:pt x="7" y="10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5" y="0"/>
                    <a:pt x="3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7" name="Freeform 1484">
              <a:extLst>
                <a:ext uri="{FF2B5EF4-FFF2-40B4-BE49-F238E27FC236}">
                  <a16:creationId xmlns:a16="http://schemas.microsoft.com/office/drawing/2014/main" id="{F14E250D-E386-44B5-AC84-5B7A70F04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6062" y="2825160"/>
              <a:ext cx="118871" cy="278209"/>
            </a:xfrm>
            <a:custGeom>
              <a:avLst/>
              <a:gdLst>
                <a:gd name="T0" fmla="*/ 52 w 66"/>
                <a:gd name="T1" fmla="*/ 20 h 153"/>
                <a:gd name="T2" fmla="*/ 46 w 66"/>
                <a:gd name="T3" fmla="*/ 20 h 153"/>
                <a:gd name="T4" fmla="*/ 46 w 66"/>
                <a:gd name="T5" fmla="*/ 14 h 153"/>
                <a:gd name="T6" fmla="*/ 33 w 66"/>
                <a:gd name="T7" fmla="*/ 0 h 153"/>
                <a:gd name="T8" fmla="*/ 2 w 66"/>
                <a:gd name="T9" fmla="*/ 0 h 153"/>
                <a:gd name="T10" fmla="*/ 7 w 66"/>
                <a:gd name="T11" fmla="*/ 6 h 153"/>
                <a:gd name="T12" fmla="*/ 33 w 66"/>
                <a:gd name="T13" fmla="*/ 6 h 153"/>
                <a:gd name="T14" fmla="*/ 41 w 66"/>
                <a:gd name="T15" fmla="*/ 14 h 153"/>
                <a:gd name="T16" fmla="*/ 41 w 66"/>
                <a:gd name="T17" fmla="*/ 20 h 153"/>
                <a:gd name="T18" fmla="*/ 11 w 66"/>
                <a:gd name="T19" fmla="*/ 20 h 153"/>
                <a:gd name="T20" fmla="*/ 11 w 66"/>
                <a:gd name="T21" fmla="*/ 25 h 153"/>
                <a:gd name="T22" fmla="*/ 44 w 66"/>
                <a:gd name="T23" fmla="*/ 25 h 153"/>
                <a:gd name="T24" fmla="*/ 52 w 66"/>
                <a:gd name="T25" fmla="*/ 25 h 153"/>
                <a:gd name="T26" fmla="*/ 60 w 66"/>
                <a:gd name="T27" fmla="*/ 33 h 153"/>
                <a:gd name="T28" fmla="*/ 60 w 66"/>
                <a:gd name="T29" fmla="*/ 133 h 153"/>
                <a:gd name="T30" fmla="*/ 52 w 66"/>
                <a:gd name="T31" fmla="*/ 140 h 153"/>
                <a:gd name="T32" fmla="*/ 7 w 66"/>
                <a:gd name="T33" fmla="*/ 140 h 153"/>
                <a:gd name="T34" fmla="*/ 0 w 66"/>
                <a:gd name="T35" fmla="*/ 146 h 153"/>
                <a:gd name="T36" fmla="*/ 44 w 66"/>
                <a:gd name="T37" fmla="*/ 146 h 153"/>
                <a:gd name="T38" fmla="*/ 44 w 66"/>
                <a:gd name="T39" fmla="*/ 150 h 153"/>
                <a:gd name="T40" fmla="*/ 46 w 66"/>
                <a:gd name="T41" fmla="*/ 153 h 153"/>
                <a:gd name="T42" fmla="*/ 49 w 66"/>
                <a:gd name="T43" fmla="*/ 150 h 153"/>
                <a:gd name="T44" fmla="*/ 49 w 66"/>
                <a:gd name="T45" fmla="*/ 146 h 153"/>
                <a:gd name="T46" fmla="*/ 52 w 66"/>
                <a:gd name="T47" fmla="*/ 146 h 153"/>
                <a:gd name="T48" fmla="*/ 65 w 66"/>
                <a:gd name="T49" fmla="*/ 133 h 153"/>
                <a:gd name="T50" fmla="*/ 65 w 66"/>
                <a:gd name="T51" fmla="*/ 33 h 153"/>
                <a:gd name="T52" fmla="*/ 52 w 66"/>
                <a:gd name="T53" fmla="*/ 2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6" h="153">
                  <a:moveTo>
                    <a:pt x="52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6"/>
                    <a:pt x="40" y="0"/>
                    <a:pt x="3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5" y="3"/>
                    <a:pt x="7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8" y="6"/>
                    <a:pt x="41" y="9"/>
                    <a:pt x="41" y="14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7" y="25"/>
                    <a:pt x="60" y="29"/>
                    <a:pt x="60" y="33"/>
                  </a:cubicBezTo>
                  <a:cubicBezTo>
                    <a:pt x="60" y="133"/>
                    <a:pt x="60" y="133"/>
                    <a:pt x="60" y="133"/>
                  </a:cubicBezTo>
                  <a:cubicBezTo>
                    <a:pt x="60" y="137"/>
                    <a:pt x="57" y="140"/>
                    <a:pt x="52" y="140"/>
                  </a:cubicBezTo>
                  <a:cubicBezTo>
                    <a:pt x="7" y="140"/>
                    <a:pt x="7" y="140"/>
                    <a:pt x="7" y="140"/>
                  </a:cubicBezTo>
                  <a:cubicBezTo>
                    <a:pt x="5" y="143"/>
                    <a:pt x="0" y="146"/>
                    <a:pt x="0" y="146"/>
                  </a:cubicBezTo>
                  <a:cubicBezTo>
                    <a:pt x="44" y="146"/>
                    <a:pt x="44" y="146"/>
                    <a:pt x="44" y="146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44" y="152"/>
                    <a:pt x="45" y="153"/>
                    <a:pt x="46" y="153"/>
                  </a:cubicBezTo>
                  <a:cubicBezTo>
                    <a:pt x="48" y="153"/>
                    <a:pt x="49" y="152"/>
                    <a:pt x="49" y="150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2" y="146"/>
                    <a:pt x="52" y="146"/>
                    <a:pt x="52" y="146"/>
                  </a:cubicBezTo>
                  <a:cubicBezTo>
                    <a:pt x="59" y="146"/>
                    <a:pt x="65" y="140"/>
                    <a:pt x="65" y="1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6" y="26"/>
                    <a:pt x="59" y="20"/>
                    <a:pt x="52" y="2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8" name="Freeform 1485">
              <a:extLst>
                <a:ext uri="{FF2B5EF4-FFF2-40B4-BE49-F238E27FC236}">
                  <a16:creationId xmlns:a16="http://schemas.microsoft.com/office/drawing/2014/main" id="{4E02C51E-D295-4358-820F-81E49367B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2619" y="2889654"/>
              <a:ext cx="8852" cy="173248"/>
            </a:xfrm>
            <a:custGeom>
              <a:avLst/>
              <a:gdLst>
                <a:gd name="T0" fmla="*/ 3 w 5"/>
                <a:gd name="T1" fmla="*/ 96 h 96"/>
                <a:gd name="T2" fmla="*/ 5 w 5"/>
                <a:gd name="T3" fmla="*/ 93 h 96"/>
                <a:gd name="T4" fmla="*/ 5 w 5"/>
                <a:gd name="T5" fmla="*/ 3 h 96"/>
                <a:gd name="T6" fmla="*/ 3 w 5"/>
                <a:gd name="T7" fmla="*/ 0 h 96"/>
                <a:gd name="T8" fmla="*/ 0 w 5"/>
                <a:gd name="T9" fmla="*/ 3 h 96"/>
                <a:gd name="T10" fmla="*/ 0 w 5"/>
                <a:gd name="T11" fmla="*/ 93 h 96"/>
                <a:gd name="T12" fmla="*/ 3 w 5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6">
                  <a:moveTo>
                    <a:pt x="3" y="96"/>
                  </a:moveTo>
                  <a:cubicBezTo>
                    <a:pt x="4" y="96"/>
                    <a:pt x="5" y="95"/>
                    <a:pt x="5" y="9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5"/>
                    <a:pt x="1" y="96"/>
                    <a:pt x="3" y="9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9" name="Freeform 1486">
              <a:extLst>
                <a:ext uri="{FF2B5EF4-FFF2-40B4-BE49-F238E27FC236}">
                  <a16:creationId xmlns:a16="http://schemas.microsoft.com/office/drawing/2014/main" id="{0901294C-5BE2-4E34-B17F-C687913F7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439" y="2889654"/>
              <a:ext cx="8852" cy="173248"/>
            </a:xfrm>
            <a:custGeom>
              <a:avLst/>
              <a:gdLst>
                <a:gd name="T0" fmla="*/ 2 w 5"/>
                <a:gd name="T1" fmla="*/ 96 h 96"/>
                <a:gd name="T2" fmla="*/ 5 w 5"/>
                <a:gd name="T3" fmla="*/ 93 h 96"/>
                <a:gd name="T4" fmla="*/ 5 w 5"/>
                <a:gd name="T5" fmla="*/ 3 h 96"/>
                <a:gd name="T6" fmla="*/ 2 w 5"/>
                <a:gd name="T7" fmla="*/ 0 h 96"/>
                <a:gd name="T8" fmla="*/ 0 w 5"/>
                <a:gd name="T9" fmla="*/ 3 h 96"/>
                <a:gd name="T10" fmla="*/ 0 w 5"/>
                <a:gd name="T11" fmla="*/ 93 h 96"/>
                <a:gd name="T12" fmla="*/ 2 w 5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6">
                  <a:moveTo>
                    <a:pt x="2" y="96"/>
                  </a:moveTo>
                  <a:cubicBezTo>
                    <a:pt x="4" y="96"/>
                    <a:pt x="5" y="95"/>
                    <a:pt x="5" y="9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5"/>
                    <a:pt x="1" y="96"/>
                    <a:pt x="2" y="9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0" name="Freeform 1487">
              <a:extLst>
                <a:ext uri="{FF2B5EF4-FFF2-40B4-BE49-F238E27FC236}">
                  <a16:creationId xmlns:a16="http://schemas.microsoft.com/office/drawing/2014/main" id="{0A488DB8-684A-44F9-B47E-43BF95F72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6996" y="2889654"/>
              <a:ext cx="8852" cy="173248"/>
            </a:xfrm>
            <a:custGeom>
              <a:avLst/>
              <a:gdLst>
                <a:gd name="T0" fmla="*/ 3 w 5"/>
                <a:gd name="T1" fmla="*/ 96 h 96"/>
                <a:gd name="T2" fmla="*/ 5 w 5"/>
                <a:gd name="T3" fmla="*/ 93 h 96"/>
                <a:gd name="T4" fmla="*/ 5 w 5"/>
                <a:gd name="T5" fmla="*/ 3 h 96"/>
                <a:gd name="T6" fmla="*/ 3 w 5"/>
                <a:gd name="T7" fmla="*/ 0 h 96"/>
                <a:gd name="T8" fmla="*/ 0 w 5"/>
                <a:gd name="T9" fmla="*/ 3 h 96"/>
                <a:gd name="T10" fmla="*/ 0 w 5"/>
                <a:gd name="T11" fmla="*/ 93 h 96"/>
                <a:gd name="T12" fmla="*/ 3 w 5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6">
                  <a:moveTo>
                    <a:pt x="3" y="96"/>
                  </a:moveTo>
                  <a:cubicBezTo>
                    <a:pt x="4" y="96"/>
                    <a:pt x="5" y="95"/>
                    <a:pt x="5" y="9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5"/>
                    <a:pt x="1" y="96"/>
                    <a:pt x="3" y="9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1" name="Freeform 1488">
              <a:extLst>
                <a:ext uri="{FF2B5EF4-FFF2-40B4-BE49-F238E27FC236}">
                  <a16:creationId xmlns:a16="http://schemas.microsoft.com/office/drawing/2014/main" id="{6C620DF3-9906-4DC3-8691-8B22775AB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4974" y="2825160"/>
              <a:ext cx="120136" cy="278209"/>
            </a:xfrm>
            <a:custGeom>
              <a:avLst/>
              <a:gdLst>
                <a:gd name="T0" fmla="*/ 14 w 66"/>
                <a:gd name="T1" fmla="*/ 20 h 153"/>
                <a:gd name="T2" fmla="*/ 19 w 66"/>
                <a:gd name="T3" fmla="*/ 20 h 153"/>
                <a:gd name="T4" fmla="*/ 19 w 66"/>
                <a:gd name="T5" fmla="*/ 14 h 153"/>
                <a:gd name="T6" fmla="*/ 33 w 66"/>
                <a:gd name="T7" fmla="*/ 0 h 153"/>
                <a:gd name="T8" fmla="*/ 64 w 66"/>
                <a:gd name="T9" fmla="*/ 0 h 153"/>
                <a:gd name="T10" fmla="*/ 58 w 66"/>
                <a:gd name="T11" fmla="*/ 6 h 153"/>
                <a:gd name="T12" fmla="*/ 33 w 66"/>
                <a:gd name="T13" fmla="*/ 6 h 153"/>
                <a:gd name="T14" fmla="*/ 24 w 66"/>
                <a:gd name="T15" fmla="*/ 14 h 153"/>
                <a:gd name="T16" fmla="*/ 24 w 66"/>
                <a:gd name="T17" fmla="*/ 20 h 153"/>
                <a:gd name="T18" fmla="*/ 54 w 66"/>
                <a:gd name="T19" fmla="*/ 20 h 153"/>
                <a:gd name="T20" fmla="*/ 54 w 66"/>
                <a:gd name="T21" fmla="*/ 25 h 153"/>
                <a:gd name="T22" fmla="*/ 22 w 66"/>
                <a:gd name="T23" fmla="*/ 25 h 153"/>
                <a:gd name="T24" fmla="*/ 13 w 66"/>
                <a:gd name="T25" fmla="*/ 25 h 153"/>
                <a:gd name="T26" fmla="*/ 6 w 66"/>
                <a:gd name="T27" fmla="*/ 33 h 153"/>
                <a:gd name="T28" fmla="*/ 6 w 66"/>
                <a:gd name="T29" fmla="*/ 133 h 153"/>
                <a:gd name="T30" fmla="*/ 13 w 66"/>
                <a:gd name="T31" fmla="*/ 140 h 153"/>
                <a:gd name="T32" fmla="*/ 58 w 66"/>
                <a:gd name="T33" fmla="*/ 140 h 153"/>
                <a:gd name="T34" fmla="*/ 66 w 66"/>
                <a:gd name="T35" fmla="*/ 146 h 153"/>
                <a:gd name="T36" fmla="*/ 22 w 66"/>
                <a:gd name="T37" fmla="*/ 146 h 153"/>
                <a:gd name="T38" fmla="*/ 22 w 66"/>
                <a:gd name="T39" fmla="*/ 150 h 153"/>
                <a:gd name="T40" fmla="*/ 19 w 66"/>
                <a:gd name="T41" fmla="*/ 153 h 153"/>
                <a:gd name="T42" fmla="*/ 16 w 66"/>
                <a:gd name="T43" fmla="*/ 150 h 153"/>
                <a:gd name="T44" fmla="*/ 16 w 66"/>
                <a:gd name="T45" fmla="*/ 146 h 153"/>
                <a:gd name="T46" fmla="*/ 14 w 66"/>
                <a:gd name="T47" fmla="*/ 146 h 153"/>
                <a:gd name="T48" fmla="*/ 0 w 66"/>
                <a:gd name="T49" fmla="*/ 133 h 153"/>
                <a:gd name="T50" fmla="*/ 0 w 66"/>
                <a:gd name="T51" fmla="*/ 33 h 153"/>
                <a:gd name="T52" fmla="*/ 14 w 66"/>
                <a:gd name="T53" fmla="*/ 2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6" h="153">
                  <a:moveTo>
                    <a:pt x="14" y="20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6"/>
                    <a:pt x="25" y="0"/>
                    <a:pt x="33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6" y="0"/>
                    <a:pt x="61" y="3"/>
                    <a:pt x="58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28" y="6"/>
                    <a:pt x="24" y="9"/>
                    <a:pt x="24" y="14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9" y="25"/>
                    <a:pt x="6" y="29"/>
                    <a:pt x="6" y="33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6" y="137"/>
                    <a:pt x="9" y="140"/>
                    <a:pt x="13" y="140"/>
                  </a:cubicBezTo>
                  <a:cubicBezTo>
                    <a:pt x="58" y="140"/>
                    <a:pt x="58" y="140"/>
                    <a:pt x="58" y="140"/>
                  </a:cubicBezTo>
                  <a:cubicBezTo>
                    <a:pt x="61" y="143"/>
                    <a:pt x="66" y="146"/>
                    <a:pt x="66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50"/>
                    <a:pt x="22" y="150"/>
                    <a:pt x="22" y="150"/>
                  </a:cubicBezTo>
                  <a:cubicBezTo>
                    <a:pt x="22" y="152"/>
                    <a:pt x="21" y="153"/>
                    <a:pt x="19" y="153"/>
                  </a:cubicBezTo>
                  <a:cubicBezTo>
                    <a:pt x="17" y="153"/>
                    <a:pt x="16" y="152"/>
                    <a:pt x="16" y="150"/>
                  </a:cubicBezTo>
                  <a:cubicBezTo>
                    <a:pt x="16" y="146"/>
                    <a:pt x="16" y="146"/>
                    <a:pt x="16" y="146"/>
                  </a:cubicBezTo>
                  <a:cubicBezTo>
                    <a:pt x="14" y="146"/>
                    <a:pt x="14" y="146"/>
                    <a:pt x="14" y="146"/>
                  </a:cubicBezTo>
                  <a:cubicBezTo>
                    <a:pt x="6" y="146"/>
                    <a:pt x="0" y="140"/>
                    <a:pt x="0" y="1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26"/>
                    <a:pt x="6" y="20"/>
                    <a:pt x="14" y="2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2" name="Freeform 1489">
              <a:extLst>
                <a:ext uri="{FF2B5EF4-FFF2-40B4-BE49-F238E27FC236}">
                  <a16:creationId xmlns:a16="http://schemas.microsoft.com/office/drawing/2014/main" id="{CD4AC109-C653-40A0-A2BB-E4A3C9927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172" y="2889654"/>
              <a:ext cx="10117" cy="173248"/>
            </a:xfrm>
            <a:custGeom>
              <a:avLst/>
              <a:gdLst>
                <a:gd name="T0" fmla="*/ 3 w 6"/>
                <a:gd name="T1" fmla="*/ 96 h 96"/>
                <a:gd name="T2" fmla="*/ 0 w 6"/>
                <a:gd name="T3" fmla="*/ 93 h 96"/>
                <a:gd name="T4" fmla="*/ 0 w 6"/>
                <a:gd name="T5" fmla="*/ 3 h 96"/>
                <a:gd name="T6" fmla="*/ 3 w 6"/>
                <a:gd name="T7" fmla="*/ 0 h 96"/>
                <a:gd name="T8" fmla="*/ 6 w 6"/>
                <a:gd name="T9" fmla="*/ 3 h 96"/>
                <a:gd name="T10" fmla="*/ 6 w 6"/>
                <a:gd name="T11" fmla="*/ 93 h 96"/>
                <a:gd name="T12" fmla="*/ 3 w 6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6">
                  <a:moveTo>
                    <a:pt x="3" y="96"/>
                  </a:moveTo>
                  <a:cubicBezTo>
                    <a:pt x="1" y="96"/>
                    <a:pt x="0" y="95"/>
                    <a:pt x="0" y="9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6" y="95"/>
                    <a:pt x="5" y="96"/>
                    <a:pt x="3" y="9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3" name="Freeform 1490">
              <a:extLst>
                <a:ext uri="{FF2B5EF4-FFF2-40B4-BE49-F238E27FC236}">
                  <a16:creationId xmlns:a16="http://schemas.microsoft.com/office/drawing/2014/main" id="{DFE6EE1E-5C10-4774-89EF-EB8DB2474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51" y="2889654"/>
              <a:ext cx="11381" cy="173248"/>
            </a:xfrm>
            <a:custGeom>
              <a:avLst/>
              <a:gdLst>
                <a:gd name="T0" fmla="*/ 3 w 6"/>
                <a:gd name="T1" fmla="*/ 96 h 96"/>
                <a:gd name="T2" fmla="*/ 0 w 6"/>
                <a:gd name="T3" fmla="*/ 93 h 96"/>
                <a:gd name="T4" fmla="*/ 0 w 6"/>
                <a:gd name="T5" fmla="*/ 3 h 96"/>
                <a:gd name="T6" fmla="*/ 3 w 6"/>
                <a:gd name="T7" fmla="*/ 0 h 96"/>
                <a:gd name="T8" fmla="*/ 6 w 6"/>
                <a:gd name="T9" fmla="*/ 3 h 96"/>
                <a:gd name="T10" fmla="*/ 6 w 6"/>
                <a:gd name="T11" fmla="*/ 93 h 96"/>
                <a:gd name="T12" fmla="*/ 3 w 6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6">
                  <a:moveTo>
                    <a:pt x="3" y="96"/>
                  </a:moveTo>
                  <a:cubicBezTo>
                    <a:pt x="1" y="96"/>
                    <a:pt x="0" y="95"/>
                    <a:pt x="0" y="9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6" y="95"/>
                    <a:pt x="5" y="96"/>
                    <a:pt x="3" y="9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4" name="Freeform 1491">
              <a:extLst>
                <a:ext uri="{FF2B5EF4-FFF2-40B4-BE49-F238E27FC236}">
                  <a16:creationId xmlns:a16="http://schemas.microsoft.com/office/drawing/2014/main" id="{4718A95B-5359-497F-B48B-91EA94B48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795" y="2889654"/>
              <a:ext cx="10117" cy="173248"/>
            </a:xfrm>
            <a:custGeom>
              <a:avLst/>
              <a:gdLst>
                <a:gd name="T0" fmla="*/ 3 w 6"/>
                <a:gd name="T1" fmla="*/ 96 h 96"/>
                <a:gd name="T2" fmla="*/ 0 w 6"/>
                <a:gd name="T3" fmla="*/ 93 h 96"/>
                <a:gd name="T4" fmla="*/ 0 w 6"/>
                <a:gd name="T5" fmla="*/ 3 h 96"/>
                <a:gd name="T6" fmla="*/ 3 w 6"/>
                <a:gd name="T7" fmla="*/ 0 h 96"/>
                <a:gd name="T8" fmla="*/ 6 w 6"/>
                <a:gd name="T9" fmla="*/ 3 h 96"/>
                <a:gd name="T10" fmla="*/ 6 w 6"/>
                <a:gd name="T11" fmla="*/ 93 h 96"/>
                <a:gd name="T12" fmla="*/ 3 w 6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6">
                  <a:moveTo>
                    <a:pt x="3" y="96"/>
                  </a:moveTo>
                  <a:cubicBezTo>
                    <a:pt x="1" y="96"/>
                    <a:pt x="0" y="95"/>
                    <a:pt x="0" y="9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6" y="95"/>
                    <a:pt x="5" y="96"/>
                    <a:pt x="3" y="9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2" name="Agrupar 1651">
            <a:extLst>
              <a:ext uri="{FF2B5EF4-FFF2-40B4-BE49-F238E27FC236}">
                <a16:creationId xmlns:a16="http://schemas.microsoft.com/office/drawing/2014/main" id="{0495C792-CB12-41FA-B267-CB8AE35EE95B}"/>
              </a:ext>
            </a:extLst>
          </p:cNvPr>
          <p:cNvGrpSpPr/>
          <p:nvPr/>
        </p:nvGrpSpPr>
        <p:grpSpPr>
          <a:xfrm>
            <a:off x="6375750" y="2355999"/>
            <a:ext cx="297178" cy="209921"/>
            <a:chOff x="6375750" y="2355999"/>
            <a:chExt cx="297178" cy="209921"/>
          </a:xfrm>
        </p:grpSpPr>
        <p:sp>
          <p:nvSpPr>
            <p:cNvPr id="895" name="Freeform 1492">
              <a:extLst>
                <a:ext uri="{FF2B5EF4-FFF2-40B4-BE49-F238E27FC236}">
                  <a16:creationId xmlns:a16="http://schemas.microsoft.com/office/drawing/2014/main" id="{A1D31C6F-2865-4E37-86AC-718F4CC2F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5750" y="2355999"/>
              <a:ext cx="297178" cy="209921"/>
            </a:xfrm>
            <a:custGeom>
              <a:avLst/>
              <a:gdLst>
                <a:gd name="T0" fmla="*/ 154 w 164"/>
                <a:gd name="T1" fmla="*/ 23 h 116"/>
                <a:gd name="T2" fmla="*/ 152 w 164"/>
                <a:gd name="T3" fmla="*/ 12 h 116"/>
                <a:gd name="T4" fmla="*/ 137 w 164"/>
                <a:gd name="T5" fmla="*/ 0 h 116"/>
                <a:gd name="T6" fmla="*/ 133 w 164"/>
                <a:gd name="T7" fmla="*/ 1 h 116"/>
                <a:gd name="T8" fmla="*/ 14 w 164"/>
                <a:gd name="T9" fmla="*/ 22 h 116"/>
                <a:gd name="T10" fmla="*/ 0 w 164"/>
                <a:gd name="T11" fmla="*/ 37 h 116"/>
                <a:gd name="T12" fmla="*/ 0 w 164"/>
                <a:gd name="T13" fmla="*/ 37 h 116"/>
                <a:gd name="T14" fmla="*/ 0 w 164"/>
                <a:gd name="T15" fmla="*/ 100 h 116"/>
                <a:gd name="T16" fmla="*/ 17 w 164"/>
                <a:gd name="T17" fmla="*/ 116 h 116"/>
                <a:gd name="T18" fmla="*/ 147 w 164"/>
                <a:gd name="T19" fmla="*/ 116 h 116"/>
                <a:gd name="T20" fmla="*/ 164 w 164"/>
                <a:gd name="T21" fmla="*/ 100 h 116"/>
                <a:gd name="T22" fmla="*/ 164 w 164"/>
                <a:gd name="T23" fmla="*/ 37 h 116"/>
                <a:gd name="T24" fmla="*/ 154 w 164"/>
                <a:gd name="T25" fmla="*/ 23 h 116"/>
                <a:gd name="T26" fmla="*/ 134 w 164"/>
                <a:gd name="T27" fmla="*/ 6 h 116"/>
                <a:gd name="T28" fmla="*/ 137 w 164"/>
                <a:gd name="T29" fmla="*/ 5 h 116"/>
                <a:gd name="T30" fmla="*/ 147 w 164"/>
                <a:gd name="T31" fmla="*/ 13 h 116"/>
                <a:gd name="T32" fmla="*/ 149 w 164"/>
                <a:gd name="T33" fmla="*/ 22 h 116"/>
                <a:gd name="T34" fmla="*/ 147 w 164"/>
                <a:gd name="T35" fmla="*/ 22 h 116"/>
                <a:gd name="T36" fmla="*/ 44 w 164"/>
                <a:gd name="T37" fmla="*/ 22 h 116"/>
                <a:gd name="T38" fmla="*/ 134 w 164"/>
                <a:gd name="T39" fmla="*/ 6 h 116"/>
                <a:gd name="T40" fmla="*/ 159 w 164"/>
                <a:gd name="T41" fmla="*/ 100 h 116"/>
                <a:gd name="T42" fmla="*/ 147 w 164"/>
                <a:gd name="T43" fmla="*/ 111 h 116"/>
                <a:gd name="T44" fmla="*/ 51 w 164"/>
                <a:gd name="T45" fmla="*/ 111 h 116"/>
                <a:gd name="T46" fmla="*/ 51 w 164"/>
                <a:gd name="T47" fmla="*/ 103 h 116"/>
                <a:gd name="T48" fmla="*/ 46 w 164"/>
                <a:gd name="T49" fmla="*/ 103 h 116"/>
                <a:gd name="T50" fmla="*/ 46 w 164"/>
                <a:gd name="T51" fmla="*/ 111 h 116"/>
                <a:gd name="T52" fmla="*/ 17 w 164"/>
                <a:gd name="T53" fmla="*/ 111 h 116"/>
                <a:gd name="T54" fmla="*/ 5 w 164"/>
                <a:gd name="T55" fmla="*/ 100 h 116"/>
                <a:gd name="T56" fmla="*/ 5 w 164"/>
                <a:gd name="T57" fmla="*/ 37 h 116"/>
                <a:gd name="T58" fmla="*/ 17 w 164"/>
                <a:gd name="T59" fmla="*/ 27 h 116"/>
                <a:gd name="T60" fmla="*/ 46 w 164"/>
                <a:gd name="T61" fmla="*/ 27 h 116"/>
                <a:gd name="T62" fmla="*/ 46 w 164"/>
                <a:gd name="T63" fmla="*/ 30 h 116"/>
                <a:gd name="T64" fmla="*/ 51 w 164"/>
                <a:gd name="T65" fmla="*/ 30 h 116"/>
                <a:gd name="T66" fmla="*/ 51 w 164"/>
                <a:gd name="T67" fmla="*/ 27 h 116"/>
                <a:gd name="T68" fmla="*/ 147 w 164"/>
                <a:gd name="T69" fmla="*/ 27 h 116"/>
                <a:gd name="T70" fmla="*/ 159 w 164"/>
                <a:gd name="T71" fmla="*/ 37 h 116"/>
                <a:gd name="T72" fmla="*/ 159 w 164"/>
                <a:gd name="T73" fmla="*/ 10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116">
                  <a:moveTo>
                    <a:pt x="154" y="23"/>
                  </a:moveTo>
                  <a:cubicBezTo>
                    <a:pt x="152" y="12"/>
                    <a:pt x="152" y="12"/>
                    <a:pt x="152" y="12"/>
                  </a:cubicBezTo>
                  <a:cubicBezTo>
                    <a:pt x="151" y="5"/>
                    <a:pt x="145" y="0"/>
                    <a:pt x="137" y="0"/>
                  </a:cubicBezTo>
                  <a:cubicBezTo>
                    <a:pt x="136" y="0"/>
                    <a:pt x="135" y="0"/>
                    <a:pt x="133" y="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5" y="23"/>
                    <a:pt x="0" y="30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9"/>
                    <a:pt x="8" y="116"/>
                    <a:pt x="1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56" y="116"/>
                    <a:pt x="164" y="109"/>
                    <a:pt x="164" y="100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31"/>
                    <a:pt x="160" y="26"/>
                    <a:pt x="154" y="23"/>
                  </a:cubicBezTo>
                  <a:moveTo>
                    <a:pt x="134" y="6"/>
                  </a:moveTo>
                  <a:cubicBezTo>
                    <a:pt x="135" y="6"/>
                    <a:pt x="136" y="5"/>
                    <a:pt x="137" y="5"/>
                  </a:cubicBezTo>
                  <a:cubicBezTo>
                    <a:pt x="142" y="5"/>
                    <a:pt x="147" y="9"/>
                    <a:pt x="147" y="13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48" y="22"/>
                    <a:pt x="147" y="22"/>
                    <a:pt x="147" y="22"/>
                  </a:cubicBezTo>
                  <a:cubicBezTo>
                    <a:pt x="44" y="22"/>
                    <a:pt x="44" y="22"/>
                    <a:pt x="44" y="22"/>
                  </a:cubicBezTo>
                  <a:lnTo>
                    <a:pt x="134" y="6"/>
                  </a:lnTo>
                  <a:close/>
                  <a:moveTo>
                    <a:pt x="159" y="100"/>
                  </a:moveTo>
                  <a:cubicBezTo>
                    <a:pt x="159" y="106"/>
                    <a:pt x="154" y="111"/>
                    <a:pt x="147" y="111"/>
                  </a:cubicBezTo>
                  <a:cubicBezTo>
                    <a:pt x="51" y="111"/>
                    <a:pt x="51" y="111"/>
                    <a:pt x="51" y="111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17" y="111"/>
                    <a:pt x="17" y="111"/>
                    <a:pt x="17" y="111"/>
                  </a:cubicBezTo>
                  <a:cubicBezTo>
                    <a:pt x="10" y="111"/>
                    <a:pt x="5" y="106"/>
                    <a:pt x="5" y="100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2"/>
                    <a:pt x="10" y="27"/>
                    <a:pt x="1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147" y="27"/>
                    <a:pt x="147" y="27"/>
                    <a:pt x="147" y="27"/>
                  </a:cubicBezTo>
                  <a:cubicBezTo>
                    <a:pt x="154" y="27"/>
                    <a:pt x="159" y="32"/>
                    <a:pt x="159" y="37"/>
                  </a:cubicBezTo>
                  <a:lnTo>
                    <a:pt x="159" y="10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6" name="Rectangle 1493">
              <a:extLst>
                <a:ext uri="{FF2B5EF4-FFF2-40B4-BE49-F238E27FC236}">
                  <a16:creationId xmlns:a16="http://schemas.microsoft.com/office/drawing/2014/main" id="{96A162D0-4BBB-4656-A315-898AFB372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9213" y="2505220"/>
              <a:ext cx="8852" cy="18969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7" name="Rectangle 1494">
              <a:extLst>
                <a:ext uri="{FF2B5EF4-FFF2-40B4-BE49-F238E27FC236}">
                  <a16:creationId xmlns:a16="http://schemas.microsoft.com/office/drawing/2014/main" id="{7AD20C34-4704-4088-BD3C-E9530DDB1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9213" y="2466018"/>
              <a:ext cx="8852" cy="2023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8" name="Rectangle 1495">
              <a:extLst>
                <a:ext uri="{FF2B5EF4-FFF2-40B4-BE49-F238E27FC236}">
                  <a16:creationId xmlns:a16="http://schemas.microsoft.com/office/drawing/2014/main" id="{EC90E25C-829F-4293-B20F-E0F378F48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9213" y="2430610"/>
              <a:ext cx="8852" cy="177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9" name="Freeform 1496">
              <a:extLst>
                <a:ext uri="{FF2B5EF4-FFF2-40B4-BE49-F238E27FC236}">
                  <a16:creationId xmlns:a16="http://schemas.microsoft.com/office/drawing/2014/main" id="{6F4FD9B5-ED54-46C7-80BF-567F0FEE3D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8765" y="2438197"/>
              <a:ext cx="92315" cy="92315"/>
            </a:xfrm>
            <a:custGeom>
              <a:avLst/>
              <a:gdLst>
                <a:gd name="T0" fmla="*/ 48 w 51"/>
                <a:gd name="T1" fmla="*/ 3 h 51"/>
                <a:gd name="T2" fmla="*/ 43 w 51"/>
                <a:gd name="T3" fmla="*/ 0 h 51"/>
                <a:gd name="T4" fmla="*/ 37 w 51"/>
                <a:gd name="T5" fmla="*/ 3 h 51"/>
                <a:gd name="T6" fmla="*/ 30 w 51"/>
                <a:gd name="T7" fmla="*/ 10 h 51"/>
                <a:gd name="T8" fmla="*/ 6 w 51"/>
                <a:gd name="T9" fmla="*/ 3 h 51"/>
                <a:gd name="T10" fmla="*/ 1 w 51"/>
                <a:gd name="T11" fmla="*/ 8 h 51"/>
                <a:gd name="T12" fmla="*/ 1 w 51"/>
                <a:gd name="T13" fmla="*/ 13 h 51"/>
                <a:gd name="T14" fmla="*/ 1 w 51"/>
                <a:gd name="T15" fmla="*/ 13 h 51"/>
                <a:gd name="T16" fmla="*/ 18 w 51"/>
                <a:gd name="T17" fmla="*/ 23 h 51"/>
                <a:gd name="T18" fmla="*/ 12 w 51"/>
                <a:gd name="T19" fmla="*/ 29 h 51"/>
                <a:gd name="T20" fmla="*/ 4 w 51"/>
                <a:gd name="T21" fmla="*/ 27 h 51"/>
                <a:gd name="T22" fmla="*/ 1 w 51"/>
                <a:gd name="T23" fmla="*/ 31 h 51"/>
                <a:gd name="T24" fmla="*/ 0 w 51"/>
                <a:gd name="T25" fmla="*/ 33 h 51"/>
                <a:gd name="T26" fmla="*/ 1 w 51"/>
                <a:gd name="T27" fmla="*/ 36 h 51"/>
                <a:gd name="T28" fmla="*/ 15 w 51"/>
                <a:gd name="T29" fmla="*/ 50 h 51"/>
                <a:gd name="T30" fmla="*/ 17 w 51"/>
                <a:gd name="T31" fmla="*/ 51 h 51"/>
                <a:gd name="T32" fmla="*/ 17 w 51"/>
                <a:gd name="T33" fmla="*/ 51 h 51"/>
                <a:gd name="T34" fmla="*/ 20 w 51"/>
                <a:gd name="T35" fmla="*/ 50 h 51"/>
                <a:gd name="T36" fmla="*/ 23 w 51"/>
                <a:gd name="T37" fmla="*/ 47 h 51"/>
                <a:gd name="T38" fmla="*/ 22 w 51"/>
                <a:gd name="T39" fmla="*/ 39 h 51"/>
                <a:gd name="T40" fmla="*/ 28 w 51"/>
                <a:gd name="T41" fmla="*/ 33 h 51"/>
                <a:gd name="T42" fmla="*/ 37 w 51"/>
                <a:gd name="T43" fmla="*/ 49 h 51"/>
                <a:gd name="T44" fmla="*/ 38 w 51"/>
                <a:gd name="T45" fmla="*/ 50 h 51"/>
                <a:gd name="T46" fmla="*/ 43 w 51"/>
                <a:gd name="T47" fmla="*/ 50 h 51"/>
                <a:gd name="T48" fmla="*/ 48 w 51"/>
                <a:gd name="T49" fmla="*/ 45 h 51"/>
                <a:gd name="T50" fmla="*/ 41 w 51"/>
                <a:gd name="T51" fmla="*/ 20 h 51"/>
                <a:gd name="T52" fmla="*/ 48 w 51"/>
                <a:gd name="T53" fmla="*/ 14 h 51"/>
                <a:gd name="T54" fmla="*/ 48 w 51"/>
                <a:gd name="T55" fmla="*/ 3 h 51"/>
                <a:gd name="T56" fmla="*/ 44 w 51"/>
                <a:gd name="T57" fmla="*/ 10 h 51"/>
                <a:gd name="T58" fmla="*/ 35 w 51"/>
                <a:gd name="T59" fmla="*/ 19 h 51"/>
                <a:gd name="T60" fmla="*/ 42 w 51"/>
                <a:gd name="T61" fmla="*/ 43 h 51"/>
                <a:gd name="T62" fmla="*/ 41 w 51"/>
                <a:gd name="T63" fmla="*/ 45 h 51"/>
                <a:gd name="T64" fmla="*/ 29 w 51"/>
                <a:gd name="T65" fmla="*/ 24 h 51"/>
                <a:gd name="T66" fmla="*/ 16 w 51"/>
                <a:gd name="T67" fmla="*/ 37 h 51"/>
                <a:gd name="T68" fmla="*/ 18 w 51"/>
                <a:gd name="T69" fmla="*/ 45 h 51"/>
                <a:gd name="T70" fmla="*/ 17 w 51"/>
                <a:gd name="T71" fmla="*/ 45 h 51"/>
                <a:gd name="T72" fmla="*/ 6 w 51"/>
                <a:gd name="T73" fmla="*/ 33 h 51"/>
                <a:gd name="T74" fmla="*/ 6 w 51"/>
                <a:gd name="T75" fmla="*/ 33 h 51"/>
                <a:gd name="T76" fmla="*/ 13 w 51"/>
                <a:gd name="T77" fmla="*/ 35 h 51"/>
                <a:gd name="T78" fmla="*/ 27 w 51"/>
                <a:gd name="T79" fmla="*/ 21 h 51"/>
                <a:gd name="T80" fmla="*/ 6 w 51"/>
                <a:gd name="T81" fmla="*/ 10 h 51"/>
                <a:gd name="T82" fmla="*/ 8 w 51"/>
                <a:gd name="T83" fmla="*/ 8 h 51"/>
                <a:gd name="T84" fmla="*/ 32 w 51"/>
                <a:gd name="T85" fmla="*/ 16 h 51"/>
                <a:gd name="T86" fmla="*/ 40 w 51"/>
                <a:gd name="T87" fmla="*/ 7 h 51"/>
                <a:gd name="T88" fmla="*/ 44 w 51"/>
                <a:gd name="T89" fmla="*/ 6 h 51"/>
                <a:gd name="T90" fmla="*/ 44 w 51"/>
                <a:gd name="T91" fmla="*/ 1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1" h="51">
                  <a:moveTo>
                    <a:pt x="48" y="3"/>
                  </a:moveTo>
                  <a:cubicBezTo>
                    <a:pt x="47" y="1"/>
                    <a:pt x="45" y="0"/>
                    <a:pt x="43" y="0"/>
                  </a:cubicBezTo>
                  <a:cubicBezTo>
                    <a:pt x="40" y="0"/>
                    <a:pt x="38" y="1"/>
                    <a:pt x="37" y="3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9"/>
                    <a:pt x="0" y="12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4"/>
                    <a:pt x="0" y="35"/>
                    <a:pt x="1" y="36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6" y="51"/>
                    <a:pt x="16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9" y="51"/>
                    <a:pt x="20" y="50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9" y="51"/>
                    <a:pt x="42" y="51"/>
                    <a:pt x="43" y="50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1" y="11"/>
                    <a:pt x="51" y="6"/>
                    <a:pt x="48" y="3"/>
                  </a:cubicBezTo>
                  <a:moveTo>
                    <a:pt x="44" y="10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5"/>
                    <a:pt x="43" y="5"/>
                    <a:pt x="44" y="6"/>
                  </a:cubicBezTo>
                  <a:cubicBezTo>
                    <a:pt x="45" y="7"/>
                    <a:pt x="45" y="9"/>
                    <a:pt x="44" y="1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01" name="Agrupar 1700">
            <a:extLst>
              <a:ext uri="{FF2B5EF4-FFF2-40B4-BE49-F238E27FC236}">
                <a16:creationId xmlns:a16="http://schemas.microsoft.com/office/drawing/2014/main" id="{3CDB83D1-F220-4641-913E-3CE3775D321E}"/>
              </a:ext>
            </a:extLst>
          </p:cNvPr>
          <p:cNvGrpSpPr/>
          <p:nvPr/>
        </p:nvGrpSpPr>
        <p:grpSpPr>
          <a:xfrm>
            <a:off x="6390925" y="5871546"/>
            <a:ext cx="239007" cy="233948"/>
            <a:chOff x="6390925" y="5871546"/>
            <a:chExt cx="239007" cy="233948"/>
          </a:xfrm>
        </p:grpSpPr>
        <p:sp>
          <p:nvSpPr>
            <p:cNvPr id="900" name="Freeform 1497">
              <a:extLst>
                <a:ext uri="{FF2B5EF4-FFF2-40B4-BE49-F238E27FC236}">
                  <a16:creationId xmlns:a16="http://schemas.microsoft.com/office/drawing/2014/main" id="{E83E96B5-472A-4DAE-B941-8EC8CB552F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90925" y="5886721"/>
              <a:ext cx="239007" cy="218773"/>
            </a:xfrm>
            <a:custGeom>
              <a:avLst/>
              <a:gdLst>
                <a:gd name="T0" fmla="*/ 115 w 132"/>
                <a:gd name="T1" fmla="*/ 120 h 120"/>
                <a:gd name="T2" fmla="*/ 17 w 132"/>
                <a:gd name="T3" fmla="*/ 120 h 120"/>
                <a:gd name="T4" fmla="*/ 0 w 132"/>
                <a:gd name="T5" fmla="*/ 103 h 120"/>
                <a:gd name="T6" fmla="*/ 0 w 132"/>
                <a:gd name="T7" fmla="*/ 18 h 120"/>
                <a:gd name="T8" fmla="*/ 17 w 132"/>
                <a:gd name="T9" fmla="*/ 0 h 120"/>
                <a:gd name="T10" fmla="*/ 115 w 132"/>
                <a:gd name="T11" fmla="*/ 0 h 120"/>
                <a:gd name="T12" fmla="*/ 132 w 132"/>
                <a:gd name="T13" fmla="*/ 18 h 120"/>
                <a:gd name="T14" fmla="*/ 132 w 132"/>
                <a:gd name="T15" fmla="*/ 103 h 120"/>
                <a:gd name="T16" fmla="*/ 115 w 132"/>
                <a:gd name="T17" fmla="*/ 120 h 120"/>
                <a:gd name="T18" fmla="*/ 17 w 132"/>
                <a:gd name="T19" fmla="*/ 7 h 120"/>
                <a:gd name="T20" fmla="*/ 7 w 132"/>
                <a:gd name="T21" fmla="*/ 18 h 120"/>
                <a:gd name="T22" fmla="*/ 7 w 132"/>
                <a:gd name="T23" fmla="*/ 103 h 120"/>
                <a:gd name="T24" fmla="*/ 17 w 132"/>
                <a:gd name="T25" fmla="*/ 113 h 120"/>
                <a:gd name="T26" fmla="*/ 115 w 132"/>
                <a:gd name="T27" fmla="*/ 113 h 120"/>
                <a:gd name="T28" fmla="*/ 125 w 132"/>
                <a:gd name="T29" fmla="*/ 103 h 120"/>
                <a:gd name="T30" fmla="*/ 125 w 132"/>
                <a:gd name="T31" fmla="*/ 18 h 120"/>
                <a:gd name="T32" fmla="*/ 115 w 132"/>
                <a:gd name="T33" fmla="*/ 7 h 120"/>
                <a:gd name="T34" fmla="*/ 17 w 132"/>
                <a:gd name="T35" fmla="*/ 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" h="120">
                  <a:moveTo>
                    <a:pt x="115" y="120"/>
                  </a:moveTo>
                  <a:cubicBezTo>
                    <a:pt x="17" y="120"/>
                    <a:pt x="17" y="120"/>
                    <a:pt x="17" y="120"/>
                  </a:cubicBezTo>
                  <a:cubicBezTo>
                    <a:pt x="8" y="120"/>
                    <a:pt x="0" y="113"/>
                    <a:pt x="0" y="10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24" y="0"/>
                    <a:pt x="132" y="8"/>
                    <a:pt x="132" y="18"/>
                  </a:cubicBezTo>
                  <a:cubicBezTo>
                    <a:pt x="132" y="103"/>
                    <a:pt x="132" y="103"/>
                    <a:pt x="132" y="103"/>
                  </a:cubicBezTo>
                  <a:cubicBezTo>
                    <a:pt x="132" y="113"/>
                    <a:pt x="124" y="120"/>
                    <a:pt x="115" y="120"/>
                  </a:cubicBezTo>
                  <a:moveTo>
                    <a:pt x="17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9"/>
                    <a:pt x="12" y="113"/>
                    <a:pt x="17" y="113"/>
                  </a:cubicBezTo>
                  <a:cubicBezTo>
                    <a:pt x="115" y="113"/>
                    <a:pt x="115" y="113"/>
                    <a:pt x="115" y="113"/>
                  </a:cubicBezTo>
                  <a:cubicBezTo>
                    <a:pt x="121" y="113"/>
                    <a:pt x="125" y="109"/>
                    <a:pt x="125" y="103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25" y="12"/>
                    <a:pt x="121" y="7"/>
                    <a:pt x="115" y="7"/>
                  </a:cubicBezTo>
                  <a:lnTo>
                    <a:pt x="17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1" name="Freeform 1498">
              <a:extLst>
                <a:ext uri="{FF2B5EF4-FFF2-40B4-BE49-F238E27FC236}">
                  <a16:creationId xmlns:a16="http://schemas.microsoft.com/office/drawing/2014/main" id="{40329BED-4D70-4752-963A-F5DF453A9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7948" y="5961332"/>
              <a:ext cx="104961" cy="73346"/>
            </a:xfrm>
            <a:custGeom>
              <a:avLst/>
              <a:gdLst>
                <a:gd name="T0" fmla="*/ 21 w 58"/>
                <a:gd name="T1" fmla="*/ 40 h 40"/>
                <a:gd name="T2" fmla="*/ 21 w 58"/>
                <a:gd name="T3" fmla="*/ 40 h 40"/>
                <a:gd name="T4" fmla="*/ 19 w 58"/>
                <a:gd name="T5" fmla="*/ 39 h 40"/>
                <a:gd name="T6" fmla="*/ 2 w 58"/>
                <a:gd name="T7" fmla="*/ 21 h 40"/>
                <a:gd name="T8" fmla="*/ 2 w 58"/>
                <a:gd name="T9" fmla="*/ 16 h 40"/>
                <a:gd name="T10" fmla="*/ 7 w 58"/>
                <a:gd name="T11" fmla="*/ 17 h 40"/>
                <a:gd name="T12" fmla="*/ 21 w 58"/>
                <a:gd name="T13" fmla="*/ 32 h 40"/>
                <a:gd name="T14" fmla="*/ 51 w 58"/>
                <a:gd name="T15" fmla="*/ 1 h 40"/>
                <a:gd name="T16" fmla="*/ 56 w 58"/>
                <a:gd name="T17" fmla="*/ 1 h 40"/>
                <a:gd name="T18" fmla="*/ 56 w 58"/>
                <a:gd name="T19" fmla="*/ 6 h 40"/>
                <a:gd name="T20" fmla="*/ 24 w 58"/>
                <a:gd name="T21" fmla="*/ 39 h 40"/>
                <a:gd name="T22" fmla="*/ 21 w 58"/>
                <a:gd name="T2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40">
                  <a:moveTo>
                    <a:pt x="21" y="40"/>
                  </a:moveTo>
                  <a:cubicBezTo>
                    <a:pt x="21" y="40"/>
                    <a:pt x="21" y="40"/>
                    <a:pt x="21" y="40"/>
                  </a:cubicBezTo>
                  <a:cubicBezTo>
                    <a:pt x="20" y="40"/>
                    <a:pt x="20" y="40"/>
                    <a:pt x="19" y="3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0"/>
                    <a:pt x="0" y="18"/>
                    <a:pt x="2" y="16"/>
                  </a:cubicBezTo>
                  <a:cubicBezTo>
                    <a:pt x="3" y="15"/>
                    <a:pt x="5" y="15"/>
                    <a:pt x="7" y="17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3" y="0"/>
                    <a:pt x="55" y="0"/>
                    <a:pt x="56" y="1"/>
                  </a:cubicBezTo>
                  <a:cubicBezTo>
                    <a:pt x="58" y="3"/>
                    <a:pt x="58" y="5"/>
                    <a:pt x="56" y="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0"/>
                    <a:pt x="22" y="40"/>
                    <a:pt x="21" y="4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2" name="Freeform 1499">
              <a:extLst>
                <a:ext uri="{FF2B5EF4-FFF2-40B4-BE49-F238E27FC236}">
                  <a16:creationId xmlns:a16="http://schemas.microsoft.com/office/drawing/2014/main" id="{DDC67EE6-D456-406A-A05B-71F7E270D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6567" y="5871546"/>
              <a:ext cx="12646" cy="54377"/>
            </a:xfrm>
            <a:custGeom>
              <a:avLst/>
              <a:gdLst>
                <a:gd name="T0" fmla="*/ 4 w 7"/>
                <a:gd name="T1" fmla="*/ 30 h 30"/>
                <a:gd name="T2" fmla="*/ 0 w 7"/>
                <a:gd name="T3" fmla="*/ 26 h 30"/>
                <a:gd name="T4" fmla="*/ 0 w 7"/>
                <a:gd name="T5" fmla="*/ 4 h 30"/>
                <a:gd name="T6" fmla="*/ 4 w 7"/>
                <a:gd name="T7" fmla="*/ 0 h 30"/>
                <a:gd name="T8" fmla="*/ 7 w 7"/>
                <a:gd name="T9" fmla="*/ 4 h 30"/>
                <a:gd name="T10" fmla="*/ 7 w 7"/>
                <a:gd name="T11" fmla="*/ 26 h 30"/>
                <a:gd name="T12" fmla="*/ 4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5" y="30"/>
                    <a:pt x="4" y="3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3" name="Freeform 1500">
              <a:extLst>
                <a:ext uri="{FF2B5EF4-FFF2-40B4-BE49-F238E27FC236}">
                  <a16:creationId xmlns:a16="http://schemas.microsoft.com/office/drawing/2014/main" id="{C070F21F-5B1D-4A1C-8FCD-F19E4C3FF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0380" y="5871546"/>
              <a:ext cx="12646" cy="54377"/>
            </a:xfrm>
            <a:custGeom>
              <a:avLst/>
              <a:gdLst>
                <a:gd name="T0" fmla="*/ 4 w 7"/>
                <a:gd name="T1" fmla="*/ 30 h 30"/>
                <a:gd name="T2" fmla="*/ 0 w 7"/>
                <a:gd name="T3" fmla="*/ 26 h 30"/>
                <a:gd name="T4" fmla="*/ 0 w 7"/>
                <a:gd name="T5" fmla="*/ 4 h 30"/>
                <a:gd name="T6" fmla="*/ 4 w 7"/>
                <a:gd name="T7" fmla="*/ 0 h 30"/>
                <a:gd name="T8" fmla="*/ 7 w 7"/>
                <a:gd name="T9" fmla="*/ 4 h 30"/>
                <a:gd name="T10" fmla="*/ 7 w 7"/>
                <a:gd name="T11" fmla="*/ 26 h 30"/>
                <a:gd name="T12" fmla="*/ 4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6" y="30"/>
                    <a:pt x="4" y="3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654" name="Agrupar 1653">
            <a:extLst>
              <a:ext uri="{FF2B5EF4-FFF2-40B4-BE49-F238E27FC236}">
                <a16:creationId xmlns:a16="http://schemas.microsoft.com/office/drawing/2014/main" id="{F3C9F9C3-4785-4CAB-96F9-9D883CD76521}"/>
              </a:ext>
            </a:extLst>
          </p:cNvPr>
          <p:cNvGrpSpPr/>
          <p:nvPr/>
        </p:nvGrpSpPr>
        <p:grpSpPr>
          <a:xfrm>
            <a:off x="7240726" y="2315532"/>
            <a:ext cx="158073" cy="266828"/>
            <a:chOff x="7240726" y="2315532"/>
            <a:chExt cx="158073" cy="266828"/>
          </a:xfrm>
        </p:grpSpPr>
        <p:sp>
          <p:nvSpPr>
            <p:cNvPr id="904" name="Freeform 1501">
              <a:extLst>
                <a:ext uri="{FF2B5EF4-FFF2-40B4-BE49-F238E27FC236}">
                  <a16:creationId xmlns:a16="http://schemas.microsoft.com/office/drawing/2014/main" id="{D6343FA5-62D2-4602-89A5-130BBBE18A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90045" y="2430610"/>
              <a:ext cx="61965" cy="113813"/>
            </a:xfrm>
            <a:custGeom>
              <a:avLst/>
              <a:gdLst>
                <a:gd name="T0" fmla="*/ 30 w 34"/>
                <a:gd name="T1" fmla="*/ 31 h 63"/>
                <a:gd name="T2" fmla="*/ 26 w 34"/>
                <a:gd name="T3" fmla="*/ 27 h 63"/>
                <a:gd name="T4" fmla="*/ 20 w 34"/>
                <a:gd name="T5" fmla="*/ 26 h 63"/>
                <a:gd name="T6" fmla="*/ 20 w 34"/>
                <a:gd name="T7" fmla="*/ 10 h 63"/>
                <a:gd name="T8" fmla="*/ 23 w 34"/>
                <a:gd name="T9" fmla="*/ 12 h 63"/>
                <a:gd name="T10" fmla="*/ 25 w 34"/>
                <a:gd name="T11" fmla="*/ 17 h 63"/>
                <a:gd name="T12" fmla="*/ 26 w 34"/>
                <a:gd name="T13" fmla="*/ 18 h 63"/>
                <a:gd name="T14" fmla="*/ 33 w 34"/>
                <a:gd name="T15" fmla="*/ 17 h 63"/>
                <a:gd name="T16" fmla="*/ 33 w 34"/>
                <a:gd name="T17" fmla="*/ 16 h 63"/>
                <a:gd name="T18" fmla="*/ 28 w 34"/>
                <a:gd name="T19" fmla="*/ 6 h 63"/>
                <a:gd name="T20" fmla="*/ 20 w 34"/>
                <a:gd name="T21" fmla="*/ 3 h 63"/>
                <a:gd name="T22" fmla="*/ 20 w 34"/>
                <a:gd name="T23" fmla="*/ 1 h 63"/>
                <a:gd name="T24" fmla="*/ 19 w 34"/>
                <a:gd name="T25" fmla="*/ 0 h 63"/>
                <a:gd name="T26" fmla="*/ 16 w 34"/>
                <a:gd name="T27" fmla="*/ 0 h 63"/>
                <a:gd name="T28" fmla="*/ 15 w 34"/>
                <a:gd name="T29" fmla="*/ 1 h 63"/>
                <a:gd name="T30" fmla="*/ 15 w 34"/>
                <a:gd name="T31" fmla="*/ 3 h 63"/>
                <a:gd name="T32" fmla="*/ 6 w 34"/>
                <a:gd name="T33" fmla="*/ 6 h 63"/>
                <a:gd name="T34" fmla="*/ 1 w 34"/>
                <a:gd name="T35" fmla="*/ 17 h 63"/>
                <a:gd name="T36" fmla="*/ 3 w 34"/>
                <a:gd name="T37" fmla="*/ 24 h 63"/>
                <a:gd name="T38" fmla="*/ 7 w 34"/>
                <a:gd name="T39" fmla="*/ 29 h 63"/>
                <a:gd name="T40" fmla="*/ 15 w 34"/>
                <a:gd name="T41" fmla="*/ 32 h 63"/>
                <a:gd name="T42" fmla="*/ 15 w 34"/>
                <a:gd name="T43" fmla="*/ 50 h 63"/>
                <a:gd name="T44" fmla="*/ 10 w 34"/>
                <a:gd name="T45" fmla="*/ 47 h 63"/>
                <a:gd name="T46" fmla="*/ 8 w 34"/>
                <a:gd name="T47" fmla="*/ 40 h 63"/>
                <a:gd name="T48" fmla="*/ 7 w 34"/>
                <a:gd name="T49" fmla="*/ 39 h 63"/>
                <a:gd name="T50" fmla="*/ 7 w 34"/>
                <a:gd name="T51" fmla="*/ 39 h 63"/>
                <a:gd name="T52" fmla="*/ 1 w 34"/>
                <a:gd name="T53" fmla="*/ 40 h 63"/>
                <a:gd name="T54" fmla="*/ 0 w 34"/>
                <a:gd name="T55" fmla="*/ 41 h 63"/>
                <a:gd name="T56" fmla="*/ 2 w 34"/>
                <a:gd name="T57" fmla="*/ 50 h 63"/>
                <a:gd name="T58" fmla="*/ 8 w 34"/>
                <a:gd name="T59" fmla="*/ 55 h 63"/>
                <a:gd name="T60" fmla="*/ 15 w 34"/>
                <a:gd name="T61" fmla="*/ 57 h 63"/>
                <a:gd name="T62" fmla="*/ 15 w 34"/>
                <a:gd name="T63" fmla="*/ 62 h 63"/>
                <a:gd name="T64" fmla="*/ 16 w 34"/>
                <a:gd name="T65" fmla="*/ 63 h 63"/>
                <a:gd name="T66" fmla="*/ 19 w 34"/>
                <a:gd name="T67" fmla="*/ 63 h 63"/>
                <a:gd name="T68" fmla="*/ 20 w 34"/>
                <a:gd name="T69" fmla="*/ 62 h 63"/>
                <a:gd name="T70" fmla="*/ 20 w 34"/>
                <a:gd name="T71" fmla="*/ 57 h 63"/>
                <a:gd name="T72" fmla="*/ 30 w 34"/>
                <a:gd name="T73" fmla="*/ 52 h 63"/>
                <a:gd name="T74" fmla="*/ 34 w 34"/>
                <a:gd name="T75" fmla="*/ 41 h 63"/>
                <a:gd name="T76" fmla="*/ 33 w 34"/>
                <a:gd name="T77" fmla="*/ 35 h 63"/>
                <a:gd name="T78" fmla="*/ 30 w 34"/>
                <a:gd name="T79" fmla="*/ 31 h 63"/>
                <a:gd name="T80" fmla="*/ 27 w 34"/>
                <a:gd name="T81" fmla="*/ 41 h 63"/>
                <a:gd name="T82" fmla="*/ 24 w 34"/>
                <a:gd name="T83" fmla="*/ 47 h 63"/>
                <a:gd name="T84" fmla="*/ 20 w 34"/>
                <a:gd name="T85" fmla="*/ 50 h 63"/>
                <a:gd name="T86" fmla="*/ 20 w 34"/>
                <a:gd name="T87" fmla="*/ 33 h 63"/>
                <a:gd name="T88" fmla="*/ 25 w 34"/>
                <a:gd name="T89" fmla="*/ 36 h 63"/>
                <a:gd name="T90" fmla="*/ 27 w 34"/>
                <a:gd name="T91" fmla="*/ 41 h 63"/>
                <a:gd name="T92" fmla="*/ 10 w 34"/>
                <a:gd name="T93" fmla="*/ 22 h 63"/>
                <a:gd name="T94" fmla="*/ 9 w 34"/>
                <a:gd name="T95" fmla="*/ 17 h 63"/>
                <a:gd name="T96" fmla="*/ 10 w 34"/>
                <a:gd name="T97" fmla="*/ 12 h 63"/>
                <a:gd name="T98" fmla="*/ 15 w 34"/>
                <a:gd name="T99" fmla="*/ 10 h 63"/>
                <a:gd name="T100" fmla="*/ 15 w 34"/>
                <a:gd name="T101" fmla="*/ 24 h 63"/>
                <a:gd name="T102" fmla="*/ 10 w 34"/>
                <a:gd name="T103" fmla="*/ 2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" h="63">
                  <a:moveTo>
                    <a:pt x="30" y="31"/>
                  </a:moveTo>
                  <a:cubicBezTo>
                    <a:pt x="29" y="29"/>
                    <a:pt x="28" y="28"/>
                    <a:pt x="26" y="27"/>
                  </a:cubicBezTo>
                  <a:cubicBezTo>
                    <a:pt x="25" y="27"/>
                    <a:pt x="23" y="26"/>
                    <a:pt x="20" y="26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1" y="10"/>
                    <a:pt x="22" y="11"/>
                    <a:pt x="23" y="12"/>
                  </a:cubicBezTo>
                  <a:cubicBezTo>
                    <a:pt x="24" y="13"/>
                    <a:pt x="25" y="15"/>
                    <a:pt x="25" y="17"/>
                  </a:cubicBezTo>
                  <a:cubicBezTo>
                    <a:pt x="25" y="17"/>
                    <a:pt x="26" y="18"/>
                    <a:pt x="26" y="18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2"/>
                    <a:pt x="31" y="8"/>
                    <a:pt x="28" y="6"/>
                  </a:cubicBezTo>
                  <a:cubicBezTo>
                    <a:pt x="26" y="4"/>
                    <a:pt x="23" y="3"/>
                    <a:pt x="20" y="3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1" y="3"/>
                    <a:pt x="8" y="4"/>
                    <a:pt x="6" y="6"/>
                  </a:cubicBezTo>
                  <a:cubicBezTo>
                    <a:pt x="3" y="9"/>
                    <a:pt x="1" y="13"/>
                    <a:pt x="1" y="17"/>
                  </a:cubicBezTo>
                  <a:cubicBezTo>
                    <a:pt x="1" y="20"/>
                    <a:pt x="1" y="22"/>
                    <a:pt x="3" y="24"/>
                  </a:cubicBezTo>
                  <a:cubicBezTo>
                    <a:pt x="4" y="26"/>
                    <a:pt x="5" y="28"/>
                    <a:pt x="7" y="29"/>
                  </a:cubicBezTo>
                  <a:cubicBezTo>
                    <a:pt x="10" y="31"/>
                    <a:pt x="12" y="32"/>
                    <a:pt x="15" y="32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3" y="50"/>
                    <a:pt x="11" y="49"/>
                    <a:pt x="10" y="47"/>
                  </a:cubicBezTo>
                  <a:cubicBezTo>
                    <a:pt x="9" y="45"/>
                    <a:pt x="8" y="43"/>
                    <a:pt x="8" y="40"/>
                  </a:cubicBezTo>
                  <a:cubicBezTo>
                    <a:pt x="8" y="40"/>
                    <a:pt x="7" y="40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0"/>
                    <a:pt x="0" y="41"/>
                    <a:pt x="0" y="41"/>
                  </a:cubicBezTo>
                  <a:cubicBezTo>
                    <a:pt x="0" y="45"/>
                    <a:pt x="1" y="47"/>
                    <a:pt x="2" y="50"/>
                  </a:cubicBezTo>
                  <a:cubicBezTo>
                    <a:pt x="4" y="52"/>
                    <a:pt x="6" y="54"/>
                    <a:pt x="8" y="55"/>
                  </a:cubicBezTo>
                  <a:cubicBezTo>
                    <a:pt x="10" y="56"/>
                    <a:pt x="12" y="56"/>
                    <a:pt x="15" y="57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15" y="63"/>
                    <a:pt x="15" y="63"/>
                    <a:pt x="16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20" y="63"/>
                    <a:pt x="20" y="63"/>
                    <a:pt x="20" y="62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4" y="56"/>
                    <a:pt x="27" y="55"/>
                    <a:pt x="30" y="52"/>
                  </a:cubicBezTo>
                  <a:cubicBezTo>
                    <a:pt x="33" y="49"/>
                    <a:pt x="34" y="45"/>
                    <a:pt x="34" y="41"/>
                  </a:cubicBezTo>
                  <a:cubicBezTo>
                    <a:pt x="34" y="39"/>
                    <a:pt x="34" y="37"/>
                    <a:pt x="33" y="35"/>
                  </a:cubicBezTo>
                  <a:cubicBezTo>
                    <a:pt x="33" y="33"/>
                    <a:pt x="32" y="32"/>
                    <a:pt x="30" y="31"/>
                  </a:cubicBezTo>
                  <a:moveTo>
                    <a:pt x="27" y="41"/>
                  </a:moveTo>
                  <a:cubicBezTo>
                    <a:pt x="27" y="44"/>
                    <a:pt x="26" y="46"/>
                    <a:pt x="24" y="47"/>
                  </a:cubicBezTo>
                  <a:cubicBezTo>
                    <a:pt x="23" y="49"/>
                    <a:pt x="22" y="50"/>
                    <a:pt x="20" y="50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2" y="34"/>
                    <a:pt x="24" y="35"/>
                    <a:pt x="25" y="36"/>
                  </a:cubicBezTo>
                  <a:cubicBezTo>
                    <a:pt x="26" y="38"/>
                    <a:pt x="27" y="39"/>
                    <a:pt x="27" y="41"/>
                  </a:cubicBezTo>
                  <a:moveTo>
                    <a:pt x="10" y="22"/>
                  </a:moveTo>
                  <a:cubicBezTo>
                    <a:pt x="9" y="20"/>
                    <a:pt x="9" y="19"/>
                    <a:pt x="9" y="17"/>
                  </a:cubicBezTo>
                  <a:cubicBezTo>
                    <a:pt x="9" y="15"/>
                    <a:pt x="9" y="13"/>
                    <a:pt x="10" y="12"/>
                  </a:cubicBezTo>
                  <a:cubicBezTo>
                    <a:pt x="12" y="11"/>
                    <a:pt x="13" y="10"/>
                    <a:pt x="15" y="10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3" y="24"/>
                    <a:pt x="11" y="23"/>
                    <a:pt x="10" y="22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5" name="Freeform 1502">
              <a:extLst>
                <a:ext uri="{FF2B5EF4-FFF2-40B4-BE49-F238E27FC236}">
                  <a16:creationId xmlns:a16="http://schemas.microsoft.com/office/drawing/2014/main" id="{9E11D616-8AF0-4F49-AEC2-F6839C2D36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40726" y="2315532"/>
              <a:ext cx="158073" cy="266828"/>
            </a:xfrm>
            <a:custGeom>
              <a:avLst/>
              <a:gdLst>
                <a:gd name="T0" fmla="*/ 85 w 87"/>
                <a:gd name="T1" fmla="*/ 39 h 147"/>
                <a:gd name="T2" fmla="*/ 52 w 87"/>
                <a:gd name="T3" fmla="*/ 3 h 147"/>
                <a:gd name="T4" fmla="*/ 47 w 87"/>
                <a:gd name="T5" fmla="*/ 1 h 147"/>
                <a:gd name="T6" fmla="*/ 42 w 87"/>
                <a:gd name="T7" fmla="*/ 2 h 147"/>
                <a:gd name="T8" fmla="*/ 2 w 87"/>
                <a:gd name="T9" fmla="*/ 39 h 147"/>
                <a:gd name="T10" fmla="*/ 0 w 87"/>
                <a:gd name="T11" fmla="*/ 44 h 147"/>
                <a:gd name="T12" fmla="*/ 0 w 87"/>
                <a:gd name="T13" fmla="*/ 137 h 147"/>
                <a:gd name="T14" fmla="*/ 10 w 87"/>
                <a:gd name="T15" fmla="*/ 147 h 147"/>
                <a:gd name="T16" fmla="*/ 77 w 87"/>
                <a:gd name="T17" fmla="*/ 147 h 147"/>
                <a:gd name="T18" fmla="*/ 87 w 87"/>
                <a:gd name="T19" fmla="*/ 137 h 147"/>
                <a:gd name="T20" fmla="*/ 87 w 87"/>
                <a:gd name="T21" fmla="*/ 44 h 147"/>
                <a:gd name="T22" fmla="*/ 85 w 87"/>
                <a:gd name="T23" fmla="*/ 39 h 147"/>
                <a:gd name="T24" fmla="*/ 82 w 87"/>
                <a:gd name="T25" fmla="*/ 137 h 147"/>
                <a:gd name="T26" fmla="*/ 77 w 87"/>
                <a:gd name="T27" fmla="*/ 141 h 147"/>
                <a:gd name="T28" fmla="*/ 10 w 87"/>
                <a:gd name="T29" fmla="*/ 141 h 147"/>
                <a:gd name="T30" fmla="*/ 5 w 87"/>
                <a:gd name="T31" fmla="*/ 137 h 147"/>
                <a:gd name="T32" fmla="*/ 5 w 87"/>
                <a:gd name="T33" fmla="*/ 44 h 147"/>
                <a:gd name="T34" fmla="*/ 6 w 87"/>
                <a:gd name="T35" fmla="*/ 43 h 147"/>
                <a:gd name="T36" fmla="*/ 46 w 87"/>
                <a:gd name="T37" fmla="*/ 6 h 147"/>
                <a:gd name="T38" fmla="*/ 47 w 87"/>
                <a:gd name="T39" fmla="*/ 6 h 147"/>
                <a:gd name="T40" fmla="*/ 47 w 87"/>
                <a:gd name="T41" fmla="*/ 6 h 147"/>
                <a:gd name="T42" fmla="*/ 48 w 87"/>
                <a:gd name="T43" fmla="*/ 7 h 147"/>
                <a:gd name="T44" fmla="*/ 81 w 87"/>
                <a:gd name="T45" fmla="*/ 43 h 147"/>
                <a:gd name="T46" fmla="*/ 82 w 87"/>
                <a:gd name="T47" fmla="*/ 44 h 147"/>
                <a:gd name="T48" fmla="*/ 82 w 87"/>
                <a:gd name="T49" fmla="*/ 1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147">
                  <a:moveTo>
                    <a:pt x="85" y="39"/>
                  </a:moveTo>
                  <a:cubicBezTo>
                    <a:pt x="52" y="3"/>
                    <a:pt x="52" y="3"/>
                    <a:pt x="52" y="3"/>
                  </a:cubicBezTo>
                  <a:cubicBezTo>
                    <a:pt x="51" y="1"/>
                    <a:pt x="49" y="1"/>
                    <a:pt x="47" y="1"/>
                  </a:cubicBezTo>
                  <a:cubicBezTo>
                    <a:pt x="45" y="0"/>
                    <a:pt x="43" y="1"/>
                    <a:pt x="42" y="2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40"/>
                    <a:pt x="0" y="42"/>
                    <a:pt x="0" y="4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42"/>
                    <a:pt x="4" y="147"/>
                    <a:pt x="10" y="147"/>
                  </a:cubicBezTo>
                  <a:cubicBezTo>
                    <a:pt x="77" y="147"/>
                    <a:pt x="77" y="147"/>
                    <a:pt x="77" y="147"/>
                  </a:cubicBezTo>
                  <a:cubicBezTo>
                    <a:pt x="83" y="147"/>
                    <a:pt x="87" y="142"/>
                    <a:pt x="87" y="137"/>
                  </a:cubicBezTo>
                  <a:cubicBezTo>
                    <a:pt x="87" y="44"/>
                    <a:pt x="87" y="44"/>
                    <a:pt x="87" y="44"/>
                  </a:cubicBezTo>
                  <a:cubicBezTo>
                    <a:pt x="87" y="42"/>
                    <a:pt x="86" y="40"/>
                    <a:pt x="85" y="39"/>
                  </a:cubicBezTo>
                  <a:moveTo>
                    <a:pt x="82" y="137"/>
                  </a:moveTo>
                  <a:cubicBezTo>
                    <a:pt x="82" y="139"/>
                    <a:pt x="80" y="141"/>
                    <a:pt x="77" y="141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7" y="141"/>
                    <a:pt x="5" y="139"/>
                    <a:pt x="5" y="137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6" y="43"/>
                    <a:pt x="6" y="43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6"/>
                    <a:pt x="46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8" y="6"/>
                    <a:pt x="48" y="7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2" y="44"/>
                    <a:pt x="82" y="44"/>
                  </a:cubicBezTo>
                  <a:lnTo>
                    <a:pt x="82" y="13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6" name="Freeform 1503">
              <a:extLst>
                <a:ext uri="{FF2B5EF4-FFF2-40B4-BE49-F238E27FC236}">
                  <a16:creationId xmlns:a16="http://schemas.microsoft.com/office/drawing/2014/main" id="{C9800005-C3FC-40C7-82C9-7344D3EA8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02691" y="2355999"/>
              <a:ext cx="41731" cy="41731"/>
            </a:xfrm>
            <a:custGeom>
              <a:avLst/>
              <a:gdLst>
                <a:gd name="T0" fmla="*/ 11 w 23"/>
                <a:gd name="T1" fmla="*/ 23 h 23"/>
                <a:gd name="T2" fmla="*/ 23 w 23"/>
                <a:gd name="T3" fmla="*/ 11 h 23"/>
                <a:gd name="T4" fmla="*/ 11 w 23"/>
                <a:gd name="T5" fmla="*/ 0 h 23"/>
                <a:gd name="T6" fmla="*/ 0 w 23"/>
                <a:gd name="T7" fmla="*/ 11 h 23"/>
                <a:gd name="T8" fmla="*/ 11 w 23"/>
                <a:gd name="T9" fmla="*/ 23 h 23"/>
                <a:gd name="T10" fmla="*/ 11 w 23"/>
                <a:gd name="T11" fmla="*/ 6 h 23"/>
                <a:gd name="T12" fmla="*/ 17 w 23"/>
                <a:gd name="T13" fmla="*/ 11 h 23"/>
                <a:gd name="T14" fmla="*/ 11 w 23"/>
                <a:gd name="T15" fmla="*/ 17 h 23"/>
                <a:gd name="T16" fmla="*/ 5 w 23"/>
                <a:gd name="T17" fmla="*/ 11 h 23"/>
                <a:gd name="T18" fmla="*/ 11 w 23"/>
                <a:gd name="T1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3">
                  <a:moveTo>
                    <a:pt x="11" y="23"/>
                  </a:moveTo>
                  <a:cubicBezTo>
                    <a:pt x="17" y="23"/>
                    <a:pt x="23" y="18"/>
                    <a:pt x="23" y="11"/>
                  </a:cubicBezTo>
                  <a:cubicBezTo>
                    <a:pt x="23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8"/>
                    <a:pt x="5" y="23"/>
                    <a:pt x="11" y="23"/>
                  </a:cubicBezTo>
                  <a:moveTo>
                    <a:pt x="11" y="6"/>
                  </a:moveTo>
                  <a:cubicBezTo>
                    <a:pt x="14" y="6"/>
                    <a:pt x="17" y="8"/>
                    <a:pt x="17" y="11"/>
                  </a:cubicBezTo>
                  <a:cubicBezTo>
                    <a:pt x="17" y="15"/>
                    <a:pt x="14" y="17"/>
                    <a:pt x="11" y="17"/>
                  </a:cubicBezTo>
                  <a:cubicBezTo>
                    <a:pt x="8" y="17"/>
                    <a:pt x="5" y="15"/>
                    <a:pt x="5" y="11"/>
                  </a:cubicBezTo>
                  <a:cubicBezTo>
                    <a:pt x="5" y="8"/>
                    <a:pt x="8" y="6"/>
                    <a:pt x="11" y="6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30" name="Agrupar 1729">
            <a:extLst>
              <a:ext uri="{FF2B5EF4-FFF2-40B4-BE49-F238E27FC236}">
                <a16:creationId xmlns:a16="http://schemas.microsoft.com/office/drawing/2014/main" id="{12F6771C-A187-4313-9760-47035316B27B}"/>
              </a:ext>
            </a:extLst>
          </p:cNvPr>
          <p:cNvGrpSpPr/>
          <p:nvPr/>
        </p:nvGrpSpPr>
        <p:grpSpPr>
          <a:xfrm>
            <a:off x="10322520" y="5738765"/>
            <a:ext cx="405932" cy="405932"/>
            <a:chOff x="11004132" y="5738765"/>
            <a:chExt cx="405932" cy="405932"/>
          </a:xfrm>
        </p:grpSpPr>
        <p:sp>
          <p:nvSpPr>
            <p:cNvPr id="907" name="Freeform 1504">
              <a:extLst>
                <a:ext uri="{FF2B5EF4-FFF2-40B4-BE49-F238E27FC236}">
                  <a16:creationId xmlns:a16="http://schemas.microsoft.com/office/drawing/2014/main" id="{67352A90-4615-490D-837A-CE0AC7CDF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4132" y="5738765"/>
              <a:ext cx="405932" cy="405932"/>
            </a:xfrm>
            <a:custGeom>
              <a:avLst/>
              <a:gdLst>
                <a:gd name="T0" fmla="*/ 191 w 224"/>
                <a:gd name="T1" fmla="*/ 33 h 224"/>
                <a:gd name="T2" fmla="*/ 112 w 224"/>
                <a:gd name="T3" fmla="*/ 0 h 224"/>
                <a:gd name="T4" fmla="*/ 49 w 224"/>
                <a:gd name="T5" fmla="*/ 20 h 224"/>
                <a:gd name="T6" fmla="*/ 47 w 224"/>
                <a:gd name="T7" fmla="*/ 26 h 224"/>
                <a:gd name="T8" fmla="*/ 53 w 224"/>
                <a:gd name="T9" fmla="*/ 27 h 224"/>
                <a:gd name="T10" fmla="*/ 112 w 224"/>
                <a:gd name="T11" fmla="*/ 9 h 224"/>
                <a:gd name="T12" fmla="*/ 215 w 224"/>
                <a:gd name="T13" fmla="*/ 112 h 224"/>
                <a:gd name="T14" fmla="*/ 112 w 224"/>
                <a:gd name="T15" fmla="*/ 216 h 224"/>
                <a:gd name="T16" fmla="*/ 9 w 224"/>
                <a:gd name="T17" fmla="*/ 112 h 224"/>
                <a:gd name="T18" fmla="*/ 27 w 224"/>
                <a:gd name="T19" fmla="*/ 54 h 224"/>
                <a:gd name="T20" fmla="*/ 26 w 224"/>
                <a:gd name="T21" fmla="*/ 48 h 224"/>
                <a:gd name="T22" fmla="*/ 19 w 224"/>
                <a:gd name="T23" fmla="*/ 49 h 224"/>
                <a:gd name="T24" fmla="*/ 0 w 224"/>
                <a:gd name="T25" fmla="*/ 112 h 224"/>
                <a:gd name="T26" fmla="*/ 33 w 224"/>
                <a:gd name="T27" fmla="*/ 191 h 224"/>
                <a:gd name="T28" fmla="*/ 112 w 224"/>
                <a:gd name="T29" fmla="*/ 224 h 224"/>
                <a:gd name="T30" fmla="*/ 191 w 224"/>
                <a:gd name="T31" fmla="*/ 191 h 224"/>
                <a:gd name="T32" fmla="*/ 224 w 224"/>
                <a:gd name="T33" fmla="*/ 112 h 224"/>
                <a:gd name="T34" fmla="*/ 191 w 224"/>
                <a:gd name="T35" fmla="*/ 3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4" h="224">
                  <a:moveTo>
                    <a:pt x="191" y="33"/>
                  </a:moveTo>
                  <a:cubicBezTo>
                    <a:pt x="170" y="12"/>
                    <a:pt x="142" y="0"/>
                    <a:pt x="112" y="0"/>
                  </a:cubicBezTo>
                  <a:cubicBezTo>
                    <a:pt x="89" y="0"/>
                    <a:pt x="67" y="7"/>
                    <a:pt x="49" y="20"/>
                  </a:cubicBezTo>
                  <a:cubicBezTo>
                    <a:pt x="47" y="21"/>
                    <a:pt x="46" y="24"/>
                    <a:pt x="47" y="26"/>
                  </a:cubicBezTo>
                  <a:cubicBezTo>
                    <a:pt x="49" y="28"/>
                    <a:pt x="51" y="28"/>
                    <a:pt x="53" y="27"/>
                  </a:cubicBezTo>
                  <a:cubicBezTo>
                    <a:pt x="71" y="15"/>
                    <a:pt x="91" y="9"/>
                    <a:pt x="112" y="9"/>
                  </a:cubicBezTo>
                  <a:cubicBezTo>
                    <a:pt x="169" y="9"/>
                    <a:pt x="215" y="55"/>
                    <a:pt x="215" y="112"/>
                  </a:cubicBezTo>
                  <a:cubicBezTo>
                    <a:pt x="215" y="169"/>
                    <a:pt x="169" y="216"/>
                    <a:pt x="112" y="216"/>
                  </a:cubicBezTo>
                  <a:cubicBezTo>
                    <a:pt x="55" y="216"/>
                    <a:pt x="9" y="169"/>
                    <a:pt x="9" y="112"/>
                  </a:cubicBezTo>
                  <a:cubicBezTo>
                    <a:pt x="9" y="91"/>
                    <a:pt x="15" y="71"/>
                    <a:pt x="27" y="54"/>
                  </a:cubicBezTo>
                  <a:cubicBezTo>
                    <a:pt x="28" y="52"/>
                    <a:pt x="28" y="49"/>
                    <a:pt x="26" y="48"/>
                  </a:cubicBezTo>
                  <a:cubicBezTo>
                    <a:pt x="24" y="46"/>
                    <a:pt x="21" y="47"/>
                    <a:pt x="19" y="49"/>
                  </a:cubicBezTo>
                  <a:cubicBezTo>
                    <a:pt x="7" y="67"/>
                    <a:pt x="0" y="89"/>
                    <a:pt x="0" y="112"/>
                  </a:cubicBezTo>
                  <a:cubicBezTo>
                    <a:pt x="0" y="142"/>
                    <a:pt x="11" y="170"/>
                    <a:pt x="33" y="191"/>
                  </a:cubicBezTo>
                  <a:cubicBezTo>
                    <a:pt x="54" y="213"/>
                    <a:pt x="82" y="224"/>
                    <a:pt x="112" y="224"/>
                  </a:cubicBezTo>
                  <a:cubicBezTo>
                    <a:pt x="142" y="224"/>
                    <a:pt x="170" y="213"/>
                    <a:pt x="191" y="191"/>
                  </a:cubicBezTo>
                  <a:cubicBezTo>
                    <a:pt x="212" y="170"/>
                    <a:pt x="224" y="142"/>
                    <a:pt x="224" y="112"/>
                  </a:cubicBezTo>
                  <a:cubicBezTo>
                    <a:pt x="224" y="82"/>
                    <a:pt x="212" y="54"/>
                    <a:pt x="191" y="33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8" name="Freeform 1505">
              <a:extLst>
                <a:ext uri="{FF2B5EF4-FFF2-40B4-BE49-F238E27FC236}">
                  <a16:creationId xmlns:a16="http://schemas.microsoft.com/office/drawing/2014/main" id="{96AED8B6-30BB-4692-85CD-A0179C2D08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4599" y="5777967"/>
              <a:ext cx="326263" cy="327528"/>
            </a:xfrm>
            <a:custGeom>
              <a:avLst/>
              <a:gdLst>
                <a:gd name="T0" fmla="*/ 90 w 180"/>
                <a:gd name="T1" fmla="*/ 9 h 180"/>
                <a:gd name="T2" fmla="*/ 164 w 180"/>
                <a:gd name="T3" fmla="*/ 56 h 180"/>
                <a:gd name="T4" fmla="*/ 90 w 180"/>
                <a:gd name="T5" fmla="*/ 49 h 180"/>
                <a:gd name="T6" fmla="*/ 16 w 180"/>
                <a:gd name="T7" fmla="*/ 56 h 180"/>
                <a:gd name="T8" fmla="*/ 90 w 180"/>
                <a:gd name="T9" fmla="*/ 9 h 180"/>
                <a:gd name="T10" fmla="*/ 113 w 180"/>
                <a:gd name="T11" fmla="*/ 168 h 180"/>
                <a:gd name="T12" fmla="*/ 113 w 180"/>
                <a:gd name="T13" fmla="*/ 167 h 180"/>
                <a:gd name="T14" fmla="*/ 170 w 180"/>
                <a:gd name="T15" fmla="*/ 105 h 180"/>
                <a:gd name="T16" fmla="*/ 113 w 180"/>
                <a:gd name="T17" fmla="*/ 168 h 180"/>
                <a:gd name="T18" fmla="*/ 76 w 180"/>
                <a:gd name="T19" fmla="*/ 170 h 180"/>
                <a:gd name="T20" fmla="*/ 76 w 180"/>
                <a:gd name="T21" fmla="*/ 167 h 180"/>
                <a:gd name="T22" fmla="*/ 75 w 180"/>
                <a:gd name="T23" fmla="*/ 157 h 180"/>
                <a:gd name="T24" fmla="*/ 90 w 180"/>
                <a:gd name="T25" fmla="*/ 159 h 180"/>
                <a:gd name="T26" fmla="*/ 105 w 180"/>
                <a:gd name="T27" fmla="*/ 157 h 180"/>
                <a:gd name="T28" fmla="*/ 104 w 180"/>
                <a:gd name="T29" fmla="*/ 167 h 180"/>
                <a:gd name="T30" fmla="*/ 104 w 180"/>
                <a:gd name="T31" fmla="*/ 170 h 180"/>
                <a:gd name="T32" fmla="*/ 90 w 180"/>
                <a:gd name="T33" fmla="*/ 172 h 180"/>
                <a:gd name="T34" fmla="*/ 76 w 180"/>
                <a:gd name="T35" fmla="*/ 170 h 180"/>
                <a:gd name="T36" fmla="*/ 10 w 180"/>
                <a:gd name="T37" fmla="*/ 105 h 180"/>
                <a:gd name="T38" fmla="*/ 67 w 180"/>
                <a:gd name="T39" fmla="*/ 167 h 180"/>
                <a:gd name="T40" fmla="*/ 67 w 180"/>
                <a:gd name="T41" fmla="*/ 168 h 180"/>
                <a:gd name="T42" fmla="*/ 10 w 180"/>
                <a:gd name="T43" fmla="*/ 105 h 180"/>
                <a:gd name="T44" fmla="*/ 22 w 180"/>
                <a:gd name="T45" fmla="*/ 98 h 180"/>
                <a:gd name="T46" fmla="*/ 9 w 180"/>
                <a:gd name="T47" fmla="*/ 96 h 180"/>
                <a:gd name="T48" fmla="*/ 8 w 180"/>
                <a:gd name="T49" fmla="*/ 90 h 180"/>
                <a:gd name="T50" fmla="*/ 12 w 180"/>
                <a:gd name="T51" fmla="*/ 66 h 180"/>
                <a:gd name="T52" fmla="*/ 27 w 180"/>
                <a:gd name="T53" fmla="*/ 63 h 180"/>
                <a:gd name="T54" fmla="*/ 22 w 180"/>
                <a:gd name="T55" fmla="*/ 98 h 180"/>
                <a:gd name="T56" fmla="*/ 142 w 180"/>
                <a:gd name="T57" fmla="*/ 61 h 180"/>
                <a:gd name="T58" fmla="*/ 149 w 180"/>
                <a:gd name="T59" fmla="*/ 101 h 180"/>
                <a:gd name="T60" fmla="*/ 107 w 180"/>
                <a:gd name="T61" fmla="*/ 147 h 180"/>
                <a:gd name="T62" fmla="*/ 73 w 180"/>
                <a:gd name="T63" fmla="*/ 147 h 180"/>
                <a:gd name="T64" fmla="*/ 31 w 180"/>
                <a:gd name="T65" fmla="*/ 101 h 180"/>
                <a:gd name="T66" fmla="*/ 38 w 180"/>
                <a:gd name="T67" fmla="*/ 61 h 180"/>
                <a:gd name="T68" fmla="*/ 90 w 180"/>
                <a:gd name="T69" fmla="*/ 58 h 180"/>
                <a:gd name="T70" fmla="*/ 142 w 180"/>
                <a:gd name="T71" fmla="*/ 61 h 180"/>
                <a:gd name="T72" fmla="*/ 171 w 180"/>
                <a:gd name="T73" fmla="*/ 90 h 180"/>
                <a:gd name="T74" fmla="*/ 171 w 180"/>
                <a:gd name="T75" fmla="*/ 96 h 180"/>
                <a:gd name="T76" fmla="*/ 158 w 180"/>
                <a:gd name="T77" fmla="*/ 98 h 180"/>
                <a:gd name="T78" fmla="*/ 153 w 180"/>
                <a:gd name="T79" fmla="*/ 63 h 180"/>
                <a:gd name="T80" fmla="*/ 168 w 180"/>
                <a:gd name="T81" fmla="*/ 66 h 180"/>
                <a:gd name="T82" fmla="*/ 171 w 180"/>
                <a:gd name="T83" fmla="*/ 90 h 180"/>
                <a:gd name="T84" fmla="*/ 90 w 180"/>
                <a:gd name="T85" fmla="*/ 180 h 180"/>
                <a:gd name="T86" fmla="*/ 180 w 180"/>
                <a:gd name="T87" fmla="*/ 90 h 180"/>
                <a:gd name="T88" fmla="*/ 175 w 180"/>
                <a:gd name="T89" fmla="*/ 61 h 180"/>
                <a:gd name="T90" fmla="*/ 175 w 180"/>
                <a:gd name="T91" fmla="*/ 61 h 180"/>
                <a:gd name="T92" fmla="*/ 90 w 180"/>
                <a:gd name="T93" fmla="*/ 0 h 180"/>
                <a:gd name="T94" fmla="*/ 0 w 180"/>
                <a:gd name="T95" fmla="*/ 90 h 180"/>
                <a:gd name="T96" fmla="*/ 90 w 180"/>
                <a:gd name="T9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0" h="180">
                  <a:moveTo>
                    <a:pt x="90" y="9"/>
                  </a:moveTo>
                  <a:cubicBezTo>
                    <a:pt x="123" y="9"/>
                    <a:pt x="151" y="28"/>
                    <a:pt x="164" y="56"/>
                  </a:cubicBezTo>
                  <a:cubicBezTo>
                    <a:pt x="140" y="51"/>
                    <a:pt x="115" y="49"/>
                    <a:pt x="90" y="49"/>
                  </a:cubicBezTo>
                  <a:cubicBezTo>
                    <a:pt x="65" y="49"/>
                    <a:pt x="40" y="51"/>
                    <a:pt x="16" y="56"/>
                  </a:cubicBezTo>
                  <a:cubicBezTo>
                    <a:pt x="29" y="28"/>
                    <a:pt x="57" y="9"/>
                    <a:pt x="90" y="9"/>
                  </a:cubicBezTo>
                  <a:moveTo>
                    <a:pt x="113" y="168"/>
                  </a:moveTo>
                  <a:cubicBezTo>
                    <a:pt x="113" y="168"/>
                    <a:pt x="113" y="168"/>
                    <a:pt x="113" y="167"/>
                  </a:cubicBezTo>
                  <a:cubicBezTo>
                    <a:pt x="113" y="135"/>
                    <a:pt x="138" y="108"/>
                    <a:pt x="170" y="105"/>
                  </a:cubicBezTo>
                  <a:cubicBezTo>
                    <a:pt x="164" y="136"/>
                    <a:pt x="142" y="160"/>
                    <a:pt x="113" y="168"/>
                  </a:cubicBezTo>
                  <a:moveTo>
                    <a:pt x="76" y="170"/>
                  </a:moveTo>
                  <a:cubicBezTo>
                    <a:pt x="76" y="169"/>
                    <a:pt x="76" y="168"/>
                    <a:pt x="76" y="167"/>
                  </a:cubicBezTo>
                  <a:cubicBezTo>
                    <a:pt x="76" y="164"/>
                    <a:pt x="76" y="160"/>
                    <a:pt x="75" y="157"/>
                  </a:cubicBezTo>
                  <a:cubicBezTo>
                    <a:pt x="80" y="158"/>
                    <a:pt x="85" y="159"/>
                    <a:pt x="90" y="159"/>
                  </a:cubicBezTo>
                  <a:cubicBezTo>
                    <a:pt x="95" y="159"/>
                    <a:pt x="100" y="158"/>
                    <a:pt x="105" y="157"/>
                  </a:cubicBezTo>
                  <a:cubicBezTo>
                    <a:pt x="104" y="160"/>
                    <a:pt x="104" y="164"/>
                    <a:pt x="104" y="167"/>
                  </a:cubicBezTo>
                  <a:cubicBezTo>
                    <a:pt x="104" y="168"/>
                    <a:pt x="104" y="169"/>
                    <a:pt x="104" y="170"/>
                  </a:cubicBezTo>
                  <a:cubicBezTo>
                    <a:pt x="100" y="171"/>
                    <a:pt x="95" y="172"/>
                    <a:pt x="90" y="172"/>
                  </a:cubicBezTo>
                  <a:cubicBezTo>
                    <a:pt x="85" y="172"/>
                    <a:pt x="80" y="171"/>
                    <a:pt x="76" y="170"/>
                  </a:cubicBezTo>
                  <a:moveTo>
                    <a:pt x="10" y="105"/>
                  </a:moveTo>
                  <a:cubicBezTo>
                    <a:pt x="42" y="108"/>
                    <a:pt x="67" y="135"/>
                    <a:pt x="67" y="167"/>
                  </a:cubicBezTo>
                  <a:cubicBezTo>
                    <a:pt x="67" y="168"/>
                    <a:pt x="67" y="168"/>
                    <a:pt x="67" y="168"/>
                  </a:cubicBezTo>
                  <a:cubicBezTo>
                    <a:pt x="38" y="160"/>
                    <a:pt x="16" y="136"/>
                    <a:pt x="10" y="105"/>
                  </a:cubicBezTo>
                  <a:moveTo>
                    <a:pt x="22" y="98"/>
                  </a:moveTo>
                  <a:cubicBezTo>
                    <a:pt x="18" y="97"/>
                    <a:pt x="13" y="97"/>
                    <a:pt x="9" y="96"/>
                  </a:cubicBezTo>
                  <a:cubicBezTo>
                    <a:pt x="9" y="94"/>
                    <a:pt x="8" y="92"/>
                    <a:pt x="8" y="90"/>
                  </a:cubicBezTo>
                  <a:cubicBezTo>
                    <a:pt x="8" y="82"/>
                    <a:pt x="10" y="74"/>
                    <a:pt x="12" y="66"/>
                  </a:cubicBezTo>
                  <a:cubicBezTo>
                    <a:pt x="17" y="65"/>
                    <a:pt x="22" y="64"/>
                    <a:pt x="27" y="63"/>
                  </a:cubicBezTo>
                  <a:cubicBezTo>
                    <a:pt x="22" y="74"/>
                    <a:pt x="21" y="86"/>
                    <a:pt x="22" y="98"/>
                  </a:cubicBezTo>
                  <a:moveTo>
                    <a:pt x="142" y="61"/>
                  </a:moveTo>
                  <a:cubicBezTo>
                    <a:pt x="149" y="73"/>
                    <a:pt x="151" y="88"/>
                    <a:pt x="149" y="101"/>
                  </a:cubicBezTo>
                  <a:cubicBezTo>
                    <a:pt x="129" y="110"/>
                    <a:pt x="113" y="126"/>
                    <a:pt x="107" y="147"/>
                  </a:cubicBezTo>
                  <a:cubicBezTo>
                    <a:pt x="96" y="151"/>
                    <a:pt x="84" y="151"/>
                    <a:pt x="73" y="147"/>
                  </a:cubicBezTo>
                  <a:cubicBezTo>
                    <a:pt x="67" y="126"/>
                    <a:pt x="51" y="110"/>
                    <a:pt x="31" y="101"/>
                  </a:cubicBezTo>
                  <a:cubicBezTo>
                    <a:pt x="29" y="88"/>
                    <a:pt x="31" y="73"/>
                    <a:pt x="38" y="61"/>
                  </a:cubicBezTo>
                  <a:cubicBezTo>
                    <a:pt x="55" y="59"/>
                    <a:pt x="73" y="58"/>
                    <a:pt x="90" y="58"/>
                  </a:cubicBezTo>
                  <a:cubicBezTo>
                    <a:pt x="107" y="58"/>
                    <a:pt x="125" y="59"/>
                    <a:pt x="142" y="61"/>
                  </a:cubicBezTo>
                  <a:moveTo>
                    <a:pt x="171" y="90"/>
                  </a:moveTo>
                  <a:cubicBezTo>
                    <a:pt x="171" y="92"/>
                    <a:pt x="171" y="94"/>
                    <a:pt x="171" y="96"/>
                  </a:cubicBezTo>
                  <a:cubicBezTo>
                    <a:pt x="167" y="97"/>
                    <a:pt x="162" y="97"/>
                    <a:pt x="158" y="98"/>
                  </a:cubicBezTo>
                  <a:cubicBezTo>
                    <a:pt x="159" y="86"/>
                    <a:pt x="157" y="74"/>
                    <a:pt x="153" y="63"/>
                  </a:cubicBezTo>
                  <a:cubicBezTo>
                    <a:pt x="158" y="64"/>
                    <a:pt x="163" y="65"/>
                    <a:pt x="168" y="66"/>
                  </a:cubicBezTo>
                  <a:cubicBezTo>
                    <a:pt x="170" y="74"/>
                    <a:pt x="171" y="82"/>
                    <a:pt x="171" y="90"/>
                  </a:cubicBezTo>
                  <a:moveTo>
                    <a:pt x="90" y="180"/>
                  </a:moveTo>
                  <a:cubicBezTo>
                    <a:pt x="140" y="180"/>
                    <a:pt x="180" y="140"/>
                    <a:pt x="180" y="90"/>
                  </a:cubicBezTo>
                  <a:cubicBezTo>
                    <a:pt x="180" y="80"/>
                    <a:pt x="179" y="70"/>
                    <a:pt x="175" y="61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63" y="25"/>
                    <a:pt x="129" y="0"/>
                    <a:pt x="90" y="0"/>
                  </a:cubicBezTo>
                  <a:cubicBezTo>
                    <a:pt x="40" y="0"/>
                    <a:pt x="0" y="40"/>
                    <a:pt x="0" y="90"/>
                  </a:cubicBezTo>
                  <a:cubicBezTo>
                    <a:pt x="0" y="140"/>
                    <a:pt x="40" y="180"/>
                    <a:pt x="90" y="18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9" name="Freeform 1506">
              <a:extLst>
                <a:ext uri="{FF2B5EF4-FFF2-40B4-BE49-F238E27FC236}">
                  <a16:creationId xmlns:a16="http://schemas.microsoft.com/office/drawing/2014/main" id="{7A863BD0-E1F4-4C1F-8647-1F71D071F6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67264" y="5901896"/>
              <a:ext cx="79669" cy="79669"/>
            </a:xfrm>
            <a:custGeom>
              <a:avLst/>
              <a:gdLst>
                <a:gd name="T0" fmla="*/ 22 w 44"/>
                <a:gd name="T1" fmla="*/ 9 h 44"/>
                <a:gd name="T2" fmla="*/ 35 w 44"/>
                <a:gd name="T3" fmla="*/ 22 h 44"/>
                <a:gd name="T4" fmla="*/ 22 w 44"/>
                <a:gd name="T5" fmla="*/ 35 h 44"/>
                <a:gd name="T6" fmla="*/ 9 w 44"/>
                <a:gd name="T7" fmla="*/ 22 h 44"/>
                <a:gd name="T8" fmla="*/ 22 w 44"/>
                <a:gd name="T9" fmla="*/ 9 h 44"/>
                <a:gd name="T10" fmla="*/ 0 w 44"/>
                <a:gd name="T11" fmla="*/ 22 h 44"/>
                <a:gd name="T12" fmla="*/ 22 w 44"/>
                <a:gd name="T13" fmla="*/ 44 h 44"/>
                <a:gd name="T14" fmla="*/ 44 w 44"/>
                <a:gd name="T15" fmla="*/ 22 h 44"/>
                <a:gd name="T16" fmla="*/ 22 w 44"/>
                <a:gd name="T17" fmla="*/ 0 h 44"/>
                <a:gd name="T18" fmla="*/ 0 w 44"/>
                <a:gd name="T1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22" y="9"/>
                  </a:moveTo>
                  <a:cubicBezTo>
                    <a:pt x="29" y="9"/>
                    <a:pt x="35" y="15"/>
                    <a:pt x="35" y="22"/>
                  </a:cubicBezTo>
                  <a:cubicBezTo>
                    <a:pt x="35" y="29"/>
                    <a:pt x="29" y="35"/>
                    <a:pt x="22" y="35"/>
                  </a:cubicBezTo>
                  <a:cubicBezTo>
                    <a:pt x="15" y="35"/>
                    <a:pt x="9" y="29"/>
                    <a:pt x="9" y="22"/>
                  </a:cubicBezTo>
                  <a:cubicBezTo>
                    <a:pt x="9" y="15"/>
                    <a:pt x="15" y="9"/>
                    <a:pt x="22" y="9"/>
                  </a:cubicBezTo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0" name="Freeform 1507">
              <a:extLst>
                <a:ext uri="{FF2B5EF4-FFF2-40B4-BE49-F238E27FC236}">
                  <a16:creationId xmlns:a16="http://schemas.microsoft.com/office/drawing/2014/main" id="{21A074B9-4E96-47CE-8276-7E4E804AF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1039" y="5794407"/>
              <a:ext cx="17704" cy="16440"/>
            </a:xfrm>
            <a:custGeom>
              <a:avLst/>
              <a:gdLst>
                <a:gd name="T0" fmla="*/ 5 w 10"/>
                <a:gd name="T1" fmla="*/ 9 h 9"/>
                <a:gd name="T2" fmla="*/ 8 w 10"/>
                <a:gd name="T3" fmla="*/ 8 h 9"/>
                <a:gd name="T4" fmla="*/ 8 w 10"/>
                <a:gd name="T5" fmla="*/ 2 h 9"/>
                <a:gd name="T6" fmla="*/ 2 w 10"/>
                <a:gd name="T7" fmla="*/ 2 h 9"/>
                <a:gd name="T8" fmla="*/ 2 w 10"/>
                <a:gd name="T9" fmla="*/ 2 h 9"/>
                <a:gd name="T10" fmla="*/ 2 w 10"/>
                <a:gd name="T11" fmla="*/ 8 h 9"/>
                <a:gd name="T12" fmla="*/ 5 w 10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5" y="9"/>
                  </a:moveTo>
                  <a:cubicBezTo>
                    <a:pt x="6" y="9"/>
                    <a:pt x="7" y="9"/>
                    <a:pt x="8" y="8"/>
                  </a:cubicBezTo>
                  <a:cubicBezTo>
                    <a:pt x="10" y="6"/>
                    <a:pt x="10" y="4"/>
                    <a:pt x="8" y="2"/>
                  </a:cubicBezTo>
                  <a:cubicBezTo>
                    <a:pt x="6" y="0"/>
                    <a:pt x="3" y="0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4"/>
                    <a:pt x="0" y="6"/>
                    <a:pt x="2" y="8"/>
                  </a:cubicBezTo>
                  <a:cubicBezTo>
                    <a:pt x="3" y="9"/>
                    <a:pt x="4" y="9"/>
                    <a:pt x="5" y="9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31" name="Agrupar 1730">
            <a:extLst>
              <a:ext uri="{FF2B5EF4-FFF2-40B4-BE49-F238E27FC236}">
                <a16:creationId xmlns:a16="http://schemas.microsoft.com/office/drawing/2014/main" id="{1E7FF8CD-E428-42AE-BF71-0F44ABD24BA8}"/>
              </a:ext>
            </a:extLst>
          </p:cNvPr>
          <p:cNvGrpSpPr/>
          <p:nvPr/>
        </p:nvGrpSpPr>
        <p:grpSpPr>
          <a:xfrm>
            <a:off x="9638380" y="5729913"/>
            <a:ext cx="279473" cy="414784"/>
            <a:chOff x="10319992" y="5729913"/>
            <a:chExt cx="279473" cy="414784"/>
          </a:xfrm>
        </p:grpSpPr>
        <p:sp>
          <p:nvSpPr>
            <p:cNvPr id="911" name="Freeform 1508">
              <a:extLst>
                <a:ext uri="{FF2B5EF4-FFF2-40B4-BE49-F238E27FC236}">
                  <a16:creationId xmlns:a16="http://schemas.microsoft.com/office/drawing/2014/main" id="{69DDC4D7-663E-41A4-BC9E-31AD8F550A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4486" y="5877869"/>
              <a:ext cx="154279" cy="107490"/>
            </a:xfrm>
            <a:custGeom>
              <a:avLst/>
              <a:gdLst>
                <a:gd name="T0" fmla="*/ 7 w 85"/>
                <a:gd name="T1" fmla="*/ 6 h 59"/>
                <a:gd name="T2" fmla="*/ 78 w 85"/>
                <a:gd name="T3" fmla="*/ 6 h 59"/>
                <a:gd name="T4" fmla="*/ 78 w 85"/>
                <a:gd name="T5" fmla="*/ 52 h 59"/>
                <a:gd name="T6" fmla="*/ 7 w 85"/>
                <a:gd name="T7" fmla="*/ 52 h 59"/>
                <a:gd name="T8" fmla="*/ 7 w 85"/>
                <a:gd name="T9" fmla="*/ 6 h 59"/>
                <a:gd name="T10" fmla="*/ 81 w 85"/>
                <a:gd name="T11" fmla="*/ 0 h 59"/>
                <a:gd name="T12" fmla="*/ 4 w 85"/>
                <a:gd name="T13" fmla="*/ 0 h 59"/>
                <a:gd name="T14" fmla="*/ 0 w 85"/>
                <a:gd name="T15" fmla="*/ 3 h 59"/>
                <a:gd name="T16" fmla="*/ 0 w 85"/>
                <a:gd name="T17" fmla="*/ 56 h 59"/>
                <a:gd name="T18" fmla="*/ 4 w 85"/>
                <a:gd name="T19" fmla="*/ 59 h 59"/>
                <a:gd name="T20" fmla="*/ 81 w 85"/>
                <a:gd name="T21" fmla="*/ 59 h 59"/>
                <a:gd name="T22" fmla="*/ 85 w 85"/>
                <a:gd name="T23" fmla="*/ 56 h 59"/>
                <a:gd name="T24" fmla="*/ 85 w 85"/>
                <a:gd name="T25" fmla="*/ 3 h 59"/>
                <a:gd name="T26" fmla="*/ 81 w 85"/>
                <a:gd name="T2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5" h="59">
                  <a:moveTo>
                    <a:pt x="7" y="6"/>
                  </a:moveTo>
                  <a:cubicBezTo>
                    <a:pt x="78" y="6"/>
                    <a:pt x="78" y="6"/>
                    <a:pt x="78" y="6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" y="52"/>
                    <a:pt x="7" y="52"/>
                    <a:pt x="7" y="52"/>
                  </a:cubicBezTo>
                  <a:lnTo>
                    <a:pt x="7" y="6"/>
                  </a:lnTo>
                  <a:close/>
                  <a:moveTo>
                    <a:pt x="81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8"/>
                    <a:pt x="2" y="59"/>
                    <a:pt x="4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3" y="59"/>
                    <a:pt x="85" y="58"/>
                    <a:pt x="85" y="5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1"/>
                    <a:pt x="83" y="0"/>
                    <a:pt x="81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2" name="Freeform 1509">
              <a:extLst>
                <a:ext uri="{FF2B5EF4-FFF2-40B4-BE49-F238E27FC236}">
                  <a16:creationId xmlns:a16="http://schemas.microsoft.com/office/drawing/2014/main" id="{1842CBAF-5EF2-4D36-8F09-FDF61E0B2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1956" y="6014444"/>
              <a:ext cx="48054" cy="12646"/>
            </a:xfrm>
            <a:custGeom>
              <a:avLst/>
              <a:gdLst>
                <a:gd name="T0" fmla="*/ 21 w 26"/>
                <a:gd name="T1" fmla="*/ 0 h 7"/>
                <a:gd name="T2" fmla="*/ 5 w 26"/>
                <a:gd name="T3" fmla="*/ 0 h 7"/>
                <a:gd name="T4" fmla="*/ 5 w 26"/>
                <a:gd name="T5" fmla="*/ 7 h 7"/>
                <a:gd name="T6" fmla="*/ 21 w 26"/>
                <a:gd name="T7" fmla="*/ 7 h 7"/>
                <a:gd name="T8" fmla="*/ 21 w 2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7">
                  <a:moveTo>
                    <a:pt x="2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7"/>
                    <a:pt x="5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6" y="7"/>
                    <a:pt x="26" y="0"/>
                    <a:pt x="21" y="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3" name="Freeform 1510">
              <a:extLst>
                <a:ext uri="{FF2B5EF4-FFF2-40B4-BE49-F238E27FC236}">
                  <a16:creationId xmlns:a16="http://schemas.microsoft.com/office/drawing/2014/main" id="{2810FA8B-256F-4D81-A4DD-A298701D7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8863" y="6014444"/>
              <a:ext cx="45525" cy="12646"/>
            </a:xfrm>
            <a:custGeom>
              <a:avLst/>
              <a:gdLst>
                <a:gd name="T0" fmla="*/ 21 w 25"/>
                <a:gd name="T1" fmla="*/ 0 h 7"/>
                <a:gd name="T2" fmla="*/ 4 w 25"/>
                <a:gd name="T3" fmla="*/ 0 h 7"/>
                <a:gd name="T4" fmla="*/ 4 w 25"/>
                <a:gd name="T5" fmla="*/ 7 h 7"/>
                <a:gd name="T6" fmla="*/ 21 w 25"/>
                <a:gd name="T7" fmla="*/ 7 h 7"/>
                <a:gd name="T8" fmla="*/ 21 w 2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7">
                  <a:moveTo>
                    <a:pt x="21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7"/>
                    <a:pt x="4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5" y="7"/>
                    <a:pt x="25" y="0"/>
                    <a:pt x="21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4" name="Freeform 1511">
              <a:extLst>
                <a:ext uri="{FF2B5EF4-FFF2-40B4-BE49-F238E27FC236}">
                  <a16:creationId xmlns:a16="http://schemas.microsoft.com/office/drawing/2014/main" id="{A111D76A-82A4-4991-A06D-FDADCF092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3240" y="6014444"/>
              <a:ext cx="46790" cy="12646"/>
            </a:xfrm>
            <a:custGeom>
              <a:avLst/>
              <a:gdLst>
                <a:gd name="T0" fmla="*/ 21 w 26"/>
                <a:gd name="T1" fmla="*/ 0 h 7"/>
                <a:gd name="T2" fmla="*/ 5 w 26"/>
                <a:gd name="T3" fmla="*/ 0 h 7"/>
                <a:gd name="T4" fmla="*/ 5 w 26"/>
                <a:gd name="T5" fmla="*/ 7 h 7"/>
                <a:gd name="T6" fmla="*/ 21 w 26"/>
                <a:gd name="T7" fmla="*/ 7 h 7"/>
                <a:gd name="T8" fmla="*/ 21 w 2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7">
                  <a:moveTo>
                    <a:pt x="2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7"/>
                    <a:pt x="5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6" y="7"/>
                    <a:pt x="26" y="0"/>
                    <a:pt x="21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5" name="Freeform 1512">
              <a:extLst>
                <a:ext uri="{FF2B5EF4-FFF2-40B4-BE49-F238E27FC236}">
                  <a16:creationId xmlns:a16="http://schemas.microsoft.com/office/drawing/2014/main" id="{541735D4-C614-4EFD-9226-4B58D836C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1956" y="6052382"/>
              <a:ext cx="48054" cy="12646"/>
            </a:xfrm>
            <a:custGeom>
              <a:avLst/>
              <a:gdLst>
                <a:gd name="T0" fmla="*/ 21 w 26"/>
                <a:gd name="T1" fmla="*/ 0 h 7"/>
                <a:gd name="T2" fmla="*/ 5 w 26"/>
                <a:gd name="T3" fmla="*/ 0 h 7"/>
                <a:gd name="T4" fmla="*/ 5 w 26"/>
                <a:gd name="T5" fmla="*/ 7 h 7"/>
                <a:gd name="T6" fmla="*/ 21 w 26"/>
                <a:gd name="T7" fmla="*/ 7 h 7"/>
                <a:gd name="T8" fmla="*/ 21 w 2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7">
                  <a:moveTo>
                    <a:pt x="2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7"/>
                    <a:pt x="5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6" y="7"/>
                    <a:pt x="26" y="0"/>
                    <a:pt x="21" y="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6" name="Freeform 1513">
              <a:extLst>
                <a:ext uri="{FF2B5EF4-FFF2-40B4-BE49-F238E27FC236}">
                  <a16:creationId xmlns:a16="http://schemas.microsoft.com/office/drawing/2014/main" id="{18856C9B-BCBE-4B48-AB10-F867E1818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8863" y="6052382"/>
              <a:ext cx="45525" cy="12646"/>
            </a:xfrm>
            <a:custGeom>
              <a:avLst/>
              <a:gdLst>
                <a:gd name="T0" fmla="*/ 21 w 25"/>
                <a:gd name="T1" fmla="*/ 0 h 7"/>
                <a:gd name="T2" fmla="*/ 4 w 25"/>
                <a:gd name="T3" fmla="*/ 0 h 7"/>
                <a:gd name="T4" fmla="*/ 4 w 25"/>
                <a:gd name="T5" fmla="*/ 7 h 7"/>
                <a:gd name="T6" fmla="*/ 21 w 25"/>
                <a:gd name="T7" fmla="*/ 7 h 7"/>
                <a:gd name="T8" fmla="*/ 21 w 2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7">
                  <a:moveTo>
                    <a:pt x="21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7"/>
                    <a:pt x="4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5" y="7"/>
                    <a:pt x="25" y="0"/>
                    <a:pt x="21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7" name="Freeform 1514">
              <a:extLst>
                <a:ext uri="{FF2B5EF4-FFF2-40B4-BE49-F238E27FC236}">
                  <a16:creationId xmlns:a16="http://schemas.microsoft.com/office/drawing/2014/main" id="{BE4197B6-39BC-4D62-AD78-A028E06B0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3240" y="6052382"/>
              <a:ext cx="46790" cy="12646"/>
            </a:xfrm>
            <a:custGeom>
              <a:avLst/>
              <a:gdLst>
                <a:gd name="T0" fmla="*/ 21 w 26"/>
                <a:gd name="T1" fmla="*/ 0 h 7"/>
                <a:gd name="T2" fmla="*/ 5 w 26"/>
                <a:gd name="T3" fmla="*/ 0 h 7"/>
                <a:gd name="T4" fmla="*/ 5 w 26"/>
                <a:gd name="T5" fmla="*/ 7 h 7"/>
                <a:gd name="T6" fmla="*/ 21 w 26"/>
                <a:gd name="T7" fmla="*/ 7 h 7"/>
                <a:gd name="T8" fmla="*/ 21 w 2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7">
                  <a:moveTo>
                    <a:pt x="2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7"/>
                    <a:pt x="5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6" y="7"/>
                    <a:pt x="26" y="0"/>
                    <a:pt x="21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8" name="Freeform 1515">
              <a:extLst>
                <a:ext uri="{FF2B5EF4-FFF2-40B4-BE49-F238E27FC236}">
                  <a16:creationId xmlns:a16="http://schemas.microsoft.com/office/drawing/2014/main" id="{94E906E5-26AF-4295-8B5E-A485904DF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1956" y="6092849"/>
              <a:ext cx="48054" cy="12646"/>
            </a:xfrm>
            <a:custGeom>
              <a:avLst/>
              <a:gdLst>
                <a:gd name="T0" fmla="*/ 21 w 26"/>
                <a:gd name="T1" fmla="*/ 0 h 7"/>
                <a:gd name="T2" fmla="*/ 5 w 26"/>
                <a:gd name="T3" fmla="*/ 0 h 7"/>
                <a:gd name="T4" fmla="*/ 5 w 26"/>
                <a:gd name="T5" fmla="*/ 7 h 7"/>
                <a:gd name="T6" fmla="*/ 21 w 26"/>
                <a:gd name="T7" fmla="*/ 7 h 7"/>
                <a:gd name="T8" fmla="*/ 21 w 2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7">
                  <a:moveTo>
                    <a:pt x="2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7"/>
                    <a:pt x="5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6" y="7"/>
                    <a:pt x="26" y="0"/>
                    <a:pt x="21" y="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9" name="Freeform 1516">
              <a:extLst>
                <a:ext uri="{FF2B5EF4-FFF2-40B4-BE49-F238E27FC236}">
                  <a16:creationId xmlns:a16="http://schemas.microsoft.com/office/drawing/2014/main" id="{AACCE60E-E574-4732-AE5E-69FD86416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8863" y="6092849"/>
              <a:ext cx="45525" cy="12646"/>
            </a:xfrm>
            <a:custGeom>
              <a:avLst/>
              <a:gdLst>
                <a:gd name="T0" fmla="*/ 21 w 25"/>
                <a:gd name="T1" fmla="*/ 0 h 7"/>
                <a:gd name="T2" fmla="*/ 4 w 25"/>
                <a:gd name="T3" fmla="*/ 0 h 7"/>
                <a:gd name="T4" fmla="*/ 4 w 25"/>
                <a:gd name="T5" fmla="*/ 7 h 7"/>
                <a:gd name="T6" fmla="*/ 21 w 25"/>
                <a:gd name="T7" fmla="*/ 7 h 7"/>
                <a:gd name="T8" fmla="*/ 21 w 2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7">
                  <a:moveTo>
                    <a:pt x="21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7"/>
                    <a:pt x="4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5" y="7"/>
                    <a:pt x="25" y="0"/>
                    <a:pt x="21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0" name="Freeform 1517">
              <a:extLst>
                <a:ext uri="{FF2B5EF4-FFF2-40B4-BE49-F238E27FC236}">
                  <a16:creationId xmlns:a16="http://schemas.microsoft.com/office/drawing/2014/main" id="{9B0F9633-3DBB-4700-96F8-95671C4AF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3240" y="6092849"/>
              <a:ext cx="46790" cy="12646"/>
            </a:xfrm>
            <a:custGeom>
              <a:avLst/>
              <a:gdLst>
                <a:gd name="T0" fmla="*/ 21 w 26"/>
                <a:gd name="T1" fmla="*/ 0 h 7"/>
                <a:gd name="T2" fmla="*/ 5 w 26"/>
                <a:gd name="T3" fmla="*/ 0 h 7"/>
                <a:gd name="T4" fmla="*/ 5 w 26"/>
                <a:gd name="T5" fmla="*/ 7 h 7"/>
                <a:gd name="T6" fmla="*/ 21 w 26"/>
                <a:gd name="T7" fmla="*/ 7 h 7"/>
                <a:gd name="T8" fmla="*/ 21 w 2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7">
                  <a:moveTo>
                    <a:pt x="2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7"/>
                    <a:pt x="5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6" y="7"/>
                    <a:pt x="26" y="0"/>
                    <a:pt x="21" y="0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1" name="Freeform 1518">
              <a:extLst>
                <a:ext uri="{FF2B5EF4-FFF2-40B4-BE49-F238E27FC236}">
                  <a16:creationId xmlns:a16="http://schemas.microsoft.com/office/drawing/2014/main" id="{3B14ADAC-396C-4E64-B340-1B5CE3CB3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9992" y="5729913"/>
              <a:ext cx="279473" cy="414784"/>
            </a:xfrm>
            <a:custGeom>
              <a:avLst/>
              <a:gdLst>
                <a:gd name="T0" fmla="*/ 148 w 154"/>
                <a:gd name="T1" fmla="*/ 148 h 229"/>
                <a:gd name="T2" fmla="*/ 139 w 154"/>
                <a:gd name="T3" fmla="*/ 154 h 229"/>
                <a:gd name="T4" fmla="*/ 139 w 154"/>
                <a:gd name="T5" fmla="*/ 91 h 229"/>
                <a:gd name="T6" fmla="*/ 148 w 154"/>
                <a:gd name="T7" fmla="*/ 97 h 229"/>
                <a:gd name="T8" fmla="*/ 148 w 154"/>
                <a:gd name="T9" fmla="*/ 148 h 229"/>
                <a:gd name="T10" fmla="*/ 132 w 154"/>
                <a:gd name="T11" fmla="*/ 212 h 229"/>
                <a:gd name="T12" fmla="*/ 122 w 154"/>
                <a:gd name="T13" fmla="*/ 222 h 229"/>
                <a:gd name="T14" fmla="*/ 33 w 154"/>
                <a:gd name="T15" fmla="*/ 222 h 229"/>
                <a:gd name="T16" fmla="*/ 23 w 154"/>
                <a:gd name="T17" fmla="*/ 212 h 229"/>
                <a:gd name="T18" fmla="*/ 23 w 154"/>
                <a:gd name="T19" fmla="*/ 62 h 229"/>
                <a:gd name="T20" fmla="*/ 33 w 154"/>
                <a:gd name="T21" fmla="*/ 52 h 229"/>
                <a:gd name="T22" fmla="*/ 36 w 154"/>
                <a:gd name="T23" fmla="*/ 52 h 229"/>
                <a:gd name="T24" fmla="*/ 36 w 154"/>
                <a:gd name="T25" fmla="*/ 63 h 229"/>
                <a:gd name="T26" fmla="*/ 33 w 154"/>
                <a:gd name="T27" fmla="*/ 63 h 229"/>
                <a:gd name="T28" fmla="*/ 33 w 154"/>
                <a:gd name="T29" fmla="*/ 69 h 229"/>
                <a:gd name="T30" fmla="*/ 122 w 154"/>
                <a:gd name="T31" fmla="*/ 69 h 229"/>
                <a:gd name="T32" fmla="*/ 122 w 154"/>
                <a:gd name="T33" fmla="*/ 63 h 229"/>
                <a:gd name="T34" fmla="*/ 118 w 154"/>
                <a:gd name="T35" fmla="*/ 63 h 229"/>
                <a:gd name="T36" fmla="*/ 118 w 154"/>
                <a:gd name="T37" fmla="*/ 52 h 229"/>
                <a:gd name="T38" fmla="*/ 122 w 154"/>
                <a:gd name="T39" fmla="*/ 52 h 229"/>
                <a:gd name="T40" fmla="*/ 132 w 154"/>
                <a:gd name="T41" fmla="*/ 62 h 229"/>
                <a:gd name="T42" fmla="*/ 132 w 154"/>
                <a:gd name="T43" fmla="*/ 212 h 229"/>
                <a:gd name="T44" fmla="*/ 7 w 154"/>
                <a:gd name="T45" fmla="*/ 148 h 229"/>
                <a:gd name="T46" fmla="*/ 7 w 154"/>
                <a:gd name="T47" fmla="*/ 97 h 229"/>
                <a:gd name="T48" fmla="*/ 16 w 154"/>
                <a:gd name="T49" fmla="*/ 91 h 229"/>
                <a:gd name="T50" fmla="*/ 16 w 154"/>
                <a:gd name="T51" fmla="*/ 154 h 229"/>
                <a:gd name="T52" fmla="*/ 7 w 154"/>
                <a:gd name="T53" fmla="*/ 148 h 229"/>
                <a:gd name="T54" fmla="*/ 43 w 154"/>
                <a:gd name="T55" fmla="*/ 7 h 229"/>
                <a:gd name="T56" fmla="*/ 112 w 154"/>
                <a:gd name="T57" fmla="*/ 7 h 229"/>
                <a:gd name="T58" fmla="*/ 112 w 154"/>
                <a:gd name="T59" fmla="*/ 63 h 229"/>
                <a:gd name="T60" fmla="*/ 43 w 154"/>
                <a:gd name="T61" fmla="*/ 63 h 229"/>
                <a:gd name="T62" fmla="*/ 43 w 154"/>
                <a:gd name="T63" fmla="*/ 7 h 229"/>
                <a:gd name="T64" fmla="*/ 153 w 154"/>
                <a:gd name="T65" fmla="*/ 92 h 229"/>
                <a:gd name="T66" fmla="*/ 139 w 154"/>
                <a:gd name="T67" fmla="*/ 83 h 229"/>
                <a:gd name="T68" fmla="*/ 139 w 154"/>
                <a:gd name="T69" fmla="*/ 62 h 229"/>
                <a:gd name="T70" fmla="*/ 122 w 154"/>
                <a:gd name="T71" fmla="*/ 45 h 229"/>
                <a:gd name="T72" fmla="*/ 118 w 154"/>
                <a:gd name="T73" fmla="*/ 45 h 229"/>
                <a:gd name="T74" fmla="*/ 118 w 154"/>
                <a:gd name="T75" fmla="*/ 4 h 229"/>
                <a:gd name="T76" fmla="*/ 115 w 154"/>
                <a:gd name="T77" fmla="*/ 0 h 229"/>
                <a:gd name="T78" fmla="*/ 40 w 154"/>
                <a:gd name="T79" fmla="*/ 0 h 229"/>
                <a:gd name="T80" fmla="*/ 36 w 154"/>
                <a:gd name="T81" fmla="*/ 4 h 229"/>
                <a:gd name="T82" fmla="*/ 36 w 154"/>
                <a:gd name="T83" fmla="*/ 45 h 229"/>
                <a:gd name="T84" fmla="*/ 33 w 154"/>
                <a:gd name="T85" fmla="*/ 45 h 229"/>
                <a:gd name="T86" fmla="*/ 16 w 154"/>
                <a:gd name="T87" fmla="*/ 62 h 229"/>
                <a:gd name="T88" fmla="*/ 16 w 154"/>
                <a:gd name="T89" fmla="*/ 83 h 229"/>
                <a:gd name="T90" fmla="*/ 2 w 154"/>
                <a:gd name="T91" fmla="*/ 92 h 229"/>
                <a:gd name="T92" fmla="*/ 0 w 154"/>
                <a:gd name="T93" fmla="*/ 95 h 229"/>
                <a:gd name="T94" fmla="*/ 0 w 154"/>
                <a:gd name="T95" fmla="*/ 150 h 229"/>
                <a:gd name="T96" fmla="*/ 2 w 154"/>
                <a:gd name="T97" fmla="*/ 153 h 229"/>
                <a:gd name="T98" fmla="*/ 16 w 154"/>
                <a:gd name="T99" fmla="*/ 162 h 229"/>
                <a:gd name="T100" fmla="*/ 16 w 154"/>
                <a:gd name="T101" fmla="*/ 212 h 229"/>
                <a:gd name="T102" fmla="*/ 33 w 154"/>
                <a:gd name="T103" fmla="*/ 229 h 229"/>
                <a:gd name="T104" fmla="*/ 122 w 154"/>
                <a:gd name="T105" fmla="*/ 229 h 229"/>
                <a:gd name="T106" fmla="*/ 139 w 154"/>
                <a:gd name="T107" fmla="*/ 212 h 229"/>
                <a:gd name="T108" fmla="*/ 139 w 154"/>
                <a:gd name="T109" fmla="*/ 162 h 229"/>
                <a:gd name="T110" fmla="*/ 153 w 154"/>
                <a:gd name="T111" fmla="*/ 153 h 229"/>
                <a:gd name="T112" fmla="*/ 154 w 154"/>
                <a:gd name="T113" fmla="*/ 150 h 229"/>
                <a:gd name="T114" fmla="*/ 154 w 154"/>
                <a:gd name="T115" fmla="*/ 95 h 229"/>
                <a:gd name="T116" fmla="*/ 153 w 154"/>
                <a:gd name="T117" fmla="*/ 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4" h="229">
                  <a:moveTo>
                    <a:pt x="148" y="148"/>
                  </a:moveTo>
                  <a:cubicBezTo>
                    <a:pt x="139" y="154"/>
                    <a:pt x="139" y="154"/>
                    <a:pt x="139" y="154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48" y="97"/>
                    <a:pt x="148" y="97"/>
                    <a:pt x="148" y="97"/>
                  </a:cubicBezTo>
                  <a:lnTo>
                    <a:pt x="148" y="148"/>
                  </a:lnTo>
                  <a:close/>
                  <a:moveTo>
                    <a:pt x="132" y="212"/>
                  </a:moveTo>
                  <a:cubicBezTo>
                    <a:pt x="132" y="218"/>
                    <a:pt x="127" y="222"/>
                    <a:pt x="122" y="222"/>
                  </a:cubicBezTo>
                  <a:cubicBezTo>
                    <a:pt x="33" y="222"/>
                    <a:pt x="33" y="222"/>
                    <a:pt x="33" y="222"/>
                  </a:cubicBezTo>
                  <a:cubicBezTo>
                    <a:pt x="27" y="222"/>
                    <a:pt x="23" y="218"/>
                    <a:pt x="23" y="212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3" y="56"/>
                    <a:pt x="27" y="52"/>
                    <a:pt x="33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28" y="63"/>
                    <a:pt x="28" y="69"/>
                    <a:pt x="33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6" y="69"/>
                    <a:pt x="126" y="63"/>
                    <a:pt x="122" y="63"/>
                  </a:cubicBezTo>
                  <a:cubicBezTo>
                    <a:pt x="118" y="63"/>
                    <a:pt x="118" y="63"/>
                    <a:pt x="118" y="63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22" y="52"/>
                    <a:pt x="122" y="52"/>
                    <a:pt x="122" y="52"/>
                  </a:cubicBezTo>
                  <a:cubicBezTo>
                    <a:pt x="127" y="52"/>
                    <a:pt x="132" y="56"/>
                    <a:pt x="132" y="62"/>
                  </a:cubicBezTo>
                  <a:lnTo>
                    <a:pt x="132" y="212"/>
                  </a:lnTo>
                  <a:close/>
                  <a:moveTo>
                    <a:pt x="7" y="148"/>
                  </a:moveTo>
                  <a:cubicBezTo>
                    <a:pt x="7" y="97"/>
                    <a:pt x="7" y="97"/>
                    <a:pt x="7" y="97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154"/>
                    <a:pt x="16" y="154"/>
                    <a:pt x="16" y="154"/>
                  </a:cubicBezTo>
                  <a:lnTo>
                    <a:pt x="7" y="148"/>
                  </a:lnTo>
                  <a:close/>
                  <a:moveTo>
                    <a:pt x="43" y="7"/>
                  </a:moveTo>
                  <a:cubicBezTo>
                    <a:pt x="112" y="7"/>
                    <a:pt x="112" y="7"/>
                    <a:pt x="112" y="7"/>
                  </a:cubicBezTo>
                  <a:cubicBezTo>
                    <a:pt x="112" y="63"/>
                    <a:pt x="112" y="63"/>
                    <a:pt x="112" y="63"/>
                  </a:cubicBezTo>
                  <a:cubicBezTo>
                    <a:pt x="43" y="63"/>
                    <a:pt x="43" y="63"/>
                    <a:pt x="43" y="63"/>
                  </a:cubicBezTo>
                  <a:lnTo>
                    <a:pt x="43" y="7"/>
                  </a:lnTo>
                  <a:close/>
                  <a:moveTo>
                    <a:pt x="153" y="92"/>
                  </a:moveTo>
                  <a:cubicBezTo>
                    <a:pt x="139" y="83"/>
                    <a:pt x="139" y="83"/>
                    <a:pt x="139" y="83"/>
                  </a:cubicBezTo>
                  <a:cubicBezTo>
                    <a:pt x="139" y="62"/>
                    <a:pt x="139" y="62"/>
                    <a:pt x="139" y="62"/>
                  </a:cubicBezTo>
                  <a:cubicBezTo>
                    <a:pt x="139" y="53"/>
                    <a:pt x="131" y="45"/>
                    <a:pt x="122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8" y="2"/>
                    <a:pt x="117" y="0"/>
                    <a:pt x="11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8" y="0"/>
                    <a:pt x="36" y="2"/>
                    <a:pt x="36" y="4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24" y="45"/>
                    <a:pt x="16" y="53"/>
                    <a:pt x="16" y="62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1" y="93"/>
                    <a:pt x="0" y="94"/>
                    <a:pt x="0" y="95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51"/>
                    <a:pt x="1" y="152"/>
                    <a:pt x="2" y="153"/>
                  </a:cubicBezTo>
                  <a:cubicBezTo>
                    <a:pt x="16" y="162"/>
                    <a:pt x="16" y="162"/>
                    <a:pt x="16" y="162"/>
                  </a:cubicBezTo>
                  <a:cubicBezTo>
                    <a:pt x="16" y="212"/>
                    <a:pt x="16" y="212"/>
                    <a:pt x="16" y="212"/>
                  </a:cubicBezTo>
                  <a:cubicBezTo>
                    <a:pt x="16" y="221"/>
                    <a:pt x="24" y="229"/>
                    <a:pt x="33" y="229"/>
                  </a:cubicBezTo>
                  <a:cubicBezTo>
                    <a:pt x="122" y="229"/>
                    <a:pt x="122" y="229"/>
                    <a:pt x="122" y="229"/>
                  </a:cubicBezTo>
                  <a:cubicBezTo>
                    <a:pt x="131" y="229"/>
                    <a:pt x="139" y="221"/>
                    <a:pt x="139" y="212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4" y="152"/>
                    <a:pt x="154" y="151"/>
                    <a:pt x="154" y="150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4" y="94"/>
                    <a:pt x="154" y="93"/>
                    <a:pt x="153" y="92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2" name="Freeform 1519">
              <a:extLst>
                <a:ext uri="{FF2B5EF4-FFF2-40B4-BE49-F238E27FC236}">
                  <a16:creationId xmlns:a16="http://schemas.microsoft.com/office/drawing/2014/main" id="{07CBB273-B491-4AE1-A342-266885CA2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3571" y="5776702"/>
              <a:ext cx="96108" cy="40467"/>
            </a:xfrm>
            <a:custGeom>
              <a:avLst/>
              <a:gdLst>
                <a:gd name="T0" fmla="*/ 0 w 53"/>
                <a:gd name="T1" fmla="*/ 17 h 22"/>
                <a:gd name="T2" fmla="*/ 6 w 53"/>
                <a:gd name="T3" fmla="*/ 22 h 22"/>
                <a:gd name="T4" fmla="*/ 16 w 53"/>
                <a:gd name="T5" fmla="*/ 22 h 22"/>
                <a:gd name="T6" fmla="*/ 48 w 53"/>
                <a:gd name="T7" fmla="*/ 7 h 22"/>
                <a:gd name="T8" fmla="*/ 53 w 53"/>
                <a:gd name="T9" fmla="*/ 2 h 22"/>
                <a:gd name="T10" fmla="*/ 45 w 53"/>
                <a:gd name="T11" fmla="*/ 2 h 22"/>
                <a:gd name="T12" fmla="*/ 32 w 53"/>
                <a:gd name="T13" fmla="*/ 8 h 22"/>
                <a:gd name="T14" fmla="*/ 15 w 53"/>
                <a:gd name="T15" fmla="*/ 3 h 22"/>
                <a:gd name="T16" fmla="*/ 11 w 53"/>
                <a:gd name="T17" fmla="*/ 5 h 22"/>
                <a:gd name="T18" fmla="*/ 22 w 53"/>
                <a:gd name="T19" fmla="*/ 13 h 22"/>
                <a:gd name="T20" fmla="*/ 10 w 53"/>
                <a:gd name="T21" fmla="*/ 18 h 22"/>
                <a:gd name="T22" fmla="*/ 3 w 53"/>
                <a:gd name="T23" fmla="*/ 16 h 22"/>
                <a:gd name="T24" fmla="*/ 0 w 53"/>
                <a:gd name="T25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22">
                  <a:moveTo>
                    <a:pt x="0" y="17"/>
                  </a:moveTo>
                  <a:cubicBezTo>
                    <a:pt x="6" y="22"/>
                    <a:pt x="6" y="22"/>
                    <a:pt x="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52" y="6"/>
                    <a:pt x="53" y="2"/>
                  </a:cubicBezTo>
                  <a:cubicBezTo>
                    <a:pt x="53" y="2"/>
                    <a:pt x="51" y="0"/>
                    <a:pt x="45" y="2"/>
                  </a:cubicBezTo>
                  <a:cubicBezTo>
                    <a:pt x="42" y="3"/>
                    <a:pt x="32" y="8"/>
                    <a:pt x="32" y="8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3" y="16"/>
                    <a:pt x="3" y="16"/>
                    <a:pt x="3" y="16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32" name="Agrupar 1731">
            <a:extLst>
              <a:ext uri="{FF2B5EF4-FFF2-40B4-BE49-F238E27FC236}">
                <a16:creationId xmlns:a16="http://schemas.microsoft.com/office/drawing/2014/main" id="{A6189340-1CDF-46AE-B4E3-428178A1BE2A}"/>
              </a:ext>
            </a:extLst>
          </p:cNvPr>
          <p:cNvGrpSpPr/>
          <p:nvPr/>
        </p:nvGrpSpPr>
        <p:grpSpPr>
          <a:xfrm>
            <a:off x="8722820" y="5817169"/>
            <a:ext cx="295913" cy="293384"/>
            <a:chOff x="9404432" y="5817169"/>
            <a:chExt cx="295913" cy="293384"/>
          </a:xfrm>
        </p:grpSpPr>
        <p:sp>
          <p:nvSpPr>
            <p:cNvPr id="923" name="Freeform 1520">
              <a:extLst>
                <a:ext uri="{FF2B5EF4-FFF2-40B4-BE49-F238E27FC236}">
                  <a16:creationId xmlns:a16="http://schemas.microsoft.com/office/drawing/2014/main" id="{6D6A5F81-8E6D-446A-9352-1514592459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1105" y="5967655"/>
              <a:ext cx="222567" cy="118871"/>
            </a:xfrm>
            <a:custGeom>
              <a:avLst/>
              <a:gdLst>
                <a:gd name="T0" fmla="*/ 4 w 123"/>
                <a:gd name="T1" fmla="*/ 66 h 66"/>
                <a:gd name="T2" fmla="*/ 119 w 123"/>
                <a:gd name="T3" fmla="*/ 66 h 66"/>
                <a:gd name="T4" fmla="*/ 123 w 123"/>
                <a:gd name="T5" fmla="*/ 62 h 66"/>
                <a:gd name="T6" fmla="*/ 123 w 123"/>
                <a:gd name="T7" fmla="*/ 4 h 66"/>
                <a:gd name="T8" fmla="*/ 119 w 123"/>
                <a:gd name="T9" fmla="*/ 0 h 66"/>
                <a:gd name="T10" fmla="*/ 4 w 123"/>
                <a:gd name="T11" fmla="*/ 0 h 66"/>
                <a:gd name="T12" fmla="*/ 0 w 123"/>
                <a:gd name="T13" fmla="*/ 4 h 66"/>
                <a:gd name="T14" fmla="*/ 0 w 123"/>
                <a:gd name="T15" fmla="*/ 62 h 66"/>
                <a:gd name="T16" fmla="*/ 4 w 123"/>
                <a:gd name="T17" fmla="*/ 66 h 66"/>
                <a:gd name="T18" fmla="*/ 94 w 123"/>
                <a:gd name="T19" fmla="*/ 7 h 66"/>
                <a:gd name="T20" fmla="*/ 116 w 123"/>
                <a:gd name="T21" fmla="*/ 7 h 66"/>
                <a:gd name="T22" fmla="*/ 116 w 123"/>
                <a:gd name="T23" fmla="*/ 29 h 66"/>
                <a:gd name="T24" fmla="*/ 94 w 123"/>
                <a:gd name="T25" fmla="*/ 29 h 66"/>
                <a:gd name="T26" fmla="*/ 94 w 123"/>
                <a:gd name="T27" fmla="*/ 7 h 66"/>
                <a:gd name="T28" fmla="*/ 94 w 123"/>
                <a:gd name="T29" fmla="*/ 36 h 66"/>
                <a:gd name="T30" fmla="*/ 116 w 123"/>
                <a:gd name="T31" fmla="*/ 36 h 66"/>
                <a:gd name="T32" fmla="*/ 116 w 123"/>
                <a:gd name="T33" fmla="*/ 58 h 66"/>
                <a:gd name="T34" fmla="*/ 94 w 123"/>
                <a:gd name="T35" fmla="*/ 58 h 66"/>
                <a:gd name="T36" fmla="*/ 94 w 123"/>
                <a:gd name="T37" fmla="*/ 36 h 66"/>
                <a:gd name="T38" fmla="*/ 65 w 123"/>
                <a:gd name="T39" fmla="*/ 7 h 66"/>
                <a:gd name="T40" fmla="*/ 87 w 123"/>
                <a:gd name="T41" fmla="*/ 7 h 66"/>
                <a:gd name="T42" fmla="*/ 87 w 123"/>
                <a:gd name="T43" fmla="*/ 29 h 66"/>
                <a:gd name="T44" fmla="*/ 65 w 123"/>
                <a:gd name="T45" fmla="*/ 29 h 66"/>
                <a:gd name="T46" fmla="*/ 65 w 123"/>
                <a:gd name="T47" fmla="*/ 7 h 66"/>
                <a:gd name="T48" fmla="*/ 65 w 123"/>
                <a:gd name="T49" fmla="*/ 36 h 66"/>
                <a:gd name="T50" fmla="*/ 87 w 123"/>
                <a:gd name="T51" fmla="*/ 36 h 66"/>
                <a:gd name="T52" fmla="*/ 87 w 123"/>
                <a:gd name="T53" fmla="*/ 58 h 66"/>
                <a:gd name="T54" fmla="*/ 65 w 123"/>
                <a:gd name="T55" fmla="*/ 58 h 66"/>
                <a:gd name="T56" fmla="*/ 65 w 123"/>
                <a:gd name="T57" fmla="*/ 36 h 66"/>
                <a:gd name="T58" fmla="*/ 36 w 123"/>
                <a:gd name="T59" fmla="*/ 7 h 66"/>
                <a:gd name="T60" fmla="*/ 58 w 123"/>
                <a:gd name="T61" fmla="*/ 7 h 66"/>
                <a:gd name="T62" fmla="*/ 58 w 123"/>
                <a:gd name="T63" fmla="*/ 29 h 66"/>
                <a:gd name="T64" fmla="*/ 36 w 123"/>
                <a:gd name="T65" fmla="*/ 29 h 66"/>
                <a:gd name="T66" fmla="*/ 36 w 123"/>
                <a:gd name="T67" fmla="*/ 7 h 66"/>
                <a:gd name="T68" fmla="*/ 36 w 123"/>
                <a:gd name="T69" fmla="*/ 36 h 66"/>
                <a:gd name="T70" fmla="*/ 58 w 123"/>
                <a:gd name="T71" fmla="*/ 36 h 66"/>
                <a:gd name="T72" fmla="*/ 58 w 123"/>
                <a:gd name="T73" fmla="*/ 58 h 66"/>
                <a:gd name="T74" fmla="*/ 36 w 123"/>
                <a:gd name="T75" fmla="*/ 58 h 66"/>
                <a:gd name="T76" fmla="*/ 36 w 123"/>
                <a:gd name="T77" fmla="*/ 36 h 66"/>
                <a:gd name="T78" fmla="*/ 7 w 123"/>
                <a:gd name="T79" fmla="*/ 7 h 66"/>
                <a:gd name="T80" fmla="*/ 29 w 123"/>
                <a:gd name="T81" fmla="*/ 7 h 66"/>
                <a:gd name="T82" fmla="*/ 29 w 123"/>
                <a:gd name="T83" fmla="*/ 29 h 66"/>
                <a:gd name="T84" fmla="*/ 7 w 123"/>
                <a:gd name="T85" fmla="*/ 29 h 66"/>
                <a:gd name="T86" fmla="*/ 7 w 123"/>
                <a:gd name="T87" fmla="*/ 7 h 66"/>
                <a:gd name="T88" fmla="*/ 7 w 123"/>
                <a:gd name="T89" fmla="*/ 36 h 66"/>
                <a:gd name="T90" fmla="*/ 29 w 123"/>
                <a:gd name="T91" fmla="*/ 36 h 66"/>
                <a:gd name="T92" fmla="*/ 29 w 123"/>
                <a:gd name="T93" fmla="*/ 58 h 66"/>
                <a:gd name="T94" fmla="*/ 7 w 123"/>
                <a:gd name="T95" fmla="*/ 58 h 66"/>
                <a:gd name="T96" fmla="*/ 7 w 123"/>
                <a:gd name="T97" fmla="*/ 3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3" h="66">
                  <a:moveTo>
                    <a:pt x="4" y="66"/>
                  </a:moveTo>
                  <a:cubicBezTo>
                    <a:pt x="119" y="66"/>
                    <a:pt x="119" y="66"/>
                    <a:pt x="119" y="66"/>
                  </a:cubicBezTo>
                  <a:cubicBezTo>
                    <a:pt x="121" y="66"/>
                    <a:pt x="123" y="64"/>
                    <a:pt x="123" y="62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3" y="2"/>
                    <a:pt x="121" y="0"/>
                    <a:pt x="119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moveTo>
                    <a:pt x="94" y="7"/>
                  </a:moveTo>
                  <a:cubicBezTo>
                    <a:pt x="116" y="7"/>
                    <a:pt x="116" y="7"/>
                    <a:pt x="116" y="7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94" y="29"/>
                    <a:pt x="94" y="29"/>
                    <a:pt x="94" y="29"/>
                  </a:cubicBezTo>
                  <a:lnTo>
                    <a:pt x="94" y="7"/>
                  </a:lnTo>
                  <a:close/>
                  <a:moveTo>
                    <a:pt x="94" y="36"/>
                  </a:moveTo>
                  <a:cubicBezTo>
                    <a:pt x="116" y="36"/>
                    <a:pt x="116" y="36"/>
                    <a:pt x="116" y="36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94" y="58"/>
                    <a:pt x="94" y="58"/>
                    <a:pt x="94" y="58"/>
                  </a:cubicBezTo>
                  <a:lnTo>
                    <a:pt x="94" y="36"/>
                  </a:lnTo>
                  <a:close/>
                  <a:moveTo>
                    <a:pt x="65" y="7"/>
                  </a:moveTo>
                  <a:cubicBezTo>
                    <a:pt x="87" y="7"/>
                    <a:pt x="87" y="7"/>
                    <a:pt x="87" y="7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65" y="29"/>
                    <a:pt x="65" y="29"/>
                    <a:pt x="65" y="29"/>
                  </a:cubicBezTo>
                  <a:lnTo>
                    <a:pt x="65" y="7"/>
                  </a:lnTo>
                  <a:close/>
                  <a:moveTo>
                    <a:pt x="65" y="36"/>
                  </a:moveTo>
                  <a:cubicBezTo>
                    <a:pt x="87" y="36"/>
                    <a:pt x="87" y="36"/>
                    <a:pt x="87" y="3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65" y="58"/>
                    <a:pt x="65" y="58"/>
                    <a:pt x="65" y="58"/>
                  </a:cubicBezTo>
                  <a:lnTo>
                    <a:pt x="65" y="36"/>
                  </a:lnTo>
                  <a:close/>
                  <a:moveTo>
                    <a:pt x="36" y="7"/>
                  </a:moveTo>
                  <a:cubicBezTo>
                    <a:pt x="58" y="7"/>
                    <a:pt x="58" y="7"/>
                    <a:pt x="58" y="7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36" y="29"/>
                    <a:pt x="36" y="29"/>
                    <a:pt x="36" y="29"/>
                  </a:cubicBezTo>
                  <a:lnTo>
                    <a:pt x="36" y="7"/>
                  </a:lnTo>
                  <a:close/>
                  <a:moveTo>
                    <a:pt x="36" y="36"/>
                  </a:moveTo>
                  <a:cubicBezTo>
                    <a:pt x="58" y="36"/>
                    <a:pt x="58" y="36"/>
                    <a:pt x="58" y="36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36" y="58"/>
                    <a:pt x="36" y="58"/>
                    <a:pt x="36" y="58"/>
                  </a:cubicBezTo>
                  <a:lnTo>
                    <a:pt x="36" y="36"/>
                  </a:lnTo>
                  <a:close/>
                  <a:moveTo>
                    <a:pt x="7" y="7"/>
                  </a:moveTo>
                  <a:cubicBezTo>
                    <a:pt x="29" y="7"/>
                    <a:pt x="29" y="7"/>
                    <a:pt x="29" y="7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7" y="29"/>
                    <a:pt x="7" y="29"/>
                    <a:pt x="7" y="29"/>
                  </a:cubicBezTo>
                  <a:lnTo>
                    <a:pt x="7" y="7"/>
                  </a:lnTo>
                  <a:close/>
                  <a:moveTo>
                    <a:pt x="7" y="36"/>
                  </a:moveTo>
                  <a:cubicBezTo>
                    <a:pt x="29" y="36"/>
                    <a:pt x="29" y="36"/>
                    <a:pt x="29" y="36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7" y="58"/>
                    <a:pt x="7" y="58"/>
                    <a:pt x="7" y="58"/>
                  </a:cubicBezTo>
                  <a:lnTo>
                    <a:pt x="7" y="3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4" name="Freeform 1521">
              <a:extLst>
                <a:ext uri="{FF2B5EF4-FFF2-40B4-BE49-F238E27FC236}">
                  <a16:creationId xmlns:a16="http://schemas.microsoft.com/office/drawing/2014/main" id="{98DB27FB-9F9F-46C4-93EB-B53F4279A4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04432" y="5817169"/>
              <a:ext cx="295913" cy="293384"/>
            </a:xfrm>
            <a:custGeom>
              <a:avLst/>
              <a:gdLst>
                <a:gd name="T0" fmla="*/ 133 w 163"/>
                <a:gd name="T1" fmla="*/ 19 h 162"/>
                <a:gd name="T2" fmla="*/ 130 w 163"/>
                <a:gd name="T3" fmla="*/ 7 h 162"/>
                <a:gd name="T4" fmla="*/ 110 w 163"/>
                <a:gd name="T5" fmla="*/ 7 h 162"/>
                <a:gd name="T6" fmla="*/ 107 w 163"/>
                <a:gd name="T7" fmla="*/ 19 h 162"/>
                <a:gd name="T8" fmla="*/ 95 w 163"/>
                <a:gd name="T9" fmla="*/ 18 h 162"/>
                <a:gd name="T10" fmla="*/ 82 w 163"/>
                <a:gd name="T11" fmla="*/ 0 h 162"/>
                <a:gd name="T12" fmla="*/ 68 w 163"/>
                <a:gd name="T13" fmla="*/ 18 h 162"/>
                <a:gd name="T14" fmla="*/ 56 w 163"/>
                <a:gd name="T15" fmla="*/ 19 h 162"/>
                <a:gd name="T16" fmla="*/ 53 w 163"/>
                <a:gd name="T17" fmla="*/ 7 h 162"/>
                <a:gd name="T18" fmla="*/ 33 w 163"/>
                <a:gd name="T19" fmla="*/ 7 h 162"/>
                <a:gd name="T20" fmla="*/ 30 w 163"/>
                <a:gd name="T21" fmla="*/ 19 h 162"/>
                <a:gd name="T22" fmla="*/ 0 w 163"/>
                <a:gd name="T23" fmla="*/ 32 h 162"/>
                <a:gd name="T24" fmla="*/ 12 w 163"/>
                <a:gd name="T25" fmla="*/ 162 h 162"/>
                <a:gd name="T26" fmla="*/ 153 w 163"/>
                <a:gd name="T27" fmla="*/ 162 h 162"/>
                <a:gd name="T28" fmla="*/ 163 w 163"/>
                <a:gd name="T29" fmla="*/ 149 h 162"/>
                <a:gd name="T30" fmla="*/ 149 w 163"/>
                <a:gd name="T31" fmla="*/ 19 h 162"/>
                <a:gd name="T32" fmla="*/ 117 w 163"/>
                <a:gd name="T33" fmla="*/ 11 h 162"/>
                <a:gd name="T34" fmla="*/ 124 w 163"/>
                <a:gd name="T35" fmla="*/ 11 h 162"/>
                <a:gd name="T36" fmla="*/ 126 w 163"/>
                <a:gd name="T37" fmla="*/ 19 h 162"/>
                <a:gd name="T38" fmla="*/ 115 w 163"/>
                <a:gd name="T39" fmla="*/ 18 h 162"/>
                <a:gd name="T40" fmla="*/ 78 w 163"/>
                <a:gd name="T41" fmla="*/ 11 h 162"/>
                <a:gd name="T42" fmla="*/ 85 w 163"/>
                <a:gd name="T43" fmla="*/ 11 h 162"/>
                <a:gd name="T44" fmla="*/ 87 w 163"/>
                <a:gd name="T45" fmla="*/ 19 h 162"/>
                <a:gd name="T46" fmla="*/ 76 w 163"/>
                <a:gd name="T47" fmla="*/ 18 h 162"/>
                <a:gd name="T48" fmla="*/ 39 w 163"/>
                <a:gd name="T49" fmla="*/ 11 h 162"/>
                <a:gd name="T50" fmla="*/ 46 w 163"/>
                <a:gd name="T51" fmla="*/ 11 h 162"/>
                <a:gd name="T52" fmla="*/ 49 w 163"/>
                <a:gd name="T53" fmla="*/ 19 h 162"/>
                <a:gd name="T54" fmla="*/ 37 w 163"/>
                <a:gd name="T55" fmla="*/ 18 h 162"/>
                <a:gd name="T56" fmla="*/ 152 w 163"/>
                <a:gd name="T57" fmla="*/ 154 h 162"/>
                <a:gd name="T58" fmla="*/ 13 w 163"/>
                <a:gd name="T59" fmla="*/ 155 h 162"/>
                <a:gd name="T60" fmla="*/ 8 w 163"/>
                <a:gd name="T61" fmla="*/ 149 h 162"/>
                <a:gd name="T62" fmla="*/ 155 w 163"/>
                <a:gd name="T63" fmla="*/ 65 h 162"/>
                <a:gd name="T64" fmla="*/ 155 w 163"/>
                <a:gd name="T65" fmla="*/ 58 h 162"/>
                <a:gd name="T66" fmla="*/ 8 w 163"/>
                <a:gd name="T67" fmla="*/ 32 h 162"/>
                <a:gd name="T68" fmla="*/ 49 w 163"/>
                <a:gd name="T69" fmla="*/ 26 h 162"/>
                <a:gd name="T70" fmla="*/ 46 w 163"/>
                <a:gd name="T71" fmla="*/ 35 h 162"/>
                <a:gd name="T72" fmla="*/ 39 w 163"/>
                <a:gd name="T73" fmla="*/ 42 h 162"/>
                <a:gd name="T74" fmla="*/ 53 w 163"/>
                <a:gd name="T75" fmla="*/ 38 h 162"/>
                <a:gd name="T76" fmla="*/ 56 w 163"/>
                <a:gd name="T77" fmla="*/ 26 h 162"/>
                <a:gd name="T78" fmla="*/ 87 w 163"/>
                <a:gd name="T79" fmla="*/ 28 h 162"/>
                <a:gd name="T80" fmla="*/ 82 w 163"/>
                <a:gd name="T81" fmla="*/ 38 h 162"/>
                <a:gd name="T82" fmla="*/ 82 w 163"/>
                <a:gd name="T83" fmla="*/ 46 h 162"/>
                <a:gd name="T84" fmla="*/ 95 w 163"/>
                <a:gd name="T85" fmla="*/ 27 h 162"/>
                <a:gd name="T86" fmla="*/ 126 w 163"/>
                <a:gd name="T87" fmla="*/ 26 h 162"/>
                <a:gd name="T88" fmla="*/ 124 w 163"/>
                <a:gd name="T89" fmla="*/ 35 h 162"/>
                <a:gd name="T90" fmla="*/ 116 w 163"/>
                <a:gd name="T91" fmla="*/ 42 h 162"/>
                <a:gd name="T92" fmla="*/ 130 w 163"/>
                <a:gd name="T93" fmla="*/ 38 h 162"/>
                <a:gd name="T94" fmla="*/ 133 w 163"/>
                <a:gd name="T95" fmla="*/ 26 h 162"/>
                <a:gd name="T96" fmla="*/ 155 w 163"/>
                <a:gd name="T97" fmla="*/ 3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3" h="162">
                  <a:moveTo>
                    <a:pt x="149" y="19"/>
                  </a:moveTo>
                  <a:cubicBezTo>
                    <a:pt x="133" y="19"/>
                    <a:pt x="133" y="19"/>
                    <a:pt x="133" y="19"/>
                  </a:cubicBezTo>
                  <a:cubicBezTo>
                    <a:pt x="133" y="18"/>
                    <a:pt x="133" y="18"/>
                    <a:pt x="133" y="18"/>
                  </a:cubicBezTo>
                  <a:cubicBezTo>
                    <a:pt x="133" y="14"/>
                    <a:pt x="132" y="10"/>
                    <a:pt x="130" y="7"/>
                  </a:cubicBezTo>
                  <a:cubicBezTo>
                    <a:pt x="128" y="2"/>
                    <a:pt x="124" y="0"/>
                    <a:pt x="120" y="0"/>
                  </a:cubicBezTo>
                  <a:cubicBezTo>
                    <a:pt x="116" y="0"/>
                    <a:pt x="113" y="2"/>
                    <a:pt x="110" y="7"/>
                  </a:cubicBezTo>
                  <a:cubicBezTo>
                    <a:pt x="109" y="10"/>
                    <a:pt x="108" y="14"/>
                    <a:pt x="107" y="18"/>
                  </a:cubicBezTo>
                  <a:cubicBezTo>
                    <a:pt x="107" y="19"/>
                    <a:pt x="107" y="19"/>
                    <a:pt x="107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4" y="14"/>
                    <a:pt x="93" y="10"/>
                    <a:pt x="92" y="7"/>
                  </a:cubicBezTo>
                  <a:cubicBezTo>
                    <a:pt x="89" y="2"/>
                    <a:pt x="86" y="0"/>
                    <a:pt x="82" y="0"/>
                  </a:cubicBezTo>
                  <a:cubicBezTo>
                    <a:pt x="78" y="0"/>
                    <a:pt x="74" y="2"/>
                    <a:pt x="71" y="7"/>
                  </a:cubicBezTo>
                  <a:cubicBezTo>
                    <a:pt x="70" y="10"/>
                    <a:pt x="69" y="14"/>
                    <a:pt x="68" y="18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4"/>
                    <a:pt x="55" y="10"/>
                    <a:pt x="53" y="7"/>
                  </a:cubicBezTo>
                  <a:cubicBezTo>
                    <a:pt x="51" y="2"/>
                    <a:pt x="47" y="0"/>
                    <a:pt x="43" y="0"/>
                  </a:cubicBezTo>
                  <a:cubicBezTo>
                    <a:pt x="39" y="0"/>
                    <a:pt x="35" y="2"/>
                    <a:pt x="33" y="7"/>
                  </a:cubicBezTo>
                  <a:cubicBezTo>
                    <a:pt x="31" y="10"/>
                    <a:pt x="30" y="14"/>
                    <a:pt x="30" y="1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6" y="19"/>
                    <a:pt x="0" y="25"/>
                    <a:pt x="0" y="32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56"/>
                    <a:pt x="5" y="161"/>
                    <a:pt x="12" y="162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8" y="161"/>
                    <a:pt x="163" y="155"/>
                    <a:pt x="163" y="149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63" y="25"/>
                    <a:pt x="157" y="19"/>
                    <a:pt x="149" y="19"/>
                  </a:cubicBezTo>
                  <a:moveTo>
                    <a:pt x="115" y="18"/>
                  </a:moveTo>
                  <a:cubicBezTo>
                    <a:pt x="115" y="15"/>
                    <a:pt x="116" y="13"/>
                    <a:pt x="117" y="11"/>
                  </a:cubicBezTo>
                  <a:cubicBezTo>
                    <a:pt x="118" y="8"/>
                    <a:pt x="119" y="7"/>
                    <a:pt x="120" y="7"/>
                  </a:cubicBezTo>
                  <a:cubicBezTo>
                    <a:pt x="121" y="7"/>
                    <a:pt x="122" y="8"/>
                    <a:pt x="124" y="11"/>
                  </a:cubicBezTo>
                  <a:cubicBezTo>
                    <a:pt x="125" y="13"/>
                    <a:pt x="125" y="15"/>
                    <a:pt x="126" y="18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14" y="19"/>
                    <a:pt x="114" y="19"/>
                    <a:pt x="114" y="19"/>
                  </a:cubicBezTo>
                  <a:lnTo>
                    <a:pt x="115" y="18"/>
                  </a:lnTo>
                  <a:close/>
                  <a:moveTo>
                    <a:pt x="76" y="18"/>
                  </a:moveTo>
                  <a:cubicBezTo>
                    <a:pt x="76" y="15"/>
                    <a:pt x="77" y="13"/>
                    <a:pt x="78" y="11"/>
                  </a:cubicBezTo>
                  <a:cubicBezTo>
                    <a:pt x="79" y="8"/>
                    <a:pt x="81" y="7"/>
                    <a:pt x="82" y="7"/>
                  </a:cubicBezTo>
                  <a:cubicBezTo>
                    <a:pt x="82" y="7"/>
                    <a:pt x="84" y="8"/>
                    <a:pt x="85" y="11"/>
                  </a:cubicBezTo>
                  <a:cubicBezTo>
                    <a:pt x="86" y="13"/>
                    <a:pt x="87" y="15"/>
                    <a:pt x="87" y="18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76" y="19"/>
                    <a:pt x="76" y="19"/>
                    <a:pt x="76" y="19"/>
                  </a:cubicBezTo>
                  <a:lnTo>
                    <a:pt x="76" y="18"/>
                  </a:lnTo>
                  <a:close/>
                  <a:moveTo>
                    <a:pt x="37" y="18"/>
                  </a:moveTo>
                  <a:cubicBezTo>
                    <a:pt x="38" y="15"/>
                    <a:pt x="38" y="13"/>
                    <a:pt x="39" y="11"/>
                  </a:cubicBezTo>
                  <a:cubicBezTo>
                    <a:pt x="41" y="8"/>
                    <a:pt x="42" y="7"/>
                    <a:pt x="43" y="7"/>
                  </a:cubicBezTo>
                  <a:cubicBezTo>
                    <a:pt x="44" y="7"/>
                    <a:pt x="45" y="8"/>
                    <a:pt x="46" y="11"/>
                  </a:cubicBezTo>
                  <a:cubicBezTo>
                    <a:pt x="47" y="13"/>
                    <a:pt x="48" y="15"/>
                    <a:pt x="49" y="18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37" y="19"/>
                    <a:pt x="37" y="19"/>
                    <a:pt x="37" y="19"/>
                  </a:cubicBezTo>
                  <a:lnTo>
                    <a:pt x="37" y="18"/>
                  </a:lnTo>
                  <a:close/>
                  <a:moveTo>
                    <a:pt x="155" y="149"/>
                  </a:moveTo>
                  <a:cubicBezTo>
                    <a:pt x="155" y="151"/>
                    <a:pt x="154" y="153"/>
                    <a:pt x="152" y="154"/>
                  </a:cubicBezTo>
                  <a:cubicBezTo>
                    <a:pt x="152" y="154"/>
                    <a:pt x="152" y="155"/>
                    <a:pt x="152" y="155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10" y="154"/>
                    <a:pt x="8" y="152"/>
                    <a:pt x="8" y="149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55" y="65"/>
                    <a:pt x="155" y="65"/>
                    <a:pt x="155" y="65"/>
                  </a:cubicBezTo>
                  <a:lnTo>
                    <a:pt x="155" y="149"/>
                  </a:lnTo>
                  <a:close/>
                  <a:moveTo>
                    <a:pt x="155" y="58"/>
                  </a:moveTo>
                  <a:cubicBezTo>
                    <a:pt x="8" y="58"/>
                    <a:pt x="8" y="58"/>
                    <a:pt x="8" y="5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29"/>
                    <a:pt x="10" y="26"/>
                    <a:pt x="14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8" y="30"/>
                    <a:pt x="47" y="33"/>
                    <a:pt x="46" y="35"/>
                  </a:cubicBezTo>
                  <a:cubicBezTo>
                    <a:pt x="45" y="37"/>
                    <a:pt x="44" y="38"/>
                    <a:pt x="43" y="38"/>
                  </a:cubicBezTo>
                  <a:cubicBezTo>
                    <a:pt x="41" y="38"/>
                    <a:pt x="39" y="40"/>
                    <a:pt x="39" y="42"/>
                  </a:cubicBezTo>
                  <a:cubicBezTo>
                    <a:pt x="39" y="44"/>
                    <a:pt x="41" y="46"/>
                    <a:pt x="43" y="46"/>
                  </a:cubicBezTo>
                  <a:cubicBezTo>
                    <a:pt x="47" y="46"/>
                    <a:pt x="51" y="43"/>
                    <a:pt x="53" y="38"/>
                  </a:cubicBezTo>
                  <a:cubicBezTo>
                    <a:pt x="55" y="35"/>
                    <a:pt x="56" y="31"/>
                    <a:pt x="56" y="27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30"/>
                    <a:pt x="86" y="33"/>
                    <a:pt x="85" y="35"/>
                  </a:cubicBezTo>
                  <a:cubicBezTo>
                    <a:pt x="84" y="37"/>
                    <a:pt x="82" y="38"/>
                    <a:pt x="82" y="38"/>
                  </a:cubicBezTo>
                  <a:cubicBezTo>
                    <a:pt x="80" y="38"/>
                    <a:pt x="78" y="40"/>
                    <a:pt x="78" y="42"/>
                  </a:cubicBezTo>
                  <a:cubicBezTo>
                    <a:pt x="78" y="44"/>
                    <a:pt x="80" y="46"/>
                    <a:pt x="82" y="46"/>
                  </a:cubicBezTo>
                  <a:cubicBezTo>
                    <a:pt x="86" y="46"/>
                    <a:pt x="89" y="43"/>
                    <a:pt x="92" y="38"/>
                  </a:cubicBezTo>
                  <a:cubicBezTo>
                    <a:pt x="93" y="35"/>
                    <a:pt x="94" y="31"/>
                    <a:pt x="95" y="27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8"/>
                    <a:pt x="126" y="28"/>
                    <a:pt x="126" y="28"/>
                  </a:cubicBezTo>
                  <a:cubicBezTo>
                    <a:pt x="125" y="30"/>
                    <a:pt x="125" y="33"/>
                    <a:pt x="124" y="35"/>
                  </a:cubicBezTo>
                  <a:cubicBezTo>
                    <a:pt x="122" y="37"/>
                    <a:pt x="121" y="38"/>
                    <a:pt x="120" y="38"/>
                  </a:cubicBezTo>
                  <a:cubicBezTo>
                    <a:pt x="118" y="38"/>
                    <a:pt x="116" y="40"/>
                    <a:pt x="116" y="42"/>
                  </a:cubicBezTo>
                  <a:cubicBezTo>
                    <a:pt x="116" y="44"/>
                    <a:pt x="118" y="46"/>
                    <a:pt x="120" y="46"/>
                  </a:cubicBezTo>
                  <a:cubicBezTo>
                    <a:pt x="124" y="46"/>
                    <a:pt x="128" y="43"/>
                    <a:pt x="130" y="38"/>
                  </a:cubicBezTo>
                  <a:cubicBezTo>
                    <a:pt x="132" y="35"/>
                    <a:pt x="133" y="31"/>
                    <a:pt x="133" y="27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49" y="26"/>
                    <a:pt x="149" y="26"/>
                    <a:pt x="149" y="26"/>
                  </a:cubicBezTo>
                  <a:cubicBezTo>
                    <a:pt x="153" y="26"/>
                    <a:pt x="155" y="29"/>
                    <a:pt x="155" y="32"/>
                  </a:cubicBezTo>
                  <a:lnTo>
                    <a:pt x="155" y="58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33" name="Agrupar 1732">
            <a:extLst>
              <a:ext uri="{FF2B5EF4-FFF2-40B4-BE49-F238E27FC236}">
                <a16:creationId xmlns:a16="http://schemas.microsoft.com/office/drawing/2014/main" id="{2EE30BB1-56C2-4F26-9917-836601BC6419}"/>
              </a:ext>
            </a:extLst>
          </p:cNvPr>
          <p:cNvGrpSpPr/>
          <p:nvPr/>
        </p:nvGrpSpPr>
        <p:grpSpPr>
          <a:xfrm>
            <a:off x="7773116" y="5673006"/>
            <a:ext cx="306030" cy="483072"/>
            <a:chOff x="8454728" y="5673006"/>
            <a:chExt cx="306030" cy="483072"/>
          </a:xfrm>
        </p:grpSpPr>
        <p:sp>
          <p:nvSpPr>
            <p:cNvPr id="925" name="Freeform 1522">
              <a:extLst>
                <a:ext uri="{FF2B5EF4-FFF2-40B4-BE49-F238E27FC236}">
                  <a16:creationId xmlns:a16="http://schemas.microsoft.com/office/drawing/2014/main" id="{661C98B1-E987-4678-BE9A-061A97DB43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0137" y="6001799"/>
              <a:ext cx="232684" cy="42996"/>
            </a:xfrm>
            <a:custGeom>
              <a:avLst/>
              <a:gdLst>
                <a:gd name="T0" fmla="*/ 117 w 128"/>
                <a:gd name="T1" fmla="*/ 24 h 24"/>
                <a:gd name="T2" fmla="*/ 11 w 128"/>
                <a:gd name="T3" fmla="*/ 24 h 24"/>
                <a:gd name="T4" fmla="*/ 0 w 128"/>
                <a:gd name="T5" fmla="*/ 13 h 24"/>
                <a:gd name="T6" fmla="*/ 0 w 128"/>
                <a:gd name="T7" fmla="*/ 11 h 24"/>
                <a:gd name="T8" fmla="*/ 11 w 128"/>
                <a:gd name="T9" fmla="*/ 0 h 24"/>
                <a:gd name="T10" fmla="*/ 117 w 128"/>
                <a:gd name="T11" fmla="*/ 0 h 24"/>
                <a:gd name="T12" fmla="*/ 128 w 128"/>
                <a:gd name="T13" fmla="*/ 11 h 24"/>
                <a:gd name="T14" fmla="*/ 128 w 128"/>
                <a:gd name="T15" fmla="*/ 13 h 24"/>
                <a:gd name="T16" fmla="*/ 117 w 128"/>
                <a:gd name="T17" fmla="*/ 24 h 24"/>
                <a:gd name="T18" fmla="*/ 11 w 128"/>
                <a:gd name="T19" fmla="*/ 7 h 24"/>
                <a:gd name="T20" fmla="*/ 7 w 128"/>
                <a:gd name="T21" fmla="*/ 11 h 24"/>
                <a:gd name="T22" fmla="*/ 7 w 128"/>
                <a:gd name="T23" fmla="*/ 13 h 24"/>
                <a:gd name="T24" fmla="*/ 11 w 128"/>
                <a:gd name="T25" fmla="*/ 17 h 24"/>
                <a:gd name="T26" fmla="*/ 117 w 128"/>
                <a:gd name="T27" fmla="*/ 17 h 24"/>
                <a:gd name="T28" fmla="*/ 121 w 128"/>
                <a:gd name="T29" fmla="*/ 13 h 24"/>
                <a:gd name="T30" fmla="*/ 121 w 128"/>
                <a:gd name="T31" fmla="*/ 11 h 24"/>
                <a:gd name="T32" fmla="*/ 117 w 128"/>
                <a:gd name="T33" fmla="*/ 7 h 24"/>
                <a:gd name="T34" fmla="*/ 11 w 128"/>
                <a:gd name="T35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" h="24">
                  <a:moveTo>
                    <a:pt x="117" y="24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5" y="24"/>
                    <a:pt x="0" y="19"/>
                    <a:pt x="0" y="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3" y="0"/>
                    <a:pt x="128" y="5"/>
                    <a:pt x="128" y="11"/>
                  </a:cubicBezTo>
                  <a:cubicBezTo>
                    <a:pt x="128" y="13"/>
                    <a:pt x="128" y="13"/>
                    <a:pt x="128" y="13"/>
                  </a:cubicBezTo>
                  <a:cubicBezTo>
                    <a:pt x="128" y="19"/>
                    <a:pt x="123" y="24"/>
                    <a:pt x="117" y="24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6"/>
                    <a:pt x="9" y="17"/>
                    <a:pt x="11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17"/>
                    <a:pt x="121" y="16"/>
                    <a:pt x="121" y="13"/>
                  </a:cubicBezTo>
                  <a:cubicBezTo>
                    <a:pt x="121" y="11"/>
                    <a:pt x="121" y="11"/>
                    <a:pt x="121" y="11"/>
                  </a:cubicBezTo>
                  <a:cubicBezTo>
                    <a:pt x="121" y="9"/>
                    <a:pt x="120" y="7"/>
                    <a:pt x="117" y="7"/>
                  </a:cubicBezTo>
                  <a:lnTo>
                    <a:pt x="11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6" name="Freeform 1523">
              <a:extLst>
                <a:ext uri="{FF2B5EF4-FFF2-40B4-BE49-F238E27FC236}">
                  <a16:creationId xmlns:a16="http://schemas.microsoft.com/office/drawing/2014/main" id="{1D4F6347-2787-4C15-A45C-470C06B8F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21751" y="5923394"/>
              <a:ext cx="170719" cy="44260"/>
            </a:xfrm>
            <a:custGeom>
              <a:avLst/>
              <a:gdLst>
                <a:gd name="T0" fmla="*/ 84 w 94"/>
                <a:gd name="T1" fmla="*/ 24 h 24"/>
                <a:gd name="T2" fmla="*/ 11 w 94"/>
                <a:gd name="T3" fmla="*/ 24 h 24"/>
                <a:gd name="T4" fmla="*/ 0 w 94"/>
                <a:gd name="T5" fmla="*/ 13 h 24"/>
                <a:gd name="T6" fmla="*/ 0 w 94"/>
                <a:gd name="T7" fmla="*/ 11 h 24"/>
                <a:gd name="T8" fmla="*/ 11 w 94"/>
                <a:gd name="T9" fmla="*/ 0 h 24"/>
                <a:gd name="T10" fmla="*/ 84 w 94"/>
                <a:gd name="T11" fmla="*/ 0 h 24"/>
                <a:gd name="T12" fmla="*/ 94 w 94"/>
                <a:gd name="T13" fmla="*/ 11 h 24"/>
                <a:gd name="T14" fmla="*/ 94 w 94"/>
                <a:gd name="T15" fmla="*/ 13 h 24"/>
                <a:gd name="T16" fmla="*/ 84 w 94"/>
                <a:gd name="T17" fmla="*/ 24 h 24"/>
                <a:gd name="T18" fmla="*/ 11 w 94"/>
                <a:gd name="T19" fmla="*/ 7 h 24"/>
                <a:gd name="T20" fmla="*/ 7 w 94"/>
                <a:gd name="T21" fmla="*/ 11 h 24"/>
                <a:gd name="T22" fmla="*/ 7 w 94"/>
                <a:gd name="T23" fmla="*/ 13 h 24"/>
                <a:gd name="T24" fmla="*/ 11 w 94"/>
                <a:gd name="T25" fmla="*/ 17 h 24"/>
                <a:gd name="T26" fmla="*/ 84 w 94"/>
                <a:gd name="T27" fmla="*/ 17 h 24"/>
                <a:gd name="T28" fmla="*/ 88 w 94"/>
                <a:gd name="T29" fmla="*/ 13 h 24"/>
                <a:gd name="T30" fmla="*/ 88 w 94"/>
                <a:gd name="T31" fmla="*/ 11 h 24"/>
                <a:gd name="T32" fmla="*/ 84 w 94"/>
                <a:gd name="T33" fmla="*/ 7 h 24"/>
                <a:gd name="T34" fmla="*/ 11 w 94"/>
                <a:gd name="T35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24">
                  <a:moveTo>
                    <a:pt x="84" y="24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5" y="24"/>
                    <a:pt x="0" y="19"/>
                    <a:pt x="0" y="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0" y="0"/>
                    <a:pt x="94" y="5"/>
                    <a:pt x="94" y="11"/>
                  </a:cubicBezTo>
                  <a:cubicBezTo>
                    <a:pt x="94" y="13"/>
                    <a:pt x="94" y="13"/>
                    <a:pt x="94" y="13"/>
                  </a:cubicBezTo>
                  <a:cubicBezTo>
                    <a:pt x="94" y="19"/>
                    <a:pt x="90" y="24"/>
                    <a:pt x="84" y="24"/>
                  </a:cubicBezTo>
                  <a:close/>
                  <a:moveTo>
                    <a:pt x="11" y="7"/>
                  </a:moveTo>
                  <a:cubicBezTo>
                    <a:pt x="9" y="7"/>
                    <a:pt x="7" y="8"/>
                    <a:pt x="7" y="11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5"/>
                    <a:pt x="9" y="17"/>
                    <a:pt x="11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6" y="17"/>
                    <a:pt x="88" y="15"/>
                    <a:pt x="88" y="13"/>
                  </a:cubicBezTo>
                  <a:cubicBezTo>
                    <a:pt x="88" y="11"/>
                    <a:pt x="88" y="11"/>
                    <a:pt x="88" y="11"/>
                  </a:cubicBezTo>
                  <a:cubicBezTo>
                    <a:pt x="88" y="8"/>
                    <a:pt x="86" y="7"/>
                    <a:pt x="84" y="7"/>
                  </a:cubicBezTo>
                  <a:lnTo>
                    <a:pt x="11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7" name="Freeform 1524">
              <a:extLst>
                <a:ext uri="{FF2B5EF4-FFF2-40B4-BE49-F238E27FC236}">
                  <a16:creationId xmlns:a16="http://schemas.microsoft.com/office/drawing/2014/main" id="{F39D963B-FA2E-4240-84E7-8D727A275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891" y="5734971"/>
              <a:ext cx="61965" cy="201069"/>
            </a:xfrm>
            <a:custGeom>
              <a:avLst/>
              <a:gdLst>
                <a:gd name="T0" fmla="*/ 30 w 34"/>
                <a:gd name="T1" fmla="*/ 111 h 111"/>
                <a:gd name="T2" fmla="*/ 27 w 34"/>
                <a:gd name="T3" fmla="*/ 108 h 111"/>
                <a:gd name="T4" fmla="*/ 18 w 34"/>
                <a:gd name="T5" fmla="*/ 7 h 111"/>
                <a:gd name="T6" fmla="*/ 4 w 34"/>
                <a:gd name="T7" fmla="*/ 7 h 111"/>
                <a:gd name="T8" fmla="*/ 0 w 34"/>
                <a:gd name="T9" fmla="*/ 4 h 111"/>
                <a:gd name="T10" fmla="*/ 4 w 34"/>
                <a:gd name="T11" fmla="*/ 0 h 111"/>
                <a:gd name="T12" fmla="*/ 22 w 34"/>
                <a:gd name="T13" fmla="*/ 0 h 111"/>
                <a:gd name="T14" fmla="*/ 25 w 34"/>
                <a:gd name="T15" fmla="*/ 4 h 111"/>
                <a:gd name="T16" fmla="*/ 25 w 34"/>
                <a:gd name="T17" fmla="*/ 7 h 111"/>
                <a:gd name="T18" fmla="*/ 34 w 34"/>
                <a:gd name="T19" fmla="*/ 106 h 111"/>
                <a:gd name="T20" fmla="*/ 31 w 34"/>
                <a:gd name="T21" fmla="*/ 111 h 111"/>
                <a:gd name="T22" fmla="*/ 30 w 34"/>
                <a:gd name="T2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111">
                  <a:moveTo>
                    <a:pt x="30" y="111"/>
                  </a:moveTo>
                  <a:cubicBezTo>
                    <a:pt x="29" y="111"/>
                    <a:pt x="27" y="110"/>
                    <a:pt x="27" y="108"/>
                  </a:cubicBezTo>
                  <a:cubicBezTo>
                    <a:pt x="15" y="56"/>
                    <a:pt x="18" y="11"/>
                    <a:pt x="18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2"/>
                    <a:pt x="25" y="4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8"/>
                    <a:pt x="21" y="53"/>
                    <a:pt x="34" y="106"/>
                  </a:cubicBezTo>
                  <a:cubicBezTo>
                    <a:pt x="34" y="108"/>
                    <a:pt x="33" y="110"/>
                    <a:pt x="31" y="111"/>
                  </a:cubicBezTo>
                  <a:cubicBezTo>
                    <a:pt x="31" y="111"/>
                    <a:pt x="31" y="111"/>
                    <a:pt x="30" y="11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8" name="Freeform 1525">
              <a:extLst>
                <a:ext uri="{FF2B5EF4-FFF2-40B4-BE49-F238E27FC236}">
                  <a16:creationId xmlns:a16="http://schemas.microsoft.com/office/drawing/2014/main" id="{F2A9659D-7109-48E0-B929-F977F7201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797" y="5955009"/>
              <a:ext cx="29085" cy="56906"/>
            </a:xfrm>
            <a:custGeom>
              <a:avLst/>
              <a:gdLst>
                <a:gd name="T0" fmla="*/ 13 w 16"/>
                <a:gd name="T1" fmla="*/ 32 h 32"/>
                <a:gd name="T2" fmla="*/ 9 w 16"/>
                <a:gd name="T3" fmla="*/ 30 h 32"/>
                <a:gd name="T4" fmla="*/ 1 w 16"/>
                <a:gd name="T5" fmla="*/ 4 h 32"/>
                <a:gd name="T6" fmla="*/ 3 w 16"/>
                <a:gd name="T7" fmla="*/ 0 h 32"/>
                <a:gd name="T8" fmla="*/ 7 w 16"/>
                <a:gd name="T9" fmla="*/ 3 h 32"/>
                <a:gd name="T10" fmla="*/ 16 w 16"/>
                <a:gd name="T11" fmla="*/ 27 h 32"/>
                <a:gd name="T12" fmla="*/ 14 w 16"/>
                <a:gd name="T13" fmla="*/ 32 h 32"/>
                <a:gd name="T14" fmla="*/ 13 w 16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2">
                  <a:moveTo>
                    <a:pt x="13" y="32"/>
                  </a:moveTo>
                  <a:cubicBezTo>
                    <a:pt x="11" y="32"/>
                    <a:pt x="10" y="31"/>
                    <a:pt x="9" y="30"/>
                  </a:cubicBezTo>
                  <a:cubicBezTo>
                    <a:pt x="6" y="22"/>
                    <a:pt x="3" y="13"/>
                    <a:pt x="1" y="4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10" y="11"/>
                    <a:pt x="13" y="19"/>
                    <a:pt x="16" y="27"/>
                  </a:cubicBezTo>
                  <a:cubicBezTo>
                    <a:pt x="16" y="29"/>
                    <a:pt x="16" y="31"/>
                    <a:pt x="14" y="32"/>
                  </a:cubicBezTo>
                  <a:cubicBezTo>
                    <a:pt x="13" y="32"/>
                    <a:pt x="13" y="32"/>
                    <a:pt x="13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9" name="Freeform 1526">
              <a:extLst>
                <a:ext uri="{FF2B5EF4-FFF2-40B4-BE49-F238E27FC236}">
                  <a16:creationId xmlns:a16="http://schemas.microsoft.com/office/drawing/2014/main" id="{BD7A1503-BCC6-4AD5-97CC-CBD8D4202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6147" y="6032149"/>
              <a:ext cx="74611" cy="107490"/>
            </a:xfrm>
            <a:custGeom>
              <a:avLst/>
              <a:gdLst>
                <a:gd name="T0" fmla="*/ 37 w 41"/>
                <a:gd name="T1" fmla="*/ 59 h 59"/>
                <a:gd name="T2" fmla="*/ 34 w 41"/>
                <a:gd name="T3" fmla="*/ 58 h 59"/>
                <a:gd name="T4" fmla="*/ 0 w 41"/>
                <a:gd name="T5" fmla="*/ 5 h 59"/>
                <a:gd name="T6" fmla="*/ 2 w 41"/>
                <a:gd name="T7" fmla="*/ 1 h 59"/>
                <a:gd name="T8" fmla="*/ 6 w 41"/>
                <a:gd name="T9" fmla="*/ 2 h 59"/>
                <a:gd name="T10" fmla="*/ 40 w 41"/>
                <a:gd name="T11" fmla="*/ 54 h 59"/>
                <a:gd name="T12" fmla="*/ 39 w 41"/>
                <a:gd name="T13" fmla="*/ 59 h 59"/>
                <a:gd name="T14" fmla="*/ 37 w 41"/>
                <a:gd name="T1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59">
                  <a:moveTo>
                    <a:pt x="37" y="59"/>
                  </a:moveTo>
                  <a:cubicBezTo>
                    <a:pt x="36" y="59"/>
                    <a:pt x="35" y="59"/>
                    <a:pt x="34" y="58"/>
                  </a:cubicBezTo>
                  <a:cubicBezTo>
                    <a:pt x="21" y="43"/>
                    <a:pt x="10" y="25"/>
                    <a:pt x="0" y="5"/>
                  </a:cubicBezTo>
                  <a:cubicBezTo>
                    <a:pt x="0" y="4"/>
                    <a:pt x="0" y="1"/>
                    <a:pt x="2" y="1"/>
                  </a:cubicBezTo>
                  <a:cubicBezTo>
                    <a:pt x="4" y="0"/>
                    <a:pt x="6" y="1"/>
                    <a:pt x="6" y="2"/>
                  </a:cubicBezTo>
                  <a:cubicBezTo>
                    <a:pt x="16" y="21"/>
                    <a:pt x="27" y="39"/>
                    <a:pt x="40" y="54"/>
                  </a:cubicBezTo>
                  <a:cubicBezTo>
                    <a:pt x="41" y="55"/>
                    <a:pt x="41" y="57"/>
                    <a:pt x="39" y="59"/>
                  </a:cubicBezTo>
                  <a:cubicBezTo>
                    <a:pt x="39" y="59"/>
                    <a:pt x="38" y="59"/>
                    <a:pt x="37" y="5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0" name="Freeform 1527">
              <a:extLst>
                <a:ext uri="{FF2B5EF4-FFF2-40B4-BE49-F238E27FC236}">
                  <a16:creationId xmlns:a16="http://schemas.microsoft.com/office/drawing/2014/main" id="{74179D33-BD26-47DA-A9DF-55EE78C48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4631" y="5734971"/>
              <a:ext cx="60700" cy="201069"/>
            </a:xfrm>
            <a:custGeom>
              <a:avLst/>
              <a:gdLst>
                <a:gd name="T0" fmla="*/ 4 w 34"/>
                <a:gd name="T1" fmla="*/ 111 h 111"/>
                <a:gd name="T2" fmla="*/ 3 w 34"/>
                <a:gd name="T3" fmla="*/ 111 h 111"/>
                <a:gd name="T4" fmla="*/ 0 w 34"/>
                <a:gd name="T5" fmla="*/ 106 h 111"/>
                <a:gd name="T6" fmla="*/ 9 w 34"/>
                <a:gd name="T7" fmla="*/ 7 h 111"/>
                <a:gd name="T8" fmla="*/ 9 w 34"/>
                <a:gd name="T9" fmla="*/ 4 h 111"/>
                <a:gd name="T10" fmla="*/ 12 w 34"/>
                <a:gd name="T11" fmla="*/ 0 h 111"/>
                <a:gd name="T12" fmla="*/ 31 w 34"/>
                <a:gd name="T13" fmla="*/ 0 h 111"/>
                <a:gd name="T14" fmla="*/ 34 w 34"/>
                <a:gd name="T15" fmla="*/ 4 h 111"/>
                <a:gd name="T16" fmla="*/ 31 w 34"/>
                <a:gd name="T17" fmla="*/ 7 h 111"/>
                <a:gd name="T18" fmla="*/ 16 w 34"/>
                <a:gd name="T19" fmla="*/ 7 h 111"/>
                <a:gd name="T20" fmla="*/ 7 w 34"/>
                <a:gd name="T21" fmla="*/ 108 h 111"/>
                <a:gd name="T22" fmla="*/ 4 w 34"/>
                <a:gd name="T2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111">
                  <a:moveTo>
                    <a:pt x="4" y="111"/>
                  </a:moveTo>
                  <a:cubicBezTo>
                    <a:pt x="4" y="111"/>
                    <a:pt x="3" y="111"/>
                    <a:pt x="3" y="111"/>
                  </a:cubicBezTo>
                  <a:cubicBezTo>
                    <a:pt x="1" y="110"/>
                    <a:pt x="0" y="108"/>
                    <a:pt x="0" y="106"/>
                  </a:cubicBezTo>
                  <a:cubicBezTo>
                    <a:pt x="13" y="52"/>
                    <a:pt x="9" y="8"/>
                    <a:pt x="9" y="7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11" y="0"/>
                    <a:pt x="1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2"/>
                    <a:pt x="34" y="4"/>
                  </a:cubicBezTo>
                  <a:cubicBezTo>
                    <a:pt x="34" y="5"/>
                    <a:pt x="33" y="7"/>
                    <a:pt x="31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9"/>
                    <a:pt x="20" y="54"/>
                    <a:pt x="7" y="108"/>
                  </a:cubicBezTo>
                  <a:cubicBezTo>
                    <a:pt x="7" y="110"/>
                    <a:pt x="5" y="111"/>
                    <a:pt x="4" y="11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1" name="Freeform 1528">
              <a:extLst>
                <a:ext uri="{FF2B5EF4-FFF2-40B4-BE49-F238E27FC236}">
                  <a16:creationId xmlns:a16="http://schemas.microsoft.com/office/drawing/2014/main" id="{6A79D66F-A72E-4498-85C4-41E0C7111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603" y="5955009"/>
              <a:ext cx="29085" cy="59436"/>
            </a:xfrm>
            <a:custGeom>
              <a:avLst/>
              <a:gdLst>
                <a:gd name="T0" fmla="*/ 4 w 16"/>
                <a:gd name="T1" fmla="*/ 33 h 33"/>
                <a:gd name="T2" fmla="*/ 2 w 16"/>
                <a:gd name="T3" fmla="*/ 32 h 33"/>
                <a:gd name="T4" fmla="*/ 0 w 16"/>
                <a:gd name="T5" fmla="*/ 28 h 33"/>
                <a:gd name="T6" fmla="*/ 9 w 16"/>
                <a:gd name="T7" fmla="*/ 3 h 33"/>
                <a:gd name="T8" fmla="*/ 13 w 16"/>
                <a:gd name="T9" fmla="*/ 0 h 33"/>
                <a:gd name="T10" fmla="*/ 16 w 16"/>
                <a:gd name="T11" fmla="*/ 4 h 33"/>
                <a:gd name="T12" fmla="*/ 7 w 16"/>
                <a:gd name="T13" fmla="*/ 30 h 33"/>
                <a:gd name="T14" fmla="*/ 4 w 16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3">
                  <a:moveTo>
                    <a:pt x="4" y="33"/>
                  </a:moveTo>
                  <a:cubicBezTo>
                    <a:pt x="3" y="33"/>
                    <a:pt x="3" y="33"/>
                    <a:pt x="2" y="32"/>
                  </a:cubicBezTo>
                  <a:cubicBezTo>
                    <a:pt x="0" y="32"/>
                    <a:pt x="0" y="30"/>
                    <a:pt x="0" y="28"/>
                  </a:cubicBezTo>
                  <a:cubicBezTo>
                    <a:pt x="4" y="20"/>
                    <a:pt x="6" y="11"/>
                    <a:pt x="9" y="3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5" y="1"/>
                    <a:pt x="16" y="3"/>
                    <a:pt x="16" y="4"/>
                  </a:cubicBezTo>
                  <a:cubicBezTo>
                    <a:pt x="13" y="13"/>
                    <a:pt x="10" y="22"/>
                    <a:pt x="7" y="30"/>
                  </a:cubicBezTo>
                  <a:cubicBezTo>
                    <a:pt x="6" y="32"/>
                    <a:pt x="5" y="33"/>
                    <a:pt x="4" y="3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2" name="Freeform 1529">
              <a:extLst>
                <a:ext uri="{FF2B5EF4-FFF2-40B4-BE49-F238E27FC236}">
                  <a16:creationId xmlns:a16="http://schemas.microsoft.com/office/drawing/2014/main" id="{22992208-FAF7-4375-B017-0AB61B7DD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728" y="6032149"/>
              <a:ext cx="75875" cy="107490"/>
            </a:xfrm>
            <a:custGeom>
              <a:avLst/>
              <a:gdLst>
                <a:gd name="T0" fmla="*/ 4 w 42"/>
                <a:gd name="T1" fmla="*/ 59 h 59"/>
                <a:gd name="T2" fmla="*/ 2 w 42"/>
                <a:gd name="T3" fmla="*/ 59 h 59"/>
                <a:gd name="T4" fmla="*/ 2 w 42"/>
                <a:gd name="T5" fmla="*/ 54 h 59"/>
                <a:gd name="T6" fmla="*/ 35 w 42"/>
                <a:gd name="T7" fmla="*/ 2 h 59"/>
                <a:gd name="T8" fmla="*/ 39 w 42"/>
                <a:gd name="T9" fmla="*/ 1 h 59"/>
                <a:gd name="T10" fmla="*/ 41 w 42"/>
                <a:gd name="T11" fmla="*/ 5 h 59"/>
                <a:gd name="T12" fmla="*/ 7 w 42"/>
                <a:gd name="T13" fmla="*/ 58 h 59"/>
                <a:gd name="T14" fmla="*/ 4 w 42"/>
                <a:gd name="T1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59">
                  <a:moveTo>
                    <a:pt x="4" y="59"/>
                  </a:moveTo>
                  <a:cubicBezTo>
                    <a:pt x="3" y="59"/>
                    <a:pt x="3" y="59"/>
                    <a:pt x="2" y="59"/>
                  </a:cubicBezTo>
                  <a:cubicBezTo>
                    <a:pt x="1" y="57"/>
                    <a:pt x="0" y="55"/>
                    <a:pt x="2" y="54"/>
                  </a:cubicBezTo>
                  <a:cubicBezTo>
                    <a:pt x="15" y="39"/>
                    <a:pt x="26" y="21"/>
                    <a:pt x="35" y="2"/>
                  </a:cubicBezTo>
                  <a:cubicBezTo>
                    <a:pt x="36" y="1"/>
                    <a:pt x="38" y="0"/>
                    <a:pt x="39" y="1"/>
                  </a:cubicBezTo>
                  <a:cubicBezTo>
                    <a:pt x="41" y="1"/>
                    <a:pt x="42" y="4"/>
                    <a:pt x="41" y="5"/>
                  </a:cubicBezTo>
                  <a:cubicBezTo>
                    <a:pt x="32" y="25"/>
                    <a:pt x="20" y="43"/>
                    <a:pt x="7" y="58"/>
                  </a:cubicBezTo>
                  <a:cubicBezTo>
                    <a:pt x="6" y="59"/>
                    <a:pt x="5" y="59"/>
                    <a:pt x="4" y="5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3" name="Freeform 1530">
              <a:extLst>
                <a:ext uri="{FF2B5EF4-FFF2-40B4-BE49-F238E27FC236}">
                  <a16:creationId xmlns:a16="http://schemas.microsoft.com/office/drawing/2014/main" id="{FC8C38B0-15F6-485F-A310-36BC21549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8191" y="6065028"/>
              <a:ext cx="139104" cy="91050"/>
            </a:xfrm>
            <a:custGeom>
              <a:avLst/>
              <a:gdLst>
                <a:gd name="T0" fmla="*/ 73 w 77"/>
                <a:gd name="T1" fmla="*/ 50 h 50"/>
                <a:gd name="T2" fmla="*/ 72 w 77"/>
                <a:gd name="T3" fmla="*/ 50 h 50"/>
                <a:gd name="T4" fmla="*/ 69 w 77"/>
                <a:gd name="T5" fmla="*/ 46 h 50"/>
                <a:gd name="T6" fmla="*/ 70 w 77"/>
                <a:gd name="T7" fmla="*/ 38 h 50"/>
                <a:gd name="T8" fmla="*/ 39 w 77"/>
                <a:gd name="T9" fmla="*/ 6 h 50"/>
                <a:gd name="T10" fmla="*/ 7 w 77"/>
                <a:gd name="T11" fmla="*/ 38 h 50"/>
                <a:gd name="T12" fmla="*/ 8 w 77"/>
                <a:gd name="T13" fmla="*/ 45 h 50"/>
                <a:gd name="T14" fmla="*/ 5 w 77"/>
                <a:gd name="T15" fmla="*/ 49 h 50"/>
                <a:gd name="T16" fmla="*/ 1 w 77"/>
                <a:gd name="T17" fmla="*/ 46 h 50"/>
                <a:gd name="T18" fmla="*/ 0 w 77"/>
                <a:gd name="T19" fmla="*/ 38 h 50"/>
                <a:gd name="T20" fmla="*/ 39 w 77"/>
                <a:gd name="T21" fmla="*/ 0 h 50"/>
                <a:gd name="T22" fmla="*/ 77 w 77"/>
                <a:gd name="T23" fmla="*/ 38 h 50"/>
                <a:gd name="T24" fmla="*/ 76 w 77"/>
                <a:gd name="T25" fmla="*/ 48 h 50"/>
                <a:gd name="T26" fmla="*/ 73 w 77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" h="50">
                  <a:moveTo>
                    <a:pt x="73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0" y="50"/>
                    <a:pt x="69" y="48"/>
                    <a:pt x="69" y="46"/>
                  </a:cubicBezTo>
                  <a:cubicBezTo>
                    <a:pt x="70" y="44"/>
                    <a:pt x="70" y="41"/>
                    <a:pt x="70" y="38"/>
                  </a:cubicBezTo>
                  <a:cubicBezTo>
                    <a:pt x="70" y="21"/>
                    <a:pt x="56" y="6"/>
                    <a:pt x="39" y="6"/>
                  </a:cubicBezTo>
                  <a:cubicBezTo>
                    <a:pt x="21" y="6"/>
                    <a:pt x="7" y="21"/>
                    <a:pt x="7" y="38"/>
                  </a:cubicBezTo>
                  <a:cubicBezTo>
                    <a:pt x="7" y="40"/>
                    <a:pt x="7" y="42"/>
                    <a:pt x="8" y="45"/>
                  </a:cubicBezTo>
                  <a:cubicBezTo>
                    <a:pt x="8" y="46"/>
                    <a:pt x="7" y="48"/>
                    <a:pt x="5" y="49"/>
                  </a:cubicBezTo>
                  <a:cubicBezTo>
                    <a:pt x="3" y="49"/>
                    <a:pt x="1" y="48"/>
                    <a:pt x="1" y="46"/>
                  </a:cubicBezTo>
                  <a:cubicBezTo>
                    <a:pt x="0" y="43"/>
                    <a:pt x="0" y="41"/>
                    <a:pt x="0" y="38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0" y="0"/>
                    <a:pt x="77" y="17"/>
                    <a:pt x="77" y="38"/>
                  </a:cubicBezTo>
                  <a:cubicBezTo>
                    <a:pt x="77" y="41"/>
                    <a:pt x="77" y="45"/>
                    <a:pt x="76" y="48"/>
                  </a:cubicBezTo>
                  <a:cubicBezTo>
                    <a:pt x="76" y="49"/>
                    <a:pt x="74" y="50"/>
                    <a:pt x="73" y="5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4" name="Freeform 1531">
              <a:extLst>
                <a:ext uri="{FF2B5EF4-FFF2-40B4-BE49-F238E27FC236}">
                  <a16:creationId xmlns:a16="http://schemas.microsoft.com/office/drawing/2014/main" id="{759186BD-7CF1-40A2-A9FE-EAA74D8B55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1187" y="5700827"/>
              <a:ext cx="53113" cy="46790"/>
            </a:xfrm>
            <a:custGeom>
              <a:avLst/>
              <a:gdLst>
                <a:gd name="T0" fmla="*/ 17 w 29"/>
                <a:gd name="T1" fmla="*/ 26 h 26"/>
                <a:gd name="T2" fmla="*/ 12 w 29"/>
                <a:gd name="T3" fmla="*/ 26 h 26"/>
                <a:gd name="T4" fmla="*/ 0 w 29"/>
                <a:gd name="T5" fmla="*/ 14 h 26"/>
                <a:gd name="T6" fmla="*/ 0 w 29"/>
                <a:gd name="T7" fmla="*/ 11 h 26"/>
                <a:gd name="T8" fmla="*/ 12 w 29"/>
                <a:gd name="T9" fmla="*/ 0 h 26"/>
                <a:gd name="T10" fmla="*/ 17 w 29"/>
                <a:gd name="T11" fmla="*/ 0 h 26"/>
                <a:gd name="T12" fmla="*/ 29 w 29"/>
                <a:gd name="T13" fmla="*/ 11 h 26"/>
                <a:gd name="T14" fmla="*/ 29 w 29"/>
                <a:gd name="T15" fmla="*/ 14 h 26"/>
                <a:gd name="T16" fmla="*/ 17 w 29"/>
                <a:gd name="T17" fmla="*/ 26 h 26"/>
                <a:gd name="T18" fmla="*/ 12 w 29"/>
                <a:gd name="T19" fmla="*/ 6 h 26"/>
                <a:gd name="T20" fmla="*/ 7 w 29"/>
                <a:gd name="T21" fmla="*/ 11 h 26"/>
                <a:gd name="T22" fmla="*/ 7 w 29"/>
                <a:gd name="T23" fmla="*/ 14 h 26"/>
                <a:gd name="T24" fmla="*/ 12 w 29"/>
                <a:gd name="T25" fmla="*/ 19 h 26"/>
                <a:gd name="T26" fmla="*/ 17 w 29"/>
                <a:gd name="T27" fmla="*/ 19 h 26"/>
                <a:gd name="T28" fmla="*/ 22 w 29"/>
                <a:gd name="T29" fmla="*/ 14 h 26"/>
                <a:gd name="T30" fmla="*/ 22 w 29"/>
                <a:gd name="T31" fmla="*/ 11 h 26"/>
                <a:gd name="T32" fmla="*/ 17 w 29"/>
                <a:gd name="T33" fmla="*/ 6 h 26"/>
                <a:gd name="T34" fmla="*/ 12 w 29"/>
                <a:gd name="T35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26">
                  <a:moveTo>
                    <a:pt x="17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5" y="26"/>
                    <a:pt x="0" y="21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0"/>
                    <a:pt x="29" y="5"/>
                    <a:pt x="29" y="11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21"/>
                    <a:pt x="23" y="26"/>
                    <a:pt x="17" y="26"/>
                  </a:cubicBezTo>
                  <a:close/>
                  <a:moveTo>
                    <a:pt x="12" y="6"/>
                  </a:moveTo>
                  <a:cubicBezTo>
                    <a:pt x="9" y="6"/>
                    <a:pt x="7" y="9"/>
                    <a:pt x="7" y="11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7"/>
                    <a:pt x="9" y="19"/>
                    <a:pt x="12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2" y="17"/>
                    <a:pt x="22" y="14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0" y="6"/>
                    <a:pt x="17" y="6"/>
                  </a:cubicBezTo>
                  <a:lnTo>
                    <a:pt x="12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5" name="Freeform 1532">
              <a:extLst>
                <a:ext uri="{FF2B5EF4-FFF2-40B4-BE49-F238E27FC236}">
                  <a16:creationId xmlns:a16="http://schemas.microsoft.com/office/drawing/2014/main" id="{80FBE01F-657D-4FCB-8C98-6DFC1647A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891" y="5673006"/>
              <a:ext cx="12646" cy="36673"/>
            </a:xfrm>
            <a:custGeom>
              <a:avLst/>
              <a:gdLst>
                <a:gd name="T0" fmla="*/ 4 w 7"/>
                <a:gd name="T1" fmla="*/ 20 h 20"/>
                <a:gd name="T2" fmla="*/ 0 w 7"/>
                <a:gd name="T3" fmla="*/ 17 h 20"/>
                <a:gd name="T4" fmla="*/ 0 w 7"/>
                <a:gd name="T5" fmla="*/ 3 h 20"/>
                <a:gd name="T6" fmla="*/ 4 w 7"/>
                <a:gd name="T7" fmla="*/ 0 h 20"/>
                <a:gd name="T8" fmla="*/ 7 w 7"/>
                <a:gd name="T9" fmla="*/ 3 h 20"/>
                <a:gd name="T10" fmla="*/ 7 w 7"/>
                <a:gd name="T11" fmla="*/ 17 h 20"/>
                <a:gd name="T12" fmla="*/ 4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4" y="20"/>
                  </a:moveTo>
                  <a:cubicBezTo>
                    <a:pt x="2" y="20"/>
                    <a:pt x="0" y="18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8"/>
                    <a:pt x="6" y="20"/>
                    <a:pt x="4" y="2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6" name="Freeform 1533">
              <a:extLst>
                <a:ext uri="{FF2B5EF4-FFF2-40B4-BE49-F238E27FC236}">
                  <a16:creationId xmlns:a16="http://schemas.microsoft.com/office/drawing/2014/main" id="{FB084E09-FA78-4EBB-94E2-E661855B7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9806" y="5955009"/>
              <a:ext cx="29085" cy="59436"/>
            </a:xfrm>
            <a:custGeom>
              <a:avLst/>
              <a:gdLst>
                <a:gd name="T0" fmla="*/ 4 w 16"/>
                <a:gd name="T1" fmla="*/ 33 h 33"/>
                <a:gd name="T2" fmla="*/ 3 w 16"/>
                <a:gd name="T3" fmla="*/ 33 h 33"/>
                <a:gd name="T4" fmla="*/ 0 w 16"/>
                <a:gd name="T5" fmla="*/ 28 h 33"/>
                <a:gd name="T6" fmla="*/ 9 w 16"/>
                <a:gd name="T7" fmla="*/ 2 h 33"/>
                <a:gd name="T8" fmla="*/ 13 w 16"/>
                <a:gd name="T9" fmla="*/ 0 h 33"/>
                <a:gd name="T10" fmla="*/ 15 w 16"/>
                <a:gd name="T11" fmla="*/ 5 h 33"/>
                <a:gd name="T12" fmla="*/ 7 w 16"/>
                <a:gd name="T13" fmla="*/ 31 h 33"/>
                <a:gd name="T14" fmla="*/ 4 w 16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3">
                  <a:moveTo>
                    <a:pt x="4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5" y="1"/>
                    <a:pt x="16" y="3"/>
                    <a:pt x="15" y="5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6" y="32"/>
                    <a:pt x="5" y="33"/>
                    <a:pt x="4" y="3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7" name="Freeform 1534">
              <a:extLst>
                <a:ext uri="{FF2B5EF4-FFF2-40B4-BE49-F238E27FC236}">
                  <a16:creationId xmlns:a16="http://schemas.microsoft.com/office/drawing/2014/main" id="{A0404AB1-2370-4E54-BC7D-D66B72E93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5331" y="5955009"/>
              <a:ext cx="29085" cy="59436"/>
            </a:xfrm>
            <a:custGeom>
              <a:avLst/>
              <a:gdLst>
                <a:gd name="T0" fmla="*/ 12 w 16"/>
                <a:gd name="T1" fmla="*/ 33 h 33"/>
                <a:gd name="T2" fmla="*/ 9 w 16"/>
                <a:gd name="T3" fmla="*/ 30 h 33"/>
                <a:gd name="T4" fmla="*/ 1 w 16"/>
                <a:gd name="T5" fmla="*/ 4 h 33"/>
                <a:gd name="T6" fmla="*/ 3 w 16"/>
                <a:gd name="T7" fmla="*/ 0 h 33"/>
                <a:gd name="T8" fmla="*/ 7 w 16"/>
                <a:gd name="T9" fmla="*/ 2 h 33"/>
                <a:gd name="T10" fmla="*/ 16 w 16"/>
                <a:gd name="T11" fmla="*/ 28 h 33"/>
                <a:gd name="T12" fmla="*/ 13 w 16"/>
                <a:gd name="T13" fmla="*/ 33 h 33"/>
                <a:gd name="T14" fmla="*/ 12 w 16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3">
                  <a:moveTo>
                    <a:pt x="12" y="33"/>
                  </a:moveTo>
                  <a:cubicBezTo>
                    <a:pt x="11" y="33"/>
                    <a:pt x="10" y="32"/>
                    <a:pt x="9" y="3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6" y="1"/>
                    <a:pt x="7" y="2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30"/>
                    <a:pt x="15" y="32"/>
                    <a:pt x="13" y="33"/>
                  </a:cubicBezTo>
                  <a:cubicBezTo>
                    <a:pt x="13" y="33"/>
                    <a:pt x="13" y="33"/>
                    <a:pt x="12" y="3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8" name="Freeform 1535">
              <a:extLst>
                <a:ext uri="{FF2B5EF4-FFF2-40B4-BE49-F238E27FC236}">
                  <a16:creationId xmlns:a16="http://schemas.microsoft.com/office/drawing/2014/main" id="{B063B9E8-95F5-481A-9EDC-90D175ECB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541" y="5842461"/>
              <a:ext cx="87256" cy="84727"/>
            </a:xfrm>
            <a:custGeom>
              <a:avLst/>
              <a:gdLst>
                <a:gd name="T0" fmla="*/ 45 w 48"/>
                <a:gd name="T1" fmla="*/ 47 h 47"/>
                <a:gd name="T2" fmla="*/ 42 w 48"/>
                <a:gd name="T3" fmla="*/ 46 h 47"/>
                <a:gd name="T4" fmla="*/ 2 w 48"/>
                <a:gd name="T5" fmla="*/ 6 h 47"/>
                <a:gd name="T6" fmla="*/ 1 w 48"/>
                <a:gd name="T7" fmla="*/ 1 h 47"/>
                <a:gd name="T8" fmla="*/ 6 w 48"/>
                <a:gd name="T9" fmla="*/ 1 h 47"/>
                <a:gd name="T10" fmla="*/ 47 w 48"/>
                <a:gd name="T11" fmla="*/ 41 h 47"/>
                <a:gd name="T12" fmla="*/ 47 w 48"/>
                <a:gd name="T13" fmla="*/ 46 h 47"/>
                <a:gd name="T14" fmla="*/ 45 w 48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47">
                  <a:moveTo>
                    <a:pt x="45" y="47"/>
                  </a:moveTo>
                  <a:cubicBezTo>
                    <a:pt x="44" y="47"/>
                    <a:pt x="43" y="47"/>
                    <a:pt x="42" y="4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3"/>
                    <a:pt x="48" y="45"/>
                    <a:pt x="47" y="46"/>
                  </a:cubicBezTo>
                  <a:cubicBezTo>
                    <a:pt x="46" y="47"/>
                    <a:pt x="45" y="47"/>
                    <a:pt x="45" y="4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9" name="Freeform 1536">
              <a:extLst>
                <a:ext uri="{FF2B5EF4-FFF2-40B4-BE49-F238E27FC236}">
                  <a16:creationId xmlns:a16="http://schemas.microsoft.com/office/drawing/2014/main" id="{F73755D5-1F8A-4D60-9A88-9A833E268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9922" y="5772909"/>
              <a:ext cx="58171" cy="88521"/>
            </a:xfrm>
            <a:custGeom>
              <a:avLst/>
              <a:gdLst>
                <a:gd name="T0" fmla="*/ 28 w 32"/>
                <a:gd name="T1" fmla="*/ 49 h 49"/>
                <a:gd name="T2" fmla="*/ 25 w 32"/>
                <a:gd name="T3" fmla="*/ 48 h 49"/>
                <a:gd name="T4" fmla="*/ 1 w 32"/>
                <a:gd name="T5" fmla="*/ 6 h 49"/>
                <a:gd name="T6" fmla="*/ 2 w 32"/>
                <a:gd name="T7" fmla="*/ 1 h 49"/>
                <a:gd name="T8" fmla="*/ 7 w 32"/>
                <a:gd name="T9" fmla="*/ 3 h 49"/>
                <a:gd name="T10" fmla="*/ 31 w 32"/>
                <a:gd name="T11" fmla="*/ 44 h 49"/>
                <a:gd name="T12" fmla="*/ 30 w 32"/>
                <a:gd name="T13" fmla="*/ 49 h 49"/>
                <a:gd name="T14" fmla="*/ 28 w 32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9">
                  <a:moveTo>
                    <a:pt x="28" y="49"/>
                  </a:moveTo>
                  <a:cubicBezTo>
                    <a:pt x="27" y="49"/>
                    <a:pt x="26" y="49"/>
                    <a:pt x="25" y="4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6"/>
                    <a:pt x="31" y="48"/>
                    <a:pt x="30" y="49"/>
                  </a:cubicBezTo>
                  <a:cubicBezTo>
                    <a:pt x="29" y="49"/>
                    <a:pt x="29" y="49"/>
                    <a:pt x="28" y="4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0" name="Freeform 1537">
              <a:extLst>
                <a:ext uri="{FF2B5EF4-FFF2-40B4-BE49-F238E27FC236}">
                  <a16:creationId xmlns:a16="http://schemas.microsoft.com/office/drawing/2014/main" id="{2249E753-A382-4E2A-8199-943A6EDF2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9689" y="5842461"/>
              <a:ext cx="87256" cy="84727"/>
            </a:xfrm>
            <a:custGeom>
              <a:avLst/>
              <a:gdLst>
                <a:gd name="T0" fmla="*/ 4 w 48"/>
                <a:gd name="T1" fmla="*/ 47 h 47"/>
                <a:gd name="T2" fmla="*/ 1 w 48"/>
                <a:gd name="T3" fmla="*/ 46 h 47"/>
                <a:gd name="T4" fmla="*/ 1 w 48"/>
                <a:gd name="T5" fmla="*/ 41 h 47"/>
                <a:gd name="T6" fmla="*/ 42 w 48"/>
                <a:gd name="T7" fmla="*/ 1 h 47"/>
                <a:gd name="T8" fmla="*/ 47 w 48"/>
                <a:gd name="T9" fmla="*/ 1 h 47"/>
                <a:gd name="T10" fmla="*/ 47 w 48"/>
                <a:gd name="T11" fmla="*/ 6 h 47"/>
                <a:gd name="T12" fmla="*/ 6 w 48"/>
                <a:gd name="T13" fmla="*/ 46 h 47"/>
                <a:gd name="T14" fmla="*/ 4 w 48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47">
                  <a:moveTo>
                    <a:pt x="4" y="47"/>
                  </a:moveTo>
                  <a:cubicBezTo>
                    <a:pt x="3" y="47"/>
                    <a:pt x="2" y="47"/>
                    <a:pt x="1" y="46"/>
                  </a:cubicBezTo>
                  <a:cubicBezTo>
                    <a:pt x="0" y="45"/>
                    <a:pt x="0" y="43"/>
                    <a:pt x="1" y="4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3" y="0"/>
                    <a:pt x="46" y="0"/>
                    <a:pt x="47" y="1"/>
                  </a:cubicBezTo>
                  <a:cubicBezTo>
                    <a:pt x="48" y="2"/>
                    <a:pt x="48" y="5"/>
                    <a:pt x="47" y="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7"/>
                    <a:pt x="5" y="47"/>
                    <a:pt x="4" y="4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1" name="Freeform 1538">
              <a:extLst>
                <a:ext uri="{FF2B5EF4-FFF2-40B4-BE49-F238E27FC236}">
                  <a16:creationId xmlns:a16="http://schemas.microsoft.com/office/drawing/2014/main" id="{61B8442E-FFB9-4B40-BE7D-3CE82A1E5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6129" y="5771644"/>
              <a:ext cx="63229" cy="93579"/>
            </a:xfrm>
            <a:custGeom>
              <a:avLst/>
              <a:gdLst>
                <a:gd name="T0" fmla="*/ 4 w 35"/>
                <a:gd name="T1" fmla="*/ 52 h 52"/>
                <a:gd name="T2" fmla="*/ 3 w 35"/>
                <a:gd name="T3" fmla="*/ 52 h 52"/>
                <a:gd name="T4" fmla="*/ 1 w 35"/>
                <a:gd name="T5" fmla="*/ 47 h 52"/>
                <a:gd name="T6" fmla="*/ 28 w 35"/>
                <a:gd name="T7" fmla="*/ 2 h 52"/>
                <a:gd name="T8" fmla="*/ 33 w 35"/>
                <a:gd name="T9" fmla="*/ 1 h 52"/>
                <a:gd name="T10" fmla="*/ 34 w 35"/>
                <a:gd name="T11" fmla="*/ 5 h 52"/>
                <a:gd name="T12" fmla="*/ 7 w 35"/>
                <a:gd name="T13" fmla="*/ 51 h 52"/>
                <a:gd name="T14" fmla="*/ 4 w 35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2">
                  <a:moveTo>
                    <a:pt x="4" y="52"/>
                  </a:moveTo>
                  <a:cubicBezTo>
                    <a:pt x="4" y="52"/>
                    <a:pt x="3" y="52"/>
                    <a:pt x="3" y="52"/>
                  </a:cubicBezTo>
                  <a:cubicBezTo>
                    <a:pt x="1" y="51"/>
                    <a:pt x="0" y="49"/>
                    <a:pt x="1" y="47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0"/>
                    <a:pt x="31" y="0"/>
                    <a:pt x="33" y="1"/>
                  </a:cubicBezTo>
                  <a:cubicBezTo>
                    <a:pt x="34" y="1"/>
                    <a:pt x="35" y="4"/>
                    <a:pt x="34" y="5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2"/>
                    <a:pt x="6" y="52"/>
                    <a:pt x="4" y="5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2" name="Freeform 1539">
              <a:extLst>
                <a:ext uri="{FF2B5EF4-FFF2-40B4-BE49-F238E27FC236}">
                  <a16:creationId xmlns:a16="http://schemas.microsoft.com/office/drawing/2014/main" id="{0367B933-6227-4279-80DA-3712626BB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3599" y="5765321"/>
              <a:ext cx="67023" cy="12646"/>
            </a:xfrm>
            <a:custGeom>
              <a:avLst/>
              <a:gdLst>
                <a:gd name="T0" fmla="*/ 34 w 37"/>
                <a:gd name="T1" fmla="*/ 7 h 7"/>
                <a:gd name="T2" fmla="*/ 3 w 37"/>
                <a:gd name="T3" fmla="*/ 7 h 7"/>
                <a:gd name="T4" fmla="*/ 0 w 37"/>
                <a:gd name="T5" fmla="*/ 3 h 7"/>
                <a:gd name="T6" fmla="*/ 3 w 37"/>
                <a:gd name="T7" fmla="*/ 0 h 7"/>
                <a:gd name="T8" fmla="*/ 34 w 37"/>
                <a:gd name="T9" fmla="*/ 0 h 7"/>
                <a:gd name="T10" fmla="*/ 37 w 37"/>
                <a:gd name="T11" fmla="*/ 3 h 7"/>
                <a:gd name="T12" fmla="*/ 34 w 3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7">
                  <a:moveTo>
                    <a:pt x="3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7" y="1"/>
                    <a:pt x="37" y="3"/>
                  </a:cubicBezTo>
                  <a:cubicBezTo>
                    <a:pt x="37" y="5"/>
                    <a:pt x="35" y="7"/>
                    <a:pt x="34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2" name="Agrupar 1721">
            <a:extLst>
              <a:ext uri="{FF2B5EF4-FFF2-40B4-BE49-F238E27FC236}">
                <a16:creationId xmlns:a16="http://schemas.microsoft.com/office/drawing/2014/main" id="{B0E2AA83-0039-473E-BD02-73DAD1FD14FE}"/>
              </a:ext>
            </a:extLst>
          </p:cNvPr>
          <p:cNvGrpSpPr/>
          <p:nvPr/>
        </p:nvGrpSpPr>
        <p:grpSpPr>
          <a:xfrm>
            <a:off x="10414835" y="4422331"/>
            <a:ext cx="319940" cy="410990"/>
            <a:chOff x="11096447" y="4422331"/>
            <a:chExt cx="319940" cy="410990"/>
          </a:xfrm>
        </p:grpSpPr>
        <p:sp>
          <p:nvSpPr>
            <p:cNvPr id="943" name="Freeform 1540">
              <a:extLst>
                <a:ext uri="{FF2B5EF4-FFF2-40B4-BE49-F238E27FC236}">
                  <a16:creationId xmlns:a16="http://schemas.microsoft.com/office/drawing/2014/main" id="{86080976-4315-4E5D-A997-4EF83D252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4385" y="4770092"/>
              <a:ext cx="241536" cy="63229"/>
            </a:xfrm>
            <a:custGeom>
              <a:avLst/>
              <a:gdLst>
                <a:gd name="T0" fmla="*/ 120 w 133"/>
                <a:gd name="T1" fmla="*/ 35 h 35"/>
                <a:gd name="T2" fmla="*/ 13 w 133"/>
                <a:gd name="T3" fmla="*/ 35 h 35"/>
                <a:gd name="T4" fmla="*/ 0 w 133"/>
                <a:gd name="T5" fmla="*/ 22 h 35"/>
                <a:gd name="T6" fmla="*/ 0 w 133"/>
                <a:gd name="T7" fmla="*/ 13 h 35"/>
                <a:gd name="T8" fmla="*/ 13 w 133"/>
                <a:gd name="T9" fmla="*/ 0 h 35"/>
                <a:gd name="T10" fmla="*/ 50 w 133"/>
                <a:gd name="T11" fmla="*/ 0 h 35"/>
                <a:gd name="T12" fmla="*/ 53 w 133"/>
                <a:gd name="T13" fmla="*/ 4 h 35"/>
                <a:gd name="T14" fmla="*/ 50 w 133"/>
                <a:gd name="T15" fmla="*/ 7 h 35"/>
                <a:gd name="T16" fmla="*/ 13 w 133"/>
                <a:gd name="T17" fmla="*/ 7 h 35"/>
                <a:gd name="T18" fmla="*/ 7 w 133"/>
                <a:gd name="T19" fmla="*/ 13 h 35"/>
                <a:gd name="T20" fmla="*/ 7 w 133"/>
                <a:gd name="T21" fmla="*/ 22 h 35"/>
                <a:gd name="T22" fmla="*/ 13 w 133"/>
                <a:gd name="T23" fmla="*/ 28 h 35"/>
                <a:gd name="T24" fmla="*/ 120 w 133"/>
                <a:gd name="T25" fmla="*/ 28 h 35"/>
                <a:gd name="T26" fmla="*/ 126 w 133"/>
                <a:gd name="T27" fmla="*/ 22 h 35"/>
                <a:gd name="T28" fmla="*/ 126 w 133"/>
                <a:gd name="T29" fmla="*/ 13 h 35"/>
                <a:gd name="T30" fmla="*/ 120 w 133"/>
                <a:gd name="T31" fmla="*/ 7 h 35"/>
                <a:gd name="T32" fmla="*/ 86 w 133"/>
                <a:gd name="T33" fmla="*/ 7 h 35"/>
                <a:gd name="T34" fmla="*/ 82 w 133"/>
                <a:gd name="T35" fmla="*/ 4 h 35"/>
                <a:gd name="T36" fmla="*/ 86 w 133"/>
                <a:gd name="T37" fmla="*/ 0 h 35"/>
                <a:gd name="T38" fmla="*/ 120 w 133"/>
                <a:gd name="T39" fmla="*/ 0 h 35"/>
                <a:gd name="T40" fmla="*/ 133 w 133"/>
                <a:gd name="T41" fmla="*/ 13 h 35"/>
                <a:gd name="T42" fmla="*/ 133 w 133"/>
                <a:gd name="T43" fmla="*/ 22 h 35"/>
                <a:gd name="T44" fmla="*/ 120 w 133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3" h="35">
                  <a:moveTo>
                    <a:pt x="120" y="35"/>
                  </a:moveTo>
                  <a:cubicBezTo>
                    <a:pt x="13" y="35"/>
                    <a:pt x="13" y="35"/>
                    <a:pt x="13" y="35"/>
                  </a:cubicBezTo>
                  <a:cubicBezTo>
                    <a:pt x="6" y="35"/>
                    <a:pt x="0" y="29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3" y="2"/>
                    <a:pt x="53" y="4"/>
                  </a:cubicBezTo>
                  <a:cubicBezTo>
                    <a:pt x="53" y="6"/>
                    <a:pt x="51" y="7"/>
                    <a:pt x="50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0" y="7"/>
                    <a:pt x="7" y="10"/>
                    <a:pt x="7" y="1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5"/>
                    <a:pt x="10" y="28"/>
                    <a:pt x="13" y="28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4" y="28"/>
                    <a:pt x="126" y="25"/>
                    <a:pt x="126" y="22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0"/>
                    <a:pt x="124" y="7"/>
                    <a:pt x="120" y="7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4" y="7"/>
                    <a:pt x="82" y="6"/>
                    <a:pt x="82" y="4"/>
                  </a:cubicBezTo>
                  <a:cubicBezTo>
                    <a:pt x="82" y="2"/>
                    <a:pt x="84" y="0"/>
                    <a:pt x="8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8" y="0"/>
                    <a:pt x="133" y="6"/>
                    <a:pt x="133" y="13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3" y="29"/>
                    <a:pt x="128" y="35"/>
                    <a:pt x="120" y="3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4" name="Freeform 1541">
              <a:extLst>
                <a:ext uri="{FF2B5EF4-FFF2-40B4-BE49-F238E27FC236}">
                  <a16:creationId xmlns:a16="http://schemas.microsoft.com/office/drawing/2014/main" id="{FAA1EFCB-B117-4217-B6E9-BAF36AE4F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9793" y="4737213"/>
              <a:ext cx="175777" cy="45525"/>
            </a:xfrm>
            <a:custGeom>
              <a:avLst/>
              <a:gdLst>
                <a:gd name="T0" fmla="*/ 93 w 97"/>
                <a:gd name="T1" fmla="*/ 25 h 25"/>
                <a:gd name="T2" fmla="*/ 90 w 97"/>
                <a:gd name="T3" fmla="*/ 22 h 25"/>
                <a:gd name="T4" fmla="*/ 90 w 97"/>
                <a:gd name="T5" fmla="*/ 13 h 25"/>
                <a:gd name="T6" fmla="*/ 84 w 97"/>
                <a:gd name="T7" fmla="*/ 7 h 25"/>
                <a:gd name="T8" fmla="*/ 13 w 97"/>
                <a:gd name="T9" fmla="*/ 7 h 25"/>
                <a:gd name="T10" fmla="*/ 7 w 97"/>
                <a:gd name="T11" fmla="*/ 13 h 25"/>
                <a:gd name="T12" fmla="*/ 7 w 97"/>
                <a:gd name="T13" fmla="*/ 22 h 25"/>
                <a:gd name="T14" fmla="*/ 3 w 97"/>
                <a:gd name="T15" fmla="*/ 25 h 25"/>
                <a:gd name="T16" fmla="*/ 0 w 97"/>
                <a:gd name="T17" fmla="*/ 22 h 25"/>
                <a:gd name="T18" fmla="*/ 0 w 97"/>
                <a:gd name="T19" fmla="*/ 13 h 25"/>
                <a:gd name="T20" fmla="*/ 13 w 97"/>
                <a:gd name="T21" fmla="*/ 0 h 25"/>
                <a:gd name="T22" fmla="*/ 84 w 97"/>
                <a:gd name="T23" fmla="*/ 0 h 25"/>
                <a:gd name="T24" fmla="*/ 97 w 97"/>
                <a:gd name="T25" fmla="*/ 13 h 25"/>
                <a:gd name="T26" fmla="*/ 97 w 97"/>
                <a:gd name="T27" fmla="*/ 22 h 25"/>
                <a:gd name="T28" fmla="*/ 93 w 97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25">
                  <a:moveTo>
                    <a:pt x="93" y="25"/>
                  </a:moveTo>
                  <a:cubicBezTo>
                    <a:pt x="91" y="25"/>
                    <a:pt x="90" y="23"/>
                    <a:pt x="90" y="22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0" y="10"/>
                    <a:pt x="87" y="7"/>
                    <a:pt x="84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9" y="7"/>
                    <a:pt x="7" y="10"/>
                    <a:pt x="7" y="1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3"/>
                    <a:pt x="5" y="25"/>
                    <a:pt x="3" y="25"/>
                  </a:cubicBezTo>
                  <a:cubicBezTo>
                    <a:pt x="1" y="25"/>
                    <a:pt x="0" y="23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1" y="0"/>
                    <a:pt x="97" y="6"/>
                    <a:pt x="97" y="13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5" y="25"/>
                    <a:pt x="93" y="2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5" name="Freeform 1542">
              <a:extLst>
                <a:ext uri="{FF2B5EF4-FFF2-40B4-BE49-F238E27FC236}">
                  <a16:creationId xmlns:a16="http://schemas.microsoft.com/office/drawing/2014/main" id="{48C8058D-15AF-4206-BB58-D23ED84547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86233" y="4523498"/>
              <a:ext cx="140369" cy="45525"/>
            </a:xfrm>
            <a:custGeom>
              <a:avLst/>
              <a:gdLst>
                <a:gd name="T0" fmla="*/ 66 w 78"/>
                <a:gd name="T1" fmla="*/ 25 h 25"/>
                <a:gd name="T2" fmla="*/ 12 w 78"/>
                <a:gd name="T3" fmla="*/ 25 h 25"/>
                <a:gd name="T4" fmla="*/ 0 w 78"/>
                <a:gd name="T5" fmla="*/ 14 h 25"/>
                <a:gd name="T6" fmla="*/ 0 w 78"/>
                <a:gd name="T7" fmla="*/ 12 h 25"/>
                <a:gd name="T8" fmla="*/ 12 w 78"/>
                <a:gd name="T9" fmla="*/ 0 h 25"/>
                <a:gd name="T10" fmla="*/ 66 w 78"/>
                <a:gd name="T11" fmla="*/ 0 h 25"/>
                <a:gd name="T12" fmla="*/ 78 w 78"/>
                <a:gd name="T13" fmla="*/ 12 h 25"/>
                <a:gd name="T14" fmla="*/ 78 w 78"/>
                <a:gd name="T15" fmla="*/ 14 h 25"/>
                <a:gd name="T16" fmla="*/ 66 w 78"/>
                <a:gd name="T17" fmla="*/ 25 h 25"/>
                <a:gd name="T18" fmla="*/ 12 w 78"/>
                <a:gd name="T19" fmla="*/ 7 h 25"/>
                <a:gd name="T20" fmla="*/ 7 w 78"/>
                <a:gd name="T21" fmla="*/ 12 h 25"/>
                <a:gd name="T22" fmla="*/ 7 w 78"/>
                <a:gd name="T23" fmla="*/ 14 h 25"/>
                <a:gd name="T24" fmla="*/ 12 w 78"/>
                <a:gd name="T25" fmla="*/ 19 h 25"/>
                <a:gd name="T26" fmla="*/ 66 w 78"/>
                <a:gd name="T27" fmla="*/ 19 h 25"/>
                <a:gd name="T28" fmla="*/ 71 w 78"/>
                <a:gd name="T29" fmla="*/ 14 h 25"/>
                <a:gd name="T30" fmla="*/ 71 w 78"/>
                <a:gd name="T31" fmla="*/ 12 h 25"/>
                <a:gd name="T32" fmla="*/ 66 w 78"/>
                <a:gd name="T33" fmla="*/ 7 h 25"/>
                <a:gd name="T34" fmla="*/ 12 w 78"/>
                <a:gd name="T35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25">
                  <a:moveTo>
                    <a:pt x="66" y="25"/>
                  </a:moveTo>
                  <a:cubicBezTo>
                    <a:pt x="12" y="25"/>
                    <a:pt x="12" y="25"/>
                    <a:pt x="12" y="25"/>
                  </a:cubicBezTo>
                  <a:cubicBezTo>
                    <a:pt x="6" y="25"/>
                    <a:pt x="0" y="20"/>
                    <a:pt x="0" y="1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3" y="0"/>
                    <a:pt x="78" y="6"/>
                    <a:pt x="78" y="12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20"/>
                    <a:pt x="73" y="25"/>
                    <a:pt x="66" y="25"/>
                  </a:cubicBezTo>
                  <a:close/>
                  <a:moveTo>
                    <a:pt x="12" y="7"/>
                  </a:moveTo>
                  <a:cubicBezTo>
                    <a:pt x="9" y="7"/>
                    <a:pt x="7" y="9"/>
                    <a:pt x="7" y="12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6"/>
                    <a:pt x="9" y="19"/>
                    <a:pt x="12" y="1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9" y="19"/>
                    <a:pt x="71" y="16"/>
                    <a:pt x="71" y="14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9"/>
                    <a:pt x="69" y="7"/>
                    <a:pt x="66" y="7"/>
                  </a:cubicBezTo>
                  <a:lnTo>
                    <a:pt x="12" y="7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6" name="Freeform 1543">
              <a:extLst>
                <a:ext uri="{FF2B5EF4-FFF2-40B4-BE49-F238E27FC236}">
                  <a16:creationId xmlns:a16="http://schemas.microsoft.com/office/drawing/2014/main" id="{347B710A-DE25-4131-8F1C-33B7823E8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6233" y="4553848"/>
              <a:ext cx="29085" cy="196011"/>
            </a:xfrm>
            <a:custGeom>
              <a:avLst/>
              <a:gdLst>
                <a:gd name="T0" fmla="*/ 4 w 16"/>
                <a:gd name="T1" fmla="*/ 108 h 108"/>
                <a:gd name="T2" fmla="*/ 3 w 16"/>
                <a:gd name="T3" fmla="*/ 108 h 108"/>
                <a:gd name="T4" fmla="*/ 0 w 16"/>
                <a:gd name="T5" fmla="*/ 104 h 108"/>
                <a:gd name="T6" fmla="*/ 9 w 16"/>
                <a:gd name="T7" fmla="*/ 3 h 108"/>
                <a:gd name="T8" fmla="*/ 13 w 16"/>
                <a:gd name="T9" fmla="*/ 0 h 108"/>
                <a:gd name="T10" fmla="*/ 16 w 16"/>
                <a:gd name="T11" fmla="*/ 4 h 108"/>
                <a:gd name="T12" fmla="*/ 7 w 16"/>
                <a:gd name="T13" fmla="*/ 105 h 108"/>
                <a:gd name="T14" fmla="*/ 4 w 16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08">
                  <a:moveTo>
                    <a:pt x="4" y="108"/>
                  </a:moveTo>
                  <a:cubicBezTo>
                    <a:pt x="4" y="108"/>
                    <a:pt x="4" y="108"/>
                    <a:pt x="3" y="108"/>
                  </a:cubicBezTo>
                  <a:cubicBezTo>
                    <a:pt x="2" y="108"/>
                    <a:pt x="0" y="106"/>
                    <a:pt x="0" y="10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1" y="0"/>
                    <a:pt x="13" y="0"/>
                  </a:cubicBezTo>
                  <a:cubicBezTo>
                    <a:pt x="15" y="1"/>
                    <a:pt x="16" y="2"/>
                    <a:pt x="16" y="4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7"/>
                    <a:pt x="5" y="108"/>
                    <a:pt x="4" y="10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7" name="Freeform 1544">
              <a:extLst>
                <a:ext uri="{FF2B5EF4-FFF2-40B4-BE49-F238E27FC236}">
                  <a16:creationId xmlns:a16="http://schemas.microsoft.com/office/drawing/2014/main" id="{01930D9C-5183-4267-8162-045C639C3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7516" y="4553848"/>
              <a:ext cx="31615" cy="196011"/>
            </a:xfrm>
            <a:custGeom>
              <a:avLst/>
              <a:gdLst>
                <a:gd name="T0" fmla="*/ 13 w 17"/>
                <a:gd name="T1" fmla="*/ 108 h 108"/>
                <a:gd name="T2" fmla="*/ 10 w 17"/>
                <a:gd name="T3" fmla="*/ 105 h 108"/>
                <a:gd name="T4" fmla="*/ 1 w 17"/>
                <a:gd name="T5" fmla="*/ 4 h 108"/>
                <a:gd name="T6" fmla="*/ 4 w 17"/>
                <a:gd name="T7" fmla="*/ 0 h 108"/>
                <a:gd name="T8" fmla="*/ 7 w 17"/>
                <a:gd name="T9" fmla="*/ 3 h 108"/>
                <a:gd name="T10" fmla="*/ 17 w 17"/>
                <a:gd name="T11" fmla="*/ 104 h 108"/>
                <a:gd name="T12" fmla="*/ 13 w 17"/>
                <a:gd name="T13" fmla="*/ 108 h 108"/>
                <a:gd name="T14" fmla="*/ 13 w 17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08">
                  <a:moveTo>
                    <a:pt x="13" y="108"/>
                  </a:moveTo>
                  <a:cubicBezTo>
                    <a:pt x="11" y="108"/>
                    <a:pt x="10" y="107"/>
                    <a:pt x="10" y="10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6" y="0"/>
                    <a:pt x="7" y="2"/>
                    <a:pt x="7" y="3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6"/>
                    <a:pt x="15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8" name="Freeform 1545">
              <a:extLst>
                <a:ext uri="{FF2B5EF4-FFF2-40B4-BE49-F238E27FC236}">
                  <a16:creationId xmlns:a16="http://schemas.microsoft.com/office/drawing/2014/main" id="{1A3EBF48-45A8-43D6-88BF-95DDA4144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0143" y="4422331"/>
              <a:ext cx="112548" cy="112548"/>
            </a:xfrm>
            <a:custGeom>
              <a:avLst/>
              <a:gdLst>
                <a:gd name="T0" fmla="*/ 58 w 62"/>
                <a:gd name="T1" fmla="*/ 62 h 62"/>
                <a:gd name="T2" fmla="*/ 55 w 62"/>
                <a:gd name="T3" fmla="*/ 59 h 62"/>
                <a:gd name="T4" fmla="*/ 55 w 62"/>
                <a:gd name="T5" fmla="*/ 31 h 62"/>
                <a:gd name="T6" fmla="*/ 31 w 62"/>
                <a:gd name="T7" fmla="*/ 7 h 62"/>
                <a:gd name="T8" fmla="*/ 7 w 62"/>
                <a:gd name="T9" fmla="*/ 31 h 62"/>
                <a:gd name="T10" fmla="*/ 7 w 62"/>
                <a:gd name="T11" fmla="*/ 59 h 62"/>
                <a:gd name="T12" fmla="*/ 3 w 62"/>
                <a:gd name="T13" fmla="*/ 62 h 62"/>
                <a:gd name="T14" fmla="*/ 0 w 62"/>
                <a:gd name="T15" fmla="*/ 59 h 62"/>
                <a:gd name="T16" fmla="*/ 0 w 62"/>
                <a:gd name="T17" fmla="*/ 31 h 62"/>
                <a:gd name="T18" fmla="*/ 31 w 62"/>
                <a:gd name="T19" fmla="*/ 0 h 62"/>
                <a:gd name="T20" fmla="*/ 62 w 62"/>
                <a:gd name="T21" fmla="*/ 31 h 62"/>
                <a:gd name="T22" fmla="*/ 62 w 62"/>
                <a:gd name="T23" fmla="*/ 59 h 62"/>
                <a:gd name="T24" fmla="*/ 58 w 62"/>
                <a:gd name="T2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62">
                  <a:moveTo>
                    <a:pt x="58" y="62"/>
                  </a:moveTo>
                  <a:cubicBezTo>
                    <a:pt x="56" y="62"/>
                    <a:pt x="55" y="61"/>
                    <a:pt x="55" y="59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18"/>
                    <a:pt x="44" y="7"/>
                    <a:pt x="31" y="7"/>
                  </a:cubicBezTo>
                  <a:cubicBezTo>
                    <a:pt x="17" y="7"/>
                    <a:pt x="7" y="18"/>
                    <a:pt x="7" y="31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1"/>
                    <a:pt x="5" y="62"/>
                    <a:pt x="3" y="62"/>
                  </a:cubicBezTo>
                  <a:cubicBezTo>
                    <a:pt x="1" y="62"/>
                    <a:pt x="0" y="61"/>
                    <a:pt x="0" y="5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61"/>
                    <a:pt x="60" y="62"/>
                    <a:pt x="58" y="6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9" name="Freeform 1546">
              <a:extLst>
                <a:ext uri="{FF2B5EF4-FFF2-40B4-BE49-F238E27FC236}">
                  <a16:creationId xmlns:a16="http://schemas.microsoft.com/office/drawing/2014/main" id="{5F04D069-BADC-41D0-8D71-57FD4DC5B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0726" y="4770092"/>
              <a:ext cx="12646" cy="12646"/>
            </a:xfrm>
            <a:custGeom>
              <a:avLst/>
              <a:gdLst>
                <a:gd name="T0" fmla="*/ 4 w 7"/>
                <a:gd name="T1" fmla="*/ 7 h 7"/>
                <a:gd name="T2" fmla="*/ 3 w 7"/>
                <a:gd name="T3" fmla="*/ 7 h 7"/>
                <a:gd name="T4" fmla="*/ 0 w 7"/>
                <a:gd name="T5" fmla="*/ 4 h 7"/>
                <a:gd name="T6" fmla="*/ 3 w 7"/>
                <a:gd name="T7" fmla="*/ 0 h 7"/>
                <a:gd name="T8" fmla="*/ 4 w 7"/>
                <a:gd name="T9" fmla="*/ 0 h 7"/>
                <a:gd name="T10" fmla="*/ 7 w 7"/>
                <a:gd name="T11" fmla="*/ 4 h 7"/>
                <a:gd name="T12" fmla="*/ 4 w 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5"/>
                    <a:pt x="6" y="7"/>
                    <a:pt x="4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0" name="Freeform 1547">
              <a:extLst>
                <a:ext uri="{FF2B5EF4-FFF2-40B4-BE49-F238E27FC236}">
                  <a16:creationId xmlns:a16="http://schemas.microsoft.com/office/drawing/2014/main" id="{9550C750-7124-4020-AA78-E19BCEB8B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2439" y="4470386"/>
              <a:ext cx="147956" cy="12646"/>
            </a:xfrm>
            <a:custGeom>
              <a:avLst/>
              <a:gdLst>
                <a:gd name="T0" fmla="*/ 79 w 82"/>
                <a:gd name="T1" fmla="*/ 7 h 7"/>
                <a:gd name="T2" fmla="*/ 4 w 82"/>
                <a:gd name="T3" fmla="*/ 7 h 7"/>
                <a:gd name="T4" fmla="*/ 0 w 82"/>
                <a:gd name="T5" fmla="*/ 3 h 7"/>
                <a:gd name="T6" fmla="*/ 4 w 82"/>
                <a:gd name="T7" fmla="*/ 0 h 7"/>
                <a:gd name="T8" fmla="*/ 79 w 82"/>
                <a:gd name="T9" fmla="*/ 0 h 7"/>
                <a:gd name="T10" fmla="*/ 82 w 82"/>
                <a:gd name="T11" fmla="*/ 3 h 7"/>
                <a:gd name="T12" fmla="*/ 79 w 8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7">
                  <a:moveTo>
                    <a:pt x="7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0" y="0"/>
                    <a:pt x="82" y="1"/>
                    <a:pt x="82" y="3"/>
                  </a:cubicBezTo>
                  <a:cubicBezTo>
                    <a:pt x="82" y="5"/>
                    <a:pt x="80" y="7"/>
                    <a:pt x="79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1" name="Freeform 1548">
              <a:extLst>
                <a:ext uri="{FF2B5EF4-FFF2-40B4-BE49-F238E27FC236}">
                  <a16:creationId xmlns:a16="http://schemas.microsoft.com/office/drawing/2014/main" id="{CDCCFE22-F61C-4717-9B8C-2DA5A8C9A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0726" y="4469121"/>
              <a:ext cx="12646" cy="67023"/>
            </a:xfrm>
            <a:custGeom>
              <a:avLst/>
              <a:gdLst>
                <a:gd name="T0" fmla="*/ 3 w 7"/>
                <a:gd name="T1" fmla="*/ 37 h 37"/>
                <a:gd name="T2" fmla="*/ 0 w 7"/>
                <a:gd name="T3" fmla="*/ 34 h 37"/>
                <a:gd name="T4" fmla="*/ 0 w 7"/>
                <a:gd name="T5" fmla="*/ 4 h 37"/>
                <a:gd name="T6" fmla="*/ 3 w 7"/>
                <a:gd name="T7" fmla="*/ 0 h 37"/>
                <a:gd name="T8" fmla="*/ 7 w 7"/>
                <a:gd name="T9" fmla="*/ 4 h 37"/>
                <a:gd name="T10" fmla="*/ 7 w 7"/>
                <a:gd name="T11" fmla="*/ 34 h 37"/>
                <a:gd name="T12" fmla="*/ 3 w 7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7">
                  <a:moveTo>
                    <a:pt x="3" y="37"/>
                  </a:moveTo>
                  <a:cubicBezTo>
                    <a:pt x="2" y="37"/>
                    <a:pt x="0" y="36"/>
                    <a:pt x="0" y="3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6"/>
                    <a:pt x="5" y="37"/>
                    <a:pt x="3" y="3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2" name="Freeform 1549">
              <a:extLst>
                <a:ext uri="{FF2B5EF4-FFF2-40B4-BE49-F238E27FC236}">
                  <a16:creationId xmlns:a16="http://schemas.microsoft.com/office/drawing/2014/main" id="{37B09E95-485D-4D94-BB68-78D54F3C6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1408" y="4679042"/>
              <a:ext cx="122665" cy="70817"/>
            </a:xfrm>
            <a:custGeom>
              <a:avLst/>
              <a:gdLst>
                <a:gd name="T0" fmla="*/ 4 w 67"/>
                <a:gd name="T1" fmla="*/ 39 h 39"/>
                <a:gd name="T2" fmla="*/ 1 w 67"/>
                <a:gd name="T3" fmla="*/ 37 h 39"/>
                <a:gd name="T4" fmla="*/ 2 w 67"/>
                <a:gd name="T5" fmla="*/ 33 h 39"/>
                <a:gd name="T6" fmla="*/ 62 w 67"/>
                <a:gd name="T7" fmla="*/ 1 h 39"/>
                <a:gd name="T8" fmla="*/ 66 w 67"/>
                <a:gd name="T9" fmla="*/ 3 h 39"/>
                <a:gd name="T10" fmla="*/ 65 w 67"/>
                <a:gd name="T11" fmla="*/ 7 h 39"/>
                <a:gd name="T12" fmla="*/ 5 w 67"/>
                <a:gd name="T13" fmla="*/ 39 h 39"/>
                <a:gd name="T14" fmla="*/ 4 w 67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39">
                  <a:moveTo>
                    <a:pt x="4" y="39"/>
                  </a:moveTo>
                  <a:cubicBezTo>
                    <a:pt x="3" y="39"/>
                    <a:pt x="1" y="38"/>
                    <a:pt x="1" y="37"/>
                  </a:cubicBezTo>
                  <a:cubicBezTo>
                    <a:pt x="0" y="36"/>
                    <a:pt x="1" y="33"/>
                    <a:pt x="2" y="33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67" y="4"/>
                    <a:pt x="67" y="6"/>
                    <a:pt x="65" y="7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4" y="39"/>
                    <a:pt x="4" y="3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3" name="Freeform 1550">
              <a:extLst>
                <a:ext uri="{FF2B5EF4-FFF2-40B4-BE49-F238E27FC236}">
                  <a16:creationId xmlns:a16="http://schemas.microsoft.com/office/drawing/2014/main" id="{DA190175-51F4-4091-8E07-771E6272C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2556" y="4617078"/>
              <a:ext cx="125194" cy="70817"/>
            </a:xfrm>
            <a:custGeom>
              <a:avLst/>
              <a:gdLst>
                <a:gd name="T0" fmla="*/ 4 w 69"/>
                <a:gd name="T1" fmla="*/ 39 h 39"/>
                <a:gd name="T2" fmla="*/ 1 w 69"/>
                <a:gd name="T3" fmla="*/ 37 h 39"/>
                <a:gd name="T4" fmla="*/ 3 w 69"/>
                <a:gd name="T5" fmla="*/ 32 h 39"/>
                <a:gd name="T6" fmla="*/ 64 w 69"/>
                <a:gd name="T7" fmla="*/ 1 h 39"/>
                <a:gd name="T8" fmla="*/ 68 w 69"/>
                <a:gd name="T9" fmla="*/ 2 h 39"/>
                <a:gd name="T10" fmla="*/ 67 w 69"/>
                <a:gd name="T11" fmla="*/ 7 h 39"/>
                <a:gd name="T12" fmla="*/ 6 w 69"/>
                <a:gd name="T13" fmla="*/ 38 h 39"/>
                <a:gd name="T14" fmla="*/ 4 w 69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39">
                  <a:moveTo>
                    <a:pt x="4" y="39"/>
                  </a:moveTo>
                  <a:cubicBezTo>
                    <a:pt x="3" y="39"/>
                    <a:pt x="2" y="38"/>
                    <a:pt x="1" y="37"/>
                  </a:cubicBezTo>
                  <a:cubicBezTo>
                    <a:pt x="0" y="35"/>
                    <a:pt x="1" y="33"/>
                    <a:pt x="3" y="32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5" y="0"/>
                    <a:pt x="67" y="1"/>
                    <a:pt x="68" y="2"/>
                  </a:cubicBezTo>
                  <a:cubicBezTo>
                    <a:pt x="69" y="4"/>
                    <a:pt x="68" y="6"/>
                    <a:pt x="67" y="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9"/>
                    <a:pt x="5" y="39"/>
                    <a:pt x="4" y="3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4" name="Freeform 1551">
              <a:extLst>
                <a:ext uri="{FF2B5EF4-FFF2-40B4-BE49-F238E27FC236}">
                  <a16:creationId xmlns:a16="http://schemas.microsoft.com/office/drawing/2014/main" id="{F877204F-264A-4DE2-89E5-C88A54E4C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878" y="4556378"/>
              <a:ext cx="113813" cy="64494"/>
            </a:xfrm>
            <a:custGeom>
              <a:avLst/>
              <a:gdLst>
                <a:gd name="T0" fmla="*/ 4 w 63"/>
                <a:gd name="T1" fmla="*/ 36 h 36"/>
                <a:gd name="T2" fmla="*/ 1 w 63"/>
                <a:gd name="T3" fmla="*/ 34 h 36"/>
                <a:gd name="T4" fmla="*/ 2 w 63"/>
                <a:gd name="T5" fmla="*/ 29 h 36"/>
                <a:gd name="T6" fmla="*/ 58 w 63"/>
                <a:gd name="T7" fmla="*/ 1 h 36"/>
                <a:gd name="T8" fmla="*/ 62 w 63"/>
                <a:gd name="T9" fmla="*/ 2 h 36"/>
                <a:gd name="T10" fmla="*/ 61 w 63"/>
                <a:gd name="T11" fmla="*/ 7 h 36"/>
                <a:gd name="T12" fmla="*/ 5 w 63"/>
                <a:gd name="T13" fmla="*/ 35 h 36"/>
                <a:gd name="T14" fmla="*/ 4 w 63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6">
                  <a:moveTo>
                    <a:pt x="4" y="36"/>
                  </a:moveTo>
                  <a:cubicBezTo>
                    <a:pt x="3" y="36"/>
                    <a:pt x="1" y="35"/>
                    <a:pt x="1" y="34"/>
                  </a:cubicBezTo>
                  <a:cubicBezTo>
                    <a:pt x="0" y="32"/>
                    <a:pt x="1" y="30"/>
                    <a:pt x="2" y="29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9" y="0"/>
                    <a:pt x="62" y="1"/>
                    <a:pt x="62" y="2"/>
                  </a:cubicBezTo>
                  <a:cubicBezTo>
                    <a:pt x="63" y="4"/>
                    <a:pt x="63" y="6"/>
                    <a:pt x="61" y="7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6"/>
                    <a:pt x="4" y="36"/>
                    <a:pt x="4" y="3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5" name="Freeform 1552">
              <a:extLst>
                <a:ext uri="{FF2B5EF4-FFF2-40B4-BE49-F238E27FC236}">
                  <a16:creationId xmlns:a16="http://schemas.microsoft.com/office/drawing/2014/main" id="{A9171402-5D26-4B09-8F03-938320D10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6447" y="4557642"/>
              <a:ext cx="77140" cy="40467"/>
            </a:xfrm>
            <a:custGeom>
              <a:avLst/>
              <a:gdLst>
                <a:gd name="T0" fmla="*/ 4 w 42"/>
                <a:gd name="T1" fmla="*/ 22 h 22"/>
                <a:gd name="T2" fmla="*/ 1 w 42"/>
                <a:gd name="T3" fmla="*/ 20 h 22"/>
                <a:gd name="T4" fmla="*/ 3 w 42"/>
                <a:gd name="T5" fmla="*/ 15 h 22"/>
                <a:gd name="T6" fmla="*/ 37 w 42"/>
                <a:gd name="T7" fmla="*/ 1 h 22"/>
                <a:gd name="T8" fmla="*/ 42 w 42"/>
                <a:gd name="T9" fmla="*/ 3 h 22"/>
                <a:gd name="T10" fmla="*/ 40 w 42"/>
                <a:gd name="T11" fmla="*/ 7 h 22"/>
                <a:gd name="T12" fmla="*/ 6 w 42"/>
                <a:gd name="T13" fmla="*/ 22 h 22"/>
                <a:gd name="T14" fmla="*/ 4 w 4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4" y="22"/>
                  </a:moveTo>
                  <a:cubicBezTo>
                    <a:pt x="3" y="22"/>
                    <a:pt x="2" y="21"/>
                    <a:pt x="1" y="20"/>
                  </a:cubicBezTo>
                  <a:cubicBezTo>
                    <a:pt x="0" y="18"/>
                    <a:pt x="1" y="16"/>
                    <a:pt x="3" y="15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9" y="0"/>
                    <a:pt x="41" y="1"/>
                    <a:pt x="42" y="3"/>
                  </a:cubicBezTo>
                  <a:cubicBezTo>
                    <a:pt x="42" y="5"/>
                    <a:pt x="42" y="7"/>
                    <a:pt x="40" y="7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2"/>
                    <a:pt x="5" y="22"/>
                    <a:pt x="4" y="2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6" name="Freeform 1553">
              <a:extLst>
                <a:ext uri="{FF2B5EF4-FFF2-40B4-BE49-F238E27FC236}">
                  <a16:creationId xmlns:a16="http://schemas.microsoft.com/office/drawing/2014/main" id="{93D3B822-1735-4B90-B3E2-330A3C238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6447" y="4464063"/>
              <a:ext cx="77140" cy="37938"/>
            </a:xfrm>
            <a:custGeom>
              <a:avLst/>
              <a:gdLst>
                <a:gd name="T0" fmla="*/ 38 w 42"/>
                <a:gd name="T1" fmla="*/ 21 h 21"/>
                <a:gd name="T2" fmla="*/ 37 w 42"/>
                <a:gd name="T3" fmla="*/ 21 h 21"/>
                <a:gd name="T4" fmla="*/ 3 w 42"/>
                <a:gd name="T5" fmla="*/ 7 h 21"/>
                <a:gd name="T6" fmla="*/ 1 w 42"/>
                <a:gd name="T7" fmla="*/ 2 h 21"/>
                <a:gd name="T8" fmla="*/ 6 w 42"/>
                <a:gd name="T9" fmla="*/ 0 h 21"/>
                <a:gd name="T10" fmla="*/ 40 w 42"/>
                <a:gd name="T11" fmla="*/ 15 h 21"/>
                <a:gd name="T12" fmla="*/ 42 w 42"/>
                <a:gd name="T13" fmla="*/ 19 h 21"/>
                <a:gd name="T14" fmla="*/ 38 w 4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1">
                  <a:moveTo>
                    <a:pt x="38" y="21"/>
                  </a:moveTo>
                  <a:cubicBezTo>
                    <a:pt x="38" y="21"/>
                    <a:pt x="38" y="21"/>
                    <a:pt x="37" y="21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2" y="15"/>
                    <a:pt x="42" y="17"/>
                    <a:pt x="42" y="19"/>
                  </a:cubicBezTo>
                  <a:cubicBezTo>
                    <a:pt x="41" y="20"/>
                    <a:pt x="40" y="21"/>
                    <a:pt x="38" y="2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7" name="Freeform 1554">
              <a:extLst>
                <a:ext uri="{FF2B5EF4-FFF2-40B4-BE49-F238E27FC236}">
                  <a16:creationId xmlns:a16="http://schemas.microsoft.com/office/drawing/2014/main" id="{3A613353-6B34-4D1C-A3B8-CCE0CFC56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0474" y="4524763"/>
              <a:ext cx="46790" cy="11381"/>
            </a:xfrm>
            <a:custGeom>
              <a:avLst/>
              <a:gdLst>
                <a:gd name="T0" fmla="*/ 22 w 26"/>
                <a:gd name="T1" fmla="*/ 6 h 6"/>
                <a:gd name="T2" fmla="*/ 4 w 26"/>
                <a:gd name="T3" fmla="*/ 6 h 6"/>
                <a:gd name="T4" fmla="*/ 0 w 26"/>
                <a:gd name="T5" fmla="*/ 3 h 6"/>
                <a:gd name="T6" fmla="*/ 4 w 26"/>
                <a:gd name="T7" fmla="*/ 0 h 6"/>
                <a:gd name="T8" fmla="*/ 22 w 26"/>
                <a:gd name="T9" fmla="*/ 0 h 6"/>
                <a:gd name="T10" fmla="*/ 26 w 26"/>
                <a:gd name="T11" fmla="*/ 3 h 6"/>
                <a:gd name="T12" fmla="*/ 22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2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6" y="5"/>
                    <a:pt x="24" y="6"/>
                    <a:pt x="22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8" name="Freeform 1555">
              <a:extLst>
                <a:ext uri="{FF2B5EF4-FFF2-40B4-BE49-F238E27FC236}">
                  <a16:creationId xmlns:a16="http://schemas.microsoft.com/office/drawing/2014/main" id="{69EB3E2B-BBF1-4623-BEF3-60BE8DA9B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39247" y="4557642"/>
              <a:ext cx="77140" cy="40467"/>
            </a:xfrm>
            <a:custGeom>
              <a:avLst/>
              <a:gdLst>
                <a:gd name="T0" fmla="*/ 38 w 42"/>
                <a:gd name="T1" fmla="*/ 22 h 22"/>
                <a:gd name="T2" fmla="*/ 36 w 42"/>
                <a:gd name="T3" fmla="*/ 22 h 22"/>
                <a:gd name="T4" fmla="*/ 2 w 42"/>
                <a:gd name="T5" fmla="*/ 7 h 22"/>
                <a:gd name="T6" fmla="*/ 0 w 42"/>
                <a:gd name="T7" fmla="*/ 3 h 22"/>
                <a:gd name="T8" fmla="*/ 5 w 42"/>
                <a:gd name="T9" fmla="*/ 1 h 22"/>
                <a:gd name="T10" fmla="*/ 39 w 42"/>
                <a:gd name="T11" fmla="*/ 15 h 22"/>
                <a:gd name="T12" fmla="*/ 41 w 42"/>
                <a:gd name="T13" fmla="*/ 20 h 22"/>
                <a:gd name="T14" fmla="*/ 38 w 4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38" y="22"/>
                  </a:moveTo>
                  <a:cubicBezTo>
                    <a:pt x="37" y="22"/>
                    <a:pt x="37" y="22"/>
                    <a:pt x="36" y="22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7"/>
                    <a:pt x="0" y="5"/>
                    <a:pt x="0" y="3"/>
                  </a:cubicBezTo>
                  <a:cubicBezTo>
                    <a:pt x="1" y="1"/>
                    <a:pt x="3" y="0"/>
                    <a:pt x="5" y="1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1" y="16"/>
                    <a:pt x="42" y="18"/>
                    <a:pt x="41" y="20"/>
                  </a:cubicBezTo>
                  <a:cubicBezTo>
                    <a:pt x="40" y="21"/>
                    <a:pt x="39" y="22"/>
                    <a:pt x="38" y="2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9" name="Freeform 1556">
              <a:extLst>
                <a:ext uri="{FF2B5EF4-FFF2-40B4-BE49-F238E27FC236}">
                  <a16:creationId xmlns:a16="http://schemas.microsoft.com/office/drawing/2014/main" id="{08CA23F8-9D97-4F57-BDE0-2166CAFDE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39247" y="4464063"/>
              <a:ext cx="77140" cy="37938"/>
            </a:xfrm>
            <a:custGeom>
              <a:avLst/>
              <a:gdLst>
                <a:gd name="T0" fmla="*/ 3 w 42"/>
                <a:gd name="T1" fmla="*/ 21 h 21"/>
                <a:gd name="T2" fmla="*/ 0 w 42"/>
                <a:gd name="T3" fmla="*/ 19 h 21"/>
                <a:gd name="T4" fmla="*/ 2 w 42"/>
                <a:gd name="T5" fmla="*/ 15 h 21"/>
                <a:gd name="T6" fmla="*/ 36 w 42"/>
                <a:gd name="T7" fmla="*/ 0 h 21"/>
                <a:gd name="T8" fmla="*/ 41 w 42"/>
                <a:gd name="T9" fmla="*/ 2 h 21"/>
                <a:gd name="T10" fmla="*/ 39 w 42"/>
                <a:gd name="T11" fmla="*/ 7 h 21"/>
                <a:gd name="T12" fmla="*/ 5 w 42"/>
                <a:gd name="T13" fmla="*/ 21 h 21"/>
                <a:gd name="T14" fmla="*/ 3 w 4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1">
                  <a:moveTo>
                    <a:pt x="3" y="21"/>
                  </a:moveTo>
                  <a:cubicBezTo>
                    <a:pt x="2" y="21"/>
                    <a:pt x="1" y="20"/>
                    <a:pt x="0" y="19"/>
                  </a:cubicBezTo>
                  <a:cubicBezTo>
                    <a:pt x="0" y="17"/>
                    <a:pt x="0" y="15"/>
                    <a:pt x="2" y="1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0"/>
                    <a:pt x="41" y="2"/>
                  </a:cubicBezTo>
                  <a:cubicBezTo>
                    <a:pt x="42" y="4"/>
                    <a:pt x="41" y="6"/>
                    <a:pt x="39" y="7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1"/>
                    <a:pt x="4" y="21"/>
                    <a:pt x="3" y="2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0" name="Freeform 1557">
              <a:extLst>
                <a:ext uri="{FF2B5EF4-FFF2-40B4-BE49-F238E27FC236}">
                  <a16:creationId xmlns:a16="http://schemas.microsoft.com/office/drawing/2014/main" id="{FF1834ED-0FEB-4319-952B-99960BC2D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5570" y="4524763"/>
              <a:ext cx="46790" cy="11381"/>
            </a:xfrm>
            <a:custGeom>
              <a:avLst/>
              <a:gdLst>
                <a:gd name="T0" fmla="*/ 22 w 26"/>
                <a:gd name="T1" fmla="*/ 6 h 6"/>
                <a:gd name="T2" fmla="*/ 4 w 26"/>
                <a:gd name="T3" fmla="*/ 6 h 6"/>
                <a:gd name="T4" fmla="*/ 0 w 26"/>
                <a:gd name="T5" fmla="*/ 3 h 6"/>
                <a:gd name="T6" fmla="*/ 4 w 26"/>
                <a:gd name="T7" fmla="*/ 0 h 6"/>
                <a:gd name="T8" fmla="*/ 22 w 26"/>
                <a:gd name="T9" fmla="*/ 0 h 6"/>
                <a:gd name="T10" fmla="*/ 26 w 26"/>
                <a:gd name="T11" fmla="*/ 3 h 6"/>
                <a:gd name="T12" fmla="*/ 22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2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6" y="5"/>
                    <a:pt x="24" y="6"/>
                    <a:pt x="22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6" name="Agrupar 1725">
            <a:extLst>
              <a:ext uri="{FF2B5EF4-FFF2-40B4-BE49-F238E27FC236}">
                <a16:creationId xmlns:a16="http://schemas.microsoft.com/office/drawing/2014/main" id="{36152073-F4E7-46D6-B5F2-CC29B13B4F94}"/>
              </a:ext>
            </a:extLst>
          </p:cNvPr>
          <p:cNvGrpSpPr/>
          <p:nvPr/>
        </p:nvGrpSpPr>
        <p:grpSpPr>
          <a:xfrm>
            <a:off x="7761735" y="5111530"/>
            <a:ext cx="338909" cy="343968"/>
            <a:chOff x="8443347" y="5111530"/>
            <a:chExt cx="338909" cy="343968"/>
          </a:xfrm>
        </p:grpSpPr>
        <p:sp>
          <p:nvSpPr>
            <p:cNvPr id="961" name="Freeform 1558">
              <a:extLst>
                <a:ext uri="{FF2B5EF4-FFF2-40B4-BE49-F238E27FC236}">
                  <a16:creationId xmlns:a16="http://schemas.microsoft.com/office/drawing/2014/main" id="{2502D1B8-FD74-443C-BE35-A095257C50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3347" y="5196258"/>
              <a:ext cx="338909" cy="75875"/>
            </a:xfrm>
            <a:custGeom>
              <a:avLst/>
              <a:gdLst>
                <a:gd name="T0" fmla="*/ 165 w 187"/>
                <a:gd name="T1" fmla="*/ 42 h 42"/>
                <a:gd name="T2" fmla="*/ 21 w 187"/>
                <a:gd name="T3" fmla="*/ 42 h 42"/>
                <a:gd name="T4" fmla="*/ 0 w 187"/>
                <a:gd name="T5" fmla="*/ 21 h 42"/>
                <a:gd name="T6" fmla="*/ 21 w 187"/>
                <a:gd name="T7" fmla="*/ 0 h 42"/>
                <a:gd name="T8" fmla="*/ 165 w 187"/>
                <a:gd name="T9" fmla="*/ 0 h 42"/>
                <a:gd name="T10" fmla="*/ 187 w 187"/>
                <a:gd name="T11" fmla="*/ 21 h 42"/>
                <a:gd name="T12" fmla="*/ 165 w 187"/>
                <a:gd name="T13" fmla="*/ 42 h 42"/>
                <a:gd name="T14" fmla="*/ 21 w 187"/>
                <a:gd name="T15" fmla="*/ 6 h 42"/>
                <a:gd name="T16" fmla="*/ 7 w 187"/>
                <a:gd name="T17" fmla="*/ 21 h 42"/>
                <a:gd name="T18" fmla="*/ 21 w 187"/>
                <a:gd name="T19" fmla="*/ 35 h 42"/>
                <a:gd name="T20" fmla="*/ 165 w 187"/>
                <a:gd name="T21" fmla="*/ 35 h 42"/>
                <a:gd name="T22" fmla="*/ 180 w 187"/>
                <a:gd name="T23" fmla="*/ 21 h 42"/>
                <a:gd name="T24" fmla="*/ 165 w 187"/>
                <a:gd name="T25" fmla="*/ 6 h 42"/>
                <a:gd name="T26" fmla="*/ 21 w 187"/>
                <a:gd name="T27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7" h="42">
                  <a:moveTo>
                    <a:pt x="165" y="42"/>
                  </a:moveTo>
                  <a:cubicBezTo>
                    <a:pt x="21" y="42"/>
                    <a:pt x="21" y="42"/>
                    <a:pt x="21" y="42"/>
                  </a:cubicBezTo>
                  <a:cubicBezTo>
                    <a:pt x="9" y="42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7" y="0"/>
                    <a:pt x="187" y="9"/>
                    <a:pt x="187" y="21"/>
                  </a:cubicBezTo>
                  <a:cubicBezTo>
                    <a:pt x="187" y="33"/>
                    <a:pt x="177" y="42"/>
                    <a:pt x="165" y="42"/>
                  </a:cubicBezTo>
                  <a:close/>
                  <a:moveTo>
                    <a:pt x="21" y="6"/>
                  </a:moveTo>
                  <a:cubicBezTo>
                    <a:pt x="13" y="6"/>
                    <a:pt x="7" y="13"/>
                    <a:pt x="7" y="21"/>
                  </a:cubicBezTo>
                  <a:cubicBezTo>
                    <a:pt x="7" y="29"/>
                    <a:pt x="13" y="35"/>
                    <a:pt x="21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73" y="35"/>
                    <a:pt x="180" y="29"/>
                    <a:pt x="180" y="21"/>
                  </a:cubicBezTo>
                  <a:cubicBezTo>
                    <a:pt x="180" y="13"/>
                    <a:pt x="173" y="6"/>
                    <a:pt x="165" y="6"/>
                  </a:cubicBezTo>
                  <a:lnTo>
                    <a:pt x="21" y="6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2" name="Freeform 1559">
              <a:extLst>
                <a:ext uri="{FF2B5EF4-FFF2-40B4-BE49-F238E27FC236}">
                  <a16:creationId xmlns:a16="http://schemas.microsoft.com/office/drawing/2014/main" id="{ADED493C-D87C-4526-8B73-A991E54DC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8639" y="5262016"/>
              <a:ext cx="287061" cy="193482"/>
            </a:xfrm>
            <a:custGeom>
              <a:avLst/>
              <a:gdLst>
                <a:gd name="T0" fmla="*/ 142 w 158"/>
                <a:gd name="T1" fmla="*/ 107 h 107"/>
                <a:gd name="T2" fmla="*/ 17 w 158"/>
                <a:gd name="T3" fmla="*/ 107 h 107"/>
                <a:gd name="T4" fmla="*/ 0 w 158"/>
                <a:gd name="T5" fmla="*/ 90 h 107"/>
                <a:gd name="T6" fmla="*/ 0 w 158"/>
                <a:gd name="T7" fmla="*/ 4 h 107"/>
                <a:gd name="T8" fmla="*/ 4 w 158"/>
                <a:gd name="T9" fmla="*/ 0 h 107"/>
                <a:gd name="T10" fmla="*/ 7 w 158"/>
                <a:gd name="T11" fmla="*/ 4 h 107"/>
                <a:gd name="T12" fmla="*/ 7 w 158"/>
                <a:gd name="T13" fmla="*/ 90 h 107"/>
                <a:gd name="T14" fmla="*/ 17 w 158"/>
                <a:gd name="T15" fmla="*/ 100 h 107"/>
                <a:gd name="T16" fmla="*/ 142 w 158"/>
                <a:gd name="T17" fmla="*/ 100 h 107"/>
                <a:gd name="T18" fmla="*/ 152 w 158"/>
                <a:gd name="T19" fmla="*/ 90 h 107"/>
                <a:gd name="T20" fmla="*/ 152 w 158"/>
                <a:gd name="T21" fmla="*/ 4 h 107"/>
                <a:gd name="T22" fmla="*/ 155 w 158"/>
                <a:gd name="T23" fmla="*/ 0 h 107"/>
                <a:gd name="T24" fmla="*/ 158 w 158"/>
                <a:gd name="T25" fmla="*/ 4 h 107"/>
                <a:gd name="T26" fmla="*/ 158 w 158"/>
                <a:gd name="T27" fmla="*/ 90 h 107"/>
                <a:gd name="T28" fmla="*/ 142 w 158"/>
                <a:gd name="T2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8" h="107">
                  <a:moveTo>
                    <a:pt x="142" y="107"/>
                  </a:moveTo>
                  <a:cubicBezTo>
                    <a:pt x="17" y="107"/>
                    <a:pt x="17" y="107"/>
                    <a:pt x="17" y="107"/>
                  </a:cubicBezTo>
                  <a:cubicBezTo>
                    <a:pt x="8" y="107"/>
                    <a:pt x="0" y="99"/>
                    <a:pt x="0" y="9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5"/>
                    <a:pt x="12" y="100"/>
                    <a:pt x="17" y="100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47" y="100"/>
                    <a:pt x="152" y="95"/>
                    <a:pt x="152" y="90"/>
                  </a:cubicBezTo>
                  <a:cubicBezTo>
                    <a:pt x="152" y="4"/>
                    <a:pt x="152" y="4"/>
                    <a:pt x="152" y="4"/>
                  </a:cubicBezTo>
                  <a:cubicBezTo>
                    <a:pt x="152" y="2"/>
                    <a:pt x="153" y="0"/>
                    <a:pt x="155" y="0"/>
                  </a:cubicBezTo>
                  <a:cubicBezTo>
                    <a:pt x="157" y="0"/>
                    <a:pt x="158" y="2"/>
                    <a:pt x="158" y="4"/>
                  </a:cubicBezTo>
                  <a:cubicBezTo>
                    <a:pt x="158" y="90"/>
                    <a:pt x="158" y="90"/>
                    <a:pt x="158" y="90"/>
                  </a:cubicBezTo>
                  <a:cubicBezTo>
                    <a:pt x="158" y="99"/>
                    <a:pt x="151" y="107"/>
                    <a:pt x="142" y="10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3" name="Freeform 1560">
              <a:extLst>
                <a:ext uri="{FF2B5EF4-FFF2-40B4-BE49-F238E27FC236}">
                  <a16:creationId xmlns:a16="http://schemas.microsoft.com/office/drawing/2014/main" id="{A61FFCA4-721B-4383-A3B5-9B53BF06A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8191" y="5297425"/>
              <a:ext cx="54377" cy="11381"/>
            </a:xfrm>
            <a:custGeom>
              <a:avLst/>
              <a:gdLst>
                <a:gd name="T0" fmla="*/ 27 w 30"/>
                <a:gd name="T1" fmla="*/ 6 h 6"/>
                <a:gd name="T2" fmla="*/ 4 w 30"/>
                <a:gd name="T3" fmla="*/ 6 h 6"/>
                <a:gd name="T4" fmla="*/ 0 w 30"/>
                <a:gd name="T5" fmla="*/ 3 h 6"/>
                <a:gd name="T6" fmla="*/ 4 w 30"/>
                <a:gd name="T7" fmla="*/ 0 h 6"/>
                <a:gd name="T8" fmla="*/ 27 w 30"/>
                <a:gd name="T9" fmla="*/ 0 h 6"/>
                <a:gd name="T10" fmla="*/ 30 w 30"/>
                <a:gd name="T11" fmla="*/ 3 h 6"/>
                <a:gd name="T12" fmla="*/ 27 w 3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6">
                  <a:moveTo>
                    <a:pt x="27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5"/>
                    <a:pt x="29" y="6"/>
                    <a:pt x="27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4" name="Freeform 1561">
              <a:extLst>
                <a:ext uri="{FF2B5EF4-FFF2-40B4-BE49-F238E27FC236}">
                  <a16:creationId xmlns:a16="http://schemas.microsoft.com/office/drawing/2014/main" id="{0580D13F-2466-408C-B473-5BA4DE276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1770" y="5297425"/>
              <a:ext cx="50583" cy="11381"/>
            </a:xfrm>
            <a:custGeom>
              <a:avLst/>
              <a:gdLst>
                <a:gd name="T0" fmla="*/ 25 w 28"/>
                <a:gd name="T1" fmla="*/ 6 h 6"/>
                <a:gd name="T2" fmla="*/ 4 w 28"/>
                <a:gd name="T3" fmla="*/ 6 h 6"/>
                <a:gd name="T4" fmla="*/ 0 w 28"/>
                <a:gd name="T5" fmla="*/ 3 h 6"/>
                <a:gd name="T6" fmla="*/ 4 w 28"/>
                <a:gd name="T7" fmla="*/ 0 h 6"/>
                <a:gd name="T8" fmla="*/ 25 w 28"/>
                <a:gd name="T9" fmla="*/ 0 h 6"/>
                <a:gd name="T10" fmla="*/ 28 w 28"/>
                <a:gd name="T11" fmla="*/ 3 h 6"/>
                <a:gd name="T12" fmla="*/ 25 w 28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">
                  <a:moveTo>
                    <a:pt x="25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8" y="1"/>
                    <a:pt x="28" y="3"/>
                  </a:cubicBezTo>
                  <a:cubicBezTo>
                    <a:pt x="28" y="5"/>
                    <a:pt x="27" y="6"/>
                    <a:pt x="25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5" name="Freeform 1562">
              <a:extLst>
                <a:ext uri="{FF2B5EF4-FFF2-40B4-BE49-F238E27FC236}">
                  <a16:creationId xmlns:a16="http://schemas.microsoft.com/office/drawing/2014/main" id="{D1E7DCB6-8505-46EA-8F51-97BEDAFFB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9922" y="5196258"/>
              <a:ext cx="12646" cy="257975"/>
            </a:xfrm>
            <a:custGeom>
              <a:avLst/>
              <a:gdLst>
                <a:gd name="T0" fmla="*/ 4 w 7"/>
                <a:gd name="T1" fmla="*/ 142 h 142"/>
                <a:gd name="T2" fmla="*/ 0 w 7"/>
                <a:gd name="T3" fmla="*/ 138 h 142"/>
                <a:gd name="T4" fmla="*/ 0 w 7"/>
                <a:gd name="T5" fmla="*/ 3 h 142"/>
                <a:gd name="T6" fmla="*/ 4 w 7"/>
                <a:gd name="T7" fmla="*/ 0 h 142"/>
                <a:gd name="T8" fmla="*/ 7 w 7"/>
                <a:gd name="T9" fmla="*/ 3 h 142"/>
                <a:gd name="T10" fmla="*/ 7 w 7"/>
                <a:gd name="T11" fmla="*/ 138 h 142"/>
                <a:gd name="T12" fmla="*/ 4 w 7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2">
                  <a:moveTo>
                    <a:pt x="4" y="142"/>
                  </a:moveTo>
                  <a:cubicBezTo>
                    <a:pt x="2" y="142"/>
                    <a:pt x="0" y="140"/>
                    <a:pt x="0" y="13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40"/>
                    <a:pt x="6" y="142"/>
                    <a:pt x="4" y="14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6" name="Freeform 1563">
              <a:extLst>
                <a:ext uri="{FF2B5EF4-FFF2-40B4-BE49-F238E27FC236}">
                  <a16:creationId xmlns:a16="http://schemas.microsoft.com/office/drawing/2014/main" id="{A8368337-3695-45EE-B051-97F48AE49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1770" y="5196258"/>
              <a:ext cx="12646" cy="257975"/>
            </a:xfrm>
            <a:custGeom>
              <a:avLst/>
              <a:gdLst>
                <a:gd name="T0" fmla="*/ 4 w 7"/>
                <a:gd name="T1" fmla="*/ 142 h 142"/>
                <a:gd name="T2" fmla="*/ 0 w 7"/>
                <a:gd name="T3" fmla="*/ 138 h 142"/>
                <a:gd name="T4" fmla="*/ 0 w 7"/>
                <a:gd name="T5" fmla="*/ 3 h 142"/>
                <a:gd name="T6" fmla="*/ 4 w 7"/>
                <a:gd name="T7" fmla="*/ 0 h 142"/>
                <a:gd name="T8" fmla="*/ 7 w 7"/>
                <a:gd name="T9" fmla="*/ 3 h 142"/>
                <a:gd name="T10" fmla="*/ 7 w 7"/>
                <a:gd name="T11" fmla="*/ 138 h 142"/>
                <a:gd name="T12" fmla="*/ 4 w 7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2">
                  <a:moveTo>
                    <a:pt x="4" y="142"/>
                  </a:moveTo>
                  <a:cubicBezTo>
                    <a:pt x="2" y="142"/>
                    <a:pt x="0" y="140"/>
                    <a:pt x="0" y="13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40"/>
                    <a:pt x="5" y="142"/>
                    <a:pt x="4" y="14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7" name="Freeform 1564">
              <a:extLst>
                <a:ext uri="{FF2B5EF4-FFF2-40B4-BE49-F238E27FC236}">
                  <a16:creationId xmlns:a16="http://schemas.microsoft.com/office/drawing/2014/main" id="{91B7B3DE-A44E-4DE7-B818-8161DFCA4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2666" y="5111530"/>
              <a:ext cx="128988" cy="97373"/>
            </a:xfrm>
            <a:custGeom>
              <a:avLst/>
              <a:gdLst>
                <a:gd name="T0" fmla="*/ 22 w 71"/>
                <a:gd name="T1" fmla="*/ 53 h 54"/>
                <a:gd name="T2" fmla="*/ 21 w 71"/>
                <a:gd name="T3" fmla="*/ 53 h 54"/>
                <a:gd name="T4" fmla="*/ 6 w 71"/>
                <a:gd name="T5" fmla="*/ 42 h 54"/>
                <a:gd name="T6" fmla="*/ 1 w 71"/>
                <a:gd name="T7" fmla="*/ 26 h 54"/>
                <a:gd name="T8" fmla="*/ 10 w 71"/>
                <a:gd name="T9" fmla="*/ 10 h 54"/>
                <a:gd name="T10" fmla="*/ 46 w 71"/>
                <a:gd name="T11" fmla="*/ 13 h 54"/>
                <a:gd name="T12" fmla="*/ 67 w 71"/>
                <a:gd name="T13" fmla="*/ 51 h 54"/>
                <a:gd name="T14" fmla="*/ 63 w 71"/>
                <a:gd name="T15" fmla="*/ 53 h 54"/>
                <a:gd name="T16" fmla="*/ 60 w 71"/>
                <a:gd name="T17" fmla="*/ 49 h 54"/>
                <a:gd name="T18" fmla="*/ 42 w 71"/>
                <a:gd name="T19" fmla="*/ 19 h 54"/>
                <a:gd name="T20" fmla="*/ 14 w 71"/>
                <a:gd name="T21" fmla="*/ 15 h 54"/>
                <a:gd name="T22" fmla="*/ 8 w 71"/>
                <a:gd name="T23" fmla="*/ 27 h 54"/>
                <a:gd name="T24" fmla="*/ 11 w 71"/>
                <a:gd name="T25" fmla="*/ 38 h 54"/>
                <a:gd name="T26" fmla="*/ 23 w 71"/>
                <a:gd name="T27" fmla="*/ 47 h 54"/>
                <a:gd name="T28" fmla="*/ 25 w 71"/>
                <a:gd name="T29" fmla="*/ 51 h 54"/>
                <a:gd name="T30" fmla="*/ 22 w 71"/>
                <a:gd name="T31" fmla="*/ 5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1" h="54">
                  <a:moveTo>
                    <a:pt x="22" y="53"/>
                  </a:moveTo>
                  <a:cubicBezTo>
                    <a:pt x="22" y="53"/>
                    <a:pt x="21" y="53"/>
                    <a:pt x="21" y="53"/>
                  </a:cubicBezTo>
                  <a:cubicBezTo>
                    <a:pt x="21" y="53"/>
                    <a:pt x="13" y="50"/>
                    <a:pt x="6" y="42"/>
                  </a:cubicBezTo>
                  <a:cubicBezTo>
                    <a:pt x="2" y="38"/>
                    <a:pt x="0" y="32"/>
                    <a:pt x="1" y="26"/>
                  </a:cubicBezTo>
                  <a:cubicBezTo>
                    <a:pt x="2" y="19"/>
                    <a:pt x="5" y="13"/>
                    <a:pt x="10" y="10"/>
                  </a:cubicBezTo>
                  <a:cubicBezTo>
                    <a:pt x="25" y="0"/>
                    <a:pt x="45" y="12"/>
                    <a:pt x="46" y="13"/>
                  </a:cubicBezTo>
                  <a:cubicBezTo>
                    <a:pt x="71" y="27"/>
                    <a:pt x="67" y="50"/>
                    <a:pt x="67" y="51"/>
                  </a:cubicBezTo>
                  <a:cubicBezTo>
                    <a:pt x="67" y="53"/>
                    <a:pt x="65" y="54"/>
                    <a:pt x="63" y="53"/>
                  </a:cubicBezTo>
                  <a:cubicBezTo>
                    <a:pt x="61" y="53"/>
                    <a:pt x="60" y="51"/>
                    <a:pt x="60" y="49"/>
                  </a:cubicBezTo>
                  <a:cubicBezTo>
                    <a:pt x="60" y="49"/>
                    <a:pt x="63" y="31"/>
                    <a:pt x="42" y="19"/>
                  </a:cubicBezTo>
                  <a:cubicBezTo>
                    <a:pt x="42" y="19"/>
                    <a:pt x="25" y="8"/>
                    <a:pt x="14" y="15"/>
                  </a:cubicBezTo>
                  <a:cubicBezTo>
                    <a:pt x="11" y="18"/>
                    <a:pt x="8" y="22"/>
                    <a:pt x="8" y="27"/>
                  </a:cubicBezTo>
                  <a:cubicBezTo>
                    <a:pt x="7" y="31"/>
                    <a:pt x="8" y="35"/>
                    <a:pt x="11" y="38"/>
                  </a:cubicBezTo>
                  <a:cubicBezTo>
                    <a:pt x="16" y="44"/>
                    <a:pt x="23" y="47"/>
                    <a:pt x="23" y="47"/>
                  </a:cubicBezTo>
                  <a:cubicBezTo>
                    <a:pt x="25" y="47"/>
                    <a:pt x="26" y="49"/>
                    <a:pt x="25" y="51"/>
                  </a:cubicBezTo>
                  <a:cubicBezTo>
                    <a:pt x="25" y="53"/>
                    <a:pt x="24" y="53"/>
                    <a:pt x="22" y="5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8" name="Freeform 1565">
              <a:extLst>
                <a:ext uri="{FF2B5EF4-FFF2-40B4-BE49-F238E27FC236}">
                  <a16:creationId xmlns:a16="http://schemas.microsoft.com/office/drawing/2014/main" id="{2FE1D246-D746-4E68-AAE2-1F744B51D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1420" y="5111530"/>
              <a:ext cx="128988" cy="97373"/>
            </a:xfrm>
            <a:custGeom>
              <a:avLst/>
              <a:gdLst>
                <a:gd name="T0" fmla="*/ 49 w 71"/>
                <a:gd name="T1" fmla="*/ 53 h 54"/>
                <a:gd name="T2" fmla="*/ 46 w 71"/>
                <a:gd name="T3" fmla="*/ 51 h 54"/>
                <a:gd name="T4" fmla="*/ 48 w 71"/>
                <a:gd name="T5" fmla="*/ 47 h 54"/>
                <a:gd name="T6" fmla="*/ 60 w 71"/>
                <a:gd name="T7" fmla="*/ 38 h 54"/>
                <a:gd name="T8" fmla="*/ 63 w 71"/>
                <a:gd name="T9" fmla="*/ 27 h 54"/>
                <a:gd name="T10" fmla="*/ 57 w 71"/>
                <a:gd name="T11" fmla="*/ 15 h 54"/>
                <a:gd name="T12" fmla="*/ 29 w 71"/>
                <a:gd name="T13" fmla="*/ 19 h 54"/>
                <a:gd name="T14" fmla="*/ 11 w 71"/>
                <a:gd name="T15" fmla="*/ 49 h 54"/>
                <a:gd name="T16" fmla="*/ 8 w 71"/>
                <a:gd name="T17" fmla="*/ 53 h 54"/>
                <a:gd name="T18" fmla="*/ 4 w 71"/>
                <a:gd name="T19" fmla="*/ 51 h 54"/>
                <a:gd name="T20" fmla="*/ 26 w 71"/>
                <a:gd name="T21" fmla="*/ 13 h 54"/>
                <a:gd name="T22" fmla="*/ 61 w 71"/>
                <a:gd name="T23" fmla="*/ 10 h 54"/>
                <a:gd name="T24" fmla="*/ 70 w 71"/>
                <a:gd name="T25" fmla="*/ 26 h 54"/>
                <a:gd name="T26" fmla="*/ 65 w 71"/>
                <a:gd name="T27" fmla="*/ 42 h 54"/>
                <a:gd name="T28" fmla="*/ 50 w 71"/>
                <a:gd name="T29" fmla="*/ 53 h 54"/>
                <a:gd name="T30" fmla="*/ 49 w 71"/>
                <a:gd name="T31" fmla="*/ 5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1" h="54">
                  <a:moveTo>
                    <a:pt x="49" y="53"/>
                  </a:moveTo>
                  <a:cubicBezTo>
                    <a:pt x="47" y="53"/>
                    <a:pt x="46" y="53"/>
                    <a:pt x="46" y="51"/>
                  </a:cubicBezTo>
                  <a:cubicBezTo>
                    <a:pt x="45" y="49"/>
                    <a:pt x="46" y="47"/>
                    <a:pt x="48" y="47"/>
                  </a:cubicBezTo>
                  <a:cubicBezTo>
                    <a:pt x="48" y="47"/>
                    <a:pt x="55" y="44"/>
                    <a:pt x="60" y="38"/>
                  </a:cubicBezTo>
                  <a:cubicBezTo>
                    <a:pt x="63" y="35"/>
                    <a:pt x="64" y="31"/>
                    <a:pt x="63" y="27"/>
                  </a:cubicBezTo>
                  <a:cubicBezTo>
                    <a:pt x="63" y="22"/>
                    <a:pt x="60" y="18"/>
                    <a:pt x="57" y="15"/>
                  </a:cubicBezTo>
                  <a:cubicBezTo>
                    <a:pt x="46" y="8"/>
                    <a:pt x="29" y="19"/>
                    <a:pt x="29" y="19"/>
                  </a:cubicBezTo>
                  <a:cubicBezTo>
                    <a:pt x="8" y="31"/>
                    <a:pt x="11" y="49"/>
                    <a:pt x="11" y="49"/>
                  </a:cubicBezTo>
                  <a:cubicBezTo>
                    <a:pt x="11" y="51"/>
                    <a:pt x="10" y="53"/>
                    <a:pt x="8" y="53"/>
                  </a:cubicBezTo>
                  <a:cubicBezTo>
                    <a:pt x="6" y="54"/>
                    <a:pt x="4" y="53"/>
                    <a:pt x="4" y="51"/>
                  </a:cubicBezTo>
                  <a:cubicBezTo>
                    <a:pt x="4" y="50"/>
                    <a:pt x="0" y="27"/>
                    <a:pt x="26" y="13"/>
                  </a:cubicBezTo>
                  <a:cubicBezTo>
                    <a:pt x="26" y="12"/>
                    <a:pt x="46" y="0"/>
                    <a:pt x="61" y="10"/>
                  </a:cubicBezTo>
                  <a:cubicBezTo>
                    <a:pt x="66" y="13"/>
                    <a:pt x="69" y="19"/>
                    <a:pt x="70" y="26"/>
                  </a:cubicBezTo>
                  <a:cubicBezTo>
                    <a:pt x="71" y="32"/>
                    <a:pt x="69" y="38"/>
                    <a:pt x="65" y="42"/>
                  </a:cubicBezTo>
                  <a:cubicBezTo>
                    <a:pt x="58" y="50"/>
                    <a:pt x="50" y="53"/>
                    <a:pt x="50" y="53"/>
                  </a:cubicBezTo>
                  <a:cubicBezTo>
                    <a:pt x="50" y="53"/>
                    <a:pt x="49" y="53"/>
                    <a:pt x="49" y="5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7" name="Agrupar 1726">
            <a:extLst>
              <a:ext uri="{FF2B5EF4-FFF2-40B4-BE49-F238E27FC236}">
                <a16:creationId xmlns:a16="http://schemas.microsoft.com/office/drawing/2014/main" id="{8F55F1FC-19AF-4791-88C2-841DE9E1FF4C}"/>
              </a:ext>
            </a:extLst>
          </p:cNvPr>
          <p:cNvGrpSpPr/>
          <p:nvPr/>
        </p:nvGrpSpPr>
        <p:grpSpPr>
          <a:xfrm>
            <a:off x="8663384" y="5117853"/>
            <a:ext cx="421107" cy="370524"/>
            <a:chOff x="9344996" y="5117853"/>
            <a:chExt cx="421107" cy="370524"/>
          </a:xfrm>
        </p:grpSpPr>
        <p:sp>
          <p:nvSpPr>
            <p:cNvPr id="969" name="Freeform 1566">
              <a:extLst>
                <a:ext uri="{FF2B5EF4-FFF2-40B4-BE49-F238E27FC236}">
                  <a16:creationId xmlns:a16="http://schemas.microsoft.com/office/drawing/2014/main" id="{20870BCC-973E-4AD5-A432-2082CE586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5482" y="5270868"/>
              <a:ext cx="121400" cy="12646"/>
            </a:xfrm>
            <a:custGeom>
              <a:avLst/>
              <a:gdLst>
                <a:gd name="T0" fmla="*/ 63 w 67"/>
                <a:gd name="T1" fmla="*/ 7 h 7"/>
                <a:gd name="T2" fmla="*/ 3 w 67"/>
                <a:gd name="T3" fmla="*/ 7 h 7"/>
                <a:gd name="T4" fmla="*/ 0 w 67"/>
                <a:gd name="T5" fmla="*/ 4 h 7"/>
                <a:gd name="T6" fmla="*/ 3 w 67"/>
                <a:gd name="T7" fmla="*/ 0 h 7"/>
                <a:gd name="T8" fmla="*/ 63 w 67"/>
                <a:gd name="T9" fmla="*/ 0 h 7"/>
                <a:gd name="T10" fmla="*/ 67 w 67"/>
                <a:gd name="T11" fmla="*/ 4 h 7"/>
                <a:gd name="T12" fmla="*/ 63 w 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7">
                  <a:moveTo>
                    <a:pt x="6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6"/>
                    <a:pt x="65" y="7"/>
                    <a:pt x="6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0" name="Freeform 1567">
              <a:extLst>
                <a:ext uri="{FF2B5EF4-FFF2-40B4-BE49-F238E27FC236}">
                  <a16:creationId xmlns:a16="http://schemas.microsoft.com/office/drawing/2014/main" id="{AE0808F6-9678-4EBE-AAD8-E3680D9E0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5482" y="5246841"/>
              <a:ext cx="121400" cy="11381"/>
            </a:xfrm>
            <a:custGeom>
              <a:avLst/>
              <a:gdLst>
                <a:gd name="T0" fmla="*/ 63 w 67"/>
                <a:gd name="T1" fmla="*/ 6 h 6"/>
                <a:gd name="T2" fmla="*/ 3 w 67"/>
                <a:gd name="T3" fmla="*/ 6 h 6"/>
                <a:gd name="T4" fmla="*/ 0 w 67"/>
                <a:gd name="T5" fmla="*/ 3 h 6"/>
                <a:gd name="T6" fmla="*/ 3 w 67"/>
                <a:gd name="T7" fmla="*/ 0 h 6"/>
                <a:gd name="T8" fmla="*/ 63 w 67"/>
                <a:gd name="T9" fmla="*/ 0 h 6"/>
                <a:gd name="T10" fmla="*/ 67 w 67"/>
                <a:gd name="T11" fmla="*/ 3 h 6"/>
                <a:gd name="T12" fmla="*/ 63 w 67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6">
                  <a:moveTo>
                    <a:pt x="6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1"/>
                    <a:pt x="67" y="3"/>
                  </a:cubicBezTo>
                  <a:cubicBezTo>
                    <a:pt x="67" y="5"/>
                    <a:pt x="65" y="6"/>
                    <a:pt x="63" y="6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1" name="Freeform 1568">
              <a:extLst>
                <a:ext uri="{FF2B5EF4-FFF2-40B4-BE49-F238E27FC236}">
                  <a16:creationId xmlns:a16="http://schemas.microsoft.com/office/drawing/2014/main" id="{42ED0397-6A61-4F4D-8F3E-4AA8C3905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374" y="5172231"/>
              <a:ext cx="314882" cy="54377"/>
            </a:xfrm>
            <a:custGeom>
              <a:avLst/>
              <a:gdLst>
                <a:gd name="T0" fmla="*/ 34 w 174"/>
                <a:gd name="T1" fmla="*/ 30 h 30"/>
                <a:gd name="T2" fmla="*/ 0 w 174"/>
                <a:gd name="T3" fmla="*/ 6 h 30"/>
                <a:gd name="T4" fmla="*/ 1 w 174"/>
                <a:gd name="T5" fmla="*/ 3 h 30"/>
                <a:gd name="T6" fmla="*/ 4 w 174"/>
                <a:gd name="T7" fmla="*/ 3 h 30"/>
                <a:gd name="T8" fmla="*/ 41 w 174"/>
                <a:gd name="T9" fmla="*/ 8 h 30"/>
                <a:gd name="T10" fmla="*/ 104 w 174"/>
                <a:gd name="T11" fmla="*/ 8 h 30"/>
                <a:gd name="T12" fmla="*/ 107 w 174"/>
                <a:gd name="T13" fmla="*/ 11 h 30"/>
                <a:gd name="T14" fmla="*/ 104 w 174"/>
                <a:gd name="T15" fmla="*/ 14 h 30"/>
                <a:gd name="T16" fmla="*/ 41 w 174"/>
                <a:gd name="T17" fmla="*/ 14 h 30"/>
                <a:gd name="T18" fmla="*/ 8 w 174"/>
                <a:gd name="T19" fmla="*/ 11 h 30"/>
                <a:gd name="T20" fmla="*/ 35 w 174"/>
                <a:gd name="T21" fmla="*/ 23 h 30"/>
                <a:gd name="T22" fmla="*/ 137 w 174"/>
                <a:gd name="T23" fmla="*/ 23 h 30"/>
                <a:gd name="T24" fmla="*/ 165 w 174"/>
                <a:gd name="T25" fmla="*/ 10 h 30"/>
                <a:gd name="T26" fmla="*/ 142 w 174"/>
                <a:gd name="T27" fmla="*/ 14 h 30"/>
                <a:gd name="T28" fmla="*/ 118 w 174"/>
                <a:gd name="T29" fmla="*/ 14 h 30"/>
                <a:gd name="T30" fmla="*/ 115 w 174"/>
                <a:gd name="T31" fmla="*/ 10 h 30"/>
                <a:gd name="T32" fmla="*/ 118 w 174"/>
                <a:gd name="T33" fmla="*/ 7 h 30"/>
                <a:gd name="T34" fmla="*/ 142 w 174"/>
                <a:gd name="T35" fmla="*/ 7 h 30"/>
                <a:gd name="T36" fmla="*/ 169 w 174"/>
                <a:gd name="T37" fmla="*/ 1 h 30"/>
                <a:gd name="T38" fmla="*/ 172 w 174"/>
                <a:gd name="T39" fmla="*/ 1 h 30"/>
                <a:gd name="T40" fmla="*/ 174 w 174"/>
                <a:gd name="T41" fmla="*/ 4 h 30"/>
                <a:gd name="T42" fmla="*/ 137 w 174"/>
                <a:gd name="T43" fmla="*/ 30 h 30"/>
                <a:gd name="T44" fmla="*/ 35 w 174"/>
                <a:gd name="T45" fmla="*/ 30 h 30"/>
                <a:gd name="T46" fmla="*/ 34 w 174"/>
                <a:gd name="T4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4" h="30">
                  <a:moveTo>
                    <a:pt x="34" y="30"/>
                  </a:moveTo>
                  <a:cubicBezTo>
                    <a:pt x="22" y="30"/>
                    <a:pt x="2" y="25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2" y="2"/>
                    <a:pt x="3" y="2"/>
                    <a:pt x="4" y="3"/>
                  </a:cubicBezTo>
                  <a:cubicBezTo>
                    <a:pt x="4" y="3"/>
                    <a:pt x="21" y="8"/>
                    <a:pt x="41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6" y="8"/>
                    <a:pt x="107" y="9"/>
                    <a:pt x="107" y="11"/>
                  </a:cubicBezTo>
                  <a:cubicBezTo>
                    <a:pt x="107" y="13"/>
                    <a:pt x="106" y="14"/>
                    <a:pt x="104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27" y="14"/>
                    <a:pt x="15" y="12"/>
                    <a:pt x="8" y="11"/>
                  </a:cubicBezTo>
                  <a:cubicBezTo>
                    <a:pt x="14" y="24"/>
                    <a:pt x="35" y="23"/>
                    <a:pt x="35" y="23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55" y="23"/>
                    <a:pt x="162" y="16"/>
                    <a:pt x="165" y="10"/>
                  </a:cubicBezTo>
                  <a:cubicBezTo>
                    <a:pt x="156" y="13"/>
                    <a:pt x="143" y="14"/>
                    <a:pt x="142" y="14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6" y="14"/>
                    <a:pt x="115" y="12"/>
                    <a:pt x="115" y="10"/>
                  </a:cubicBezTo>
                  <a:cubicBezTo>
                    <a:pt x="115" y="9"/>
                    <a:pt x="116" y="7"/>
                    <a:pt x="118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7" y="7"/>
                    <a:pt x="163" y="5"/>
                    <a:pt x="169" y="1"/>
                  </a:cubicBezTo>
                  <a:cubicBezTo>
                    <a:pt x="170" y="0"/>
                    <a:pt x="171" y="0"/>
                    <a:pt x="172" y="1"/>
                  </a:cubicBezTo>
                  <a:cubicBezTo>
                    <a:pt x="173" y="2"/>
                    <a:pt x="174" y="3"/>
                    <a:pt x="174" y="4"/>
                  </a:cubicBezTo>
                  <a:cubicBezTo>
                    <a:pt x="174" y="5"/>
                    <a:pt x="171" y="30"/>
                    <a:pt x="137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4" y="30"/>
                    <a:pt x="34" y="3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2" name="Freeform 1569">
              <a:extLst>
                <a:ext uri="{FF2B5EF4-FFF2-40B4-BE49-F238E27FC236}">
                  <a16:creationId xmlns:a16="http://schemas.microsoft.com/office/drawing/2014/main" id="{ACB615CD-682B-49D7-AF4F-DC109F72E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0872" y="5136822"/>
              <a:ext cx="271886" cy="58171"/>
            </a:xfrm>
            <a:custGeom>
              <a:avLst/>
              <a:gdLst>
                <a:gd name="T0" fmla="*/ 3 w 150"/>
                <a:gd name="T1" fmla="*/ 32 h 32"/>
                <a:gd name="T2" fmla="*/ 0 w 150"/>
                <a:gd name="T3" fmla="*/ 29 h 32"/>
                <a:gd name="T4" fmla="*/ 3 w 150"/>
                <a:gd name="T5" fmla="*/ 25 h 32"/>
                <a:gd name="T6" fmla="*/ 39 w 150"/>
                <a:gd name="T7" fmla="*/ 2 h 32"/>
                <a:gd name="T8" fmla="*/ 42 w 150"/>
                <a:gd name="T9" fmla="*/ 0 h 32"/>
                <a:gd name="T10" fmla="*/ 106 w 150"/>
                <a:gd name="T11" fmla="*/ 0 h 32"/>
                <a:gd name="T12" fmla="*/ 109 w 150"/>
                <a:gd name="T13" fmla="*/ 1 h 32"/>
                <a:gd name="T14" fmla="*/ 147 w 150"/>
                <a:gd name="T15" fmla="*/ 25 h 32"/>
                <a:gd name="T16" fmla="*/ 150 w 150"/>
                <a:gd name="T17" fmla="*/ 29 h 32"/>
                <a:gd name="T18" fmla="*/ 146 w 150"/>
                <a:gd name="T19" fmla="*/ 32 h 32"/>
                <a:gd name="T20" fmla="*/ 104 w 150"/>
                <a:gd name="T21" fmla="*/ 7 h 32"/>
                <a:gd name="T22" fmla="*/ 44 w 150"/>
                <a:gd name="T23" fmla="*/ 7 h 32"/>
                <a:gd name="T24" fmla="*/ 4 w 150"/>
                <a:gd name="T25" fmla="*/ 32 h 32"/>
                <a:gd name="T26" fmla="*/ 3 w 150"/>
                <a:gd name="T2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32">
                  <a:moveTo>
                    <a:pt x="3" y="32"/>
                  </a:moveTo>
                  <a:cubicBezTo>
                    <a:pt x="2" y="32"/>
                    <a:pt x="0" y="31"/>
                    <a:pt x="0" y="29"/>
                  </a:cubicBezTo>
                  <a:cubicBezTo>
                    <a:pt x="0" y="27"/>
                    <a:pt x="1" y="26"/>
                    <a:pt x="3" y="25"/>
                  </a:cubicBezTo>
                  <a:cubicBezTo>
                    <a:pt x="3" y="25"/>
                    <a:pt x="29" y="19"/>
                    <a:pt x="39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0"/>
                    <a:pt x="108" y="0"/>
                    <a:pt x="109" y="1"/>
                  </a:cubicBezTo>
                  <a:cubicBezTo>
                    <a:pt x="109" y="2"/>
                    <a:pt x="122" y="21"/>
                    <a:pt x="147" y="25"/>
                  </a:cubicBezTo>
                  <a:cubicBezTo>
                    <a:pt x="149" y="25"/>
                    <a:pt x="150" y="27"/>
                    <a:pt x="150" y="29"/>
                  </a:cubicBezTo>
                  <a:cubicBezTo>
                    <a:pt x="149" y="31"/>
                    <a:pt x="148" y="32"/>
                    <a:pt x="146" y="32"/>
                  </a:cubicBezTo>
                  <a:cubicBezTo>
                    <a:pt x="122" y="28"/>
                    <a:pt x="108" y="12"/>
                    <a:pt x="10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32" y="26"/>
                    <a:pt x="5" y="32"/>
                    <a:pt x="4" y="32"/>
                  </a:cubicBezTo>
                  <a:cubicBezTo>
                    <a:pt x="4" y="32"/>
                    <a:pt x="4" y="32"/>
                    <a:pt x="3" y="3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3" name="Freeform 1570">
              <a:extLst>
                <a:ext uri="{FF2B5EF4-FFF2-40B4-BE49-F238E27FC236}">
                  <a16:creationId xmlns:a16="http://schemas.microsoft.com/office/drawing/2014/main" id="{FBEE8B77-DE6A-4CCB-B040-CA5331D4C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57544" y="5406179"/>
              <a:ext cx="51848" cy="82198"/>
            </a:xfrm>
            <a:custGeom>
              <a:avLst/>
              <a:gdLst>
                <a:gd name="T0" fmla="*/ 14 w 29"/>
                <a:gd name="T1" fmla="*/ 45 h 45"/>
                <a:gd name="T2" fmla="*/ 0 w 29"/>
                <a:gd name="T3" fmla="*/ 30 h 45"/>
                <a:gd name="T4" fmla="*/ 0 w 29"/>
                <a:gd name="T5" fmla="*/ 15 h 45"/>
                <a:gd name="T6" fmla="*/ 14 w 29"/>
                <a:gd name="T7" fmla="*/ 0 h 45"/>
                <a:gd name="T8" fmla="*/ 29 w 29"/>
                <a:gd name="T9" fmla="*/ 15 h 45"/>
                <a:gd name="T10" fmla="*/ 29 w 29"/>
                <a:gd name="T11" fmla="*/ 30 h 45"/>
                <a:gd name="T12" fmla="*/ 14 w 29"/>
                <a:gd name="T13" fmla="*/ 45 h 45"/>
                <a:gd name="T14" fmla="*/ 14 w 29"/>
                <a:gd name="T15" fmla="*/ 7 h 45"/>
                <a:gd name="T16" fmla="*/ 7 w 29"/>
                <a:gd name="T17" fmla="*/ 15 h 45"/>
                <a:gd name="T18" fmla="*/ 7 w 29"/>
                <a:gd name="T19" fmla="*/ 30 h 45"/>
                <a:gd name="T20" fmla="*/ 14 w 29"/>
                <a:gd name="T21" fmla="*/ 38 h 45"/>
                <a:gd name="T22" fmla="*/ 22 w 29"/>
                <a:gd name="T23" fmla="*/ 30 h 45"/>
                <a:gd name="T24" fmla="*/ 22 w 29"/>
                <a:gd name="T25" fmla="*/ 15 h 45"/>
                <a:gd name="T26" fmla="*/ 14 w 29"/>
                <a:gd name="T27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45">
                  <a:moveTo>
                    <a:pt x="14" y="45"/>
                  </a:moveTo>
                  <a:cubicBezTo>
                    <a:pt x="7" y="45"/>
                    <a:pt x="0" y="38"/>
                    <a:pt x="0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4" y="0"/>
                  </a:cubicBezTo>
                  <a:cubicBezTo>
                    <a:pt x="22" y="0"/>
                    <a:pt x="29" y="7"/>
                    <a:pt x="29" y="15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8"/>
                    <a:pt x="22" y="45"/>
                    <a:pt x="14" y="45"/>
                  </a:cubicBezTo>
                  <a:close/>
                  <a:moveTo>
                    <a:pt x="14" y="7"/>
                  </a:moveTo>
                  <a:cubicBezTo>
                    <a:pt x="10" y="7"/>
                    <a:pt x="7" y="11"/>
                    <a:pt x="7" y="15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4"/>
                    <a:pt x="10" y="38"/>
                    <a:pt x="14" y="38"/>
                  </a:cubicBezTo>
                  <a:cubicBezTo>
                    <a:pt x="19" y="38"/>
                    <a:pt x="22" y="34"/>
                    <a:pt x="22" y="30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1"/>
                    <a:pt x="19" y="7"/>
                    <a:pt x="14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4" name="Freeform 1571">
              <a:extLst>
                <a:ext uri="{FF2B5EF4-FFF2-40B4-BE49-F238E27FC236}">
                  <a16:creationId xmlns:a16="http://schemas.microsoft.com/office/drawing/2014/main" id="{D9F9BCFC-A998-49D0-A875-AAA96EDBA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5230" y="5389739"/>
              <a:ext cx="51848" cy="70817"/>
            </a:xfrm>
            <a:custGeom>
              <a:avLst/>
              <a:gdLst>
                <a:gd name="T0" fmla="*/ 25 w 29"/>
                <a:gd name="T1" fmla="*/ 39 h 39"/>
                <a:gd name="T2" fmla="*/ 22 w 29"/>
                <a:gd name="T3" fmla="*/ 35 h 39"/>
                <a:gd name="T4" fmla="*/ 22 w 29"/>
                <a:gd name="T5" fmla="*/ 9 h 39"/>
                <a:gd name="T6" fmla="*/ 19 w 29"/>
                <a:gd name="T7" fmla="*/ 7 h 39"/>
                <a:gd name="T8" fmla="*/ 9 w 29"/>
                <a:gd name="T9" fmla="*/ 7 h 39"/>
                <a:gd name="T10" fmla="*/ 7 w 29"/>
                <a:gd name="T11" fmla="*/ 9 h 39"/>
                <a:gd name="T12" fmla="*/ 7 w 29"/>
                <a:gd name="T13" fmla="*/ 30 h 39"/>
                <a:gd name="T14" fmla="*/ 3 w 29"/>
                <a:gd name="T15" fmla="*/ 34 h 39"/>
                <a:gd name="T16" fmla="*/ 0 w 29"/>
                <a:gd name="T17" fmla="*/ 30 h 39"/>
                <a:gd name="T18" fmla="*/ 0 w 29"/>
                <a:gd name="T19" fmla="*/ 9 h 39"/>
                <a:gd name="T20" fmla="*/ 9 w 29"/>
                <a:gd name="T21" fmla="*/ 0 h 39"/>
                <a:gd name="T22" fmla="*/ 19 w 29"/>
                <a:gd name="T23" fmla="*/ 0 h 39"/>
                <a:gd name="T24" fmla="*/ 29 w 29"/>
                <a:gd name="T25" fmla="*/ 9 h 39"/>
                <a:gd name="T26" fmla="*/ 29 w 29"/>
                <a:gd name="T27" fmla="*/ 35 h 39"/>
                <a:gd name="T28" fmla="*/ 25 w 29"/>
                <a:gd name="T2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39">
                  <a:moveTo>
                    <a:pt x="25" y="39"/>
                  </a:moveTo>
                  <a:cubicBezTo>
                    <a:pt x="23" y="39"/>
                    <a:pt x="22" y="37"/>
                    <a:pt x="22" y="35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8"/>
                    <a:pt x="21" y="7"/>
                    <a:pt x="1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2"/>
                    <a:pt x="5" y="34"/>
                    <a:pt x="3" y="34"/>
                  </a:cubicBezTo>
                  <a:cubicBezTo>
                    <a:pt x="1" y="34"/>
                    <a:pt x="0" y="32"/>
                    <a:pt x="0" y="3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9" y="4"/>
                    <a:pt x="29" y="9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7"/>
                    <a:pt x="27" y="39"/>
                    <a:pt x="25" y="3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5" name="Freeform 1572">
              <a:extLst>
                <a:ext uri="{FF2B5EF4-FFF2-40B4-BE49-F238E27FC236}">
                  <a16:creationId xmlns:a16="http://schemas.microsoft.com/office/drawing/2014/main" id="{F8527DD0-39C2-4FA9-BD5E-C0A7E9F0E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688" y="5220285"/>
              <a:ext cx="11381" cy="196011"/>
            </a:xfrm>
            <a:custGeom>
              <a:avLst/>
              <a:gdLst>
                <a:gd name="T0" fmla="*/ 3 w 6"/>
                <a:gd name="T1" fmla="*/ 108 h 108"/>
                <a:gd name="T2" fmla="*/ 0 w 6"/>
                <a:gd name="T3" fmla="*/ 105 h 108"/>
                <a:gd name="T4" fmla="*/ 0 w 6"/>
                <a:gd name="T5" fmla="*/ 3 h 108"/>
                <a:gd name="T6" fmla="*/ 3 w 6"/>
                <a:gd name="T7" fmla="*/ 0 h 108"/>
                <a:gd name="T8" fmla="*/ 6 w 6"/>
                <a:gd name="T9" fmla="*/ 3 h 108"/>
                <a:gd name="T10" fmla="*/ 6 w 6"/>
                <a:gd name="T11" fmla="*/ 105 h 108"/>
                <a:gd name="T12" fmla="*/ 3 w 6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8">
                  <a:moveTo>
                    <a:pt x="3" y="108"/>
                  </a:moveTo>
                  <a:cubicBezTo>
                    <a:pt x="1" y="108"/>
                    <a:pt x="0" y="107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05"/>
                    <a:pt x="6" y="105"/>
                    <a:pt x="6" y="105"/>
                  </a:cubicBezTo>
                  <a:cubicBezTo>
                    <a:pt x="6" y="107"/>
                    <a:pt x="5" y="108"/>
                    <a:pt x="3" y="10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6" name="Freeform 1573">
              <a:extLst>
                <a:ext uri="{FF2B5EF4-FFF2-40B4-BE49-F238E27FC236}">
                  <a16:creationId xmlns:a16="http://schemas.microsoft.com/office/drawing/2014/main" id="{51E856BA-5562-4418-8B3F-1F42BDC22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5132" y="5220285"/>
              <a:ext cx="12646" cy="196011"/>
            </a:xfrm>
            <a:custGeom>
              <a:avLst/>
              <a:gdLst>
                <a:gd name="T0" fmla="*/ 4 w 7"/>
                <a:gd name="T1" fmla="*/ 108 h 108"/>
                <a:gd name="T2" fmla="*/ 0 w 7"/>
                <a:gd name="T3" fmla="*/ 105 h 108"/>
                <a:gd name="T4" fmla="*/ 0 w 7"/>
                <a:gd name="T5" fmla="*/ 3 h 108"/>
                <a:gd name="T6" fmla="*/ 4 w 7"/>
                <a:gd name="T7" fmla="*/ 0 h 108"/>
                <a:gd name="T8" fmla="*/ 7 w 7"/>
                <a:gd name="T9" fmla="*/ 3 h 108"/>
                <a:gd name="T10" fmla="*/ 7 w 7"/>
                <a:gd name="T11" fmla="*/ 105 h 108"/>
                <a:gd name="T12" fmla="*/ 4 w 7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08">
                  <a:moveTo>
                    <a:pt x="4" y="108"/>
                  </a:moveTo>
                  <a:cubicBezTo>
                    <a:pt x="2" y="108"/>
                    <a:pt x="0" y="107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3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7"/>
                    <a:pt x="6" y="108"/>
                    <a:pt x="4" y="10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7" name="Freeform 1574">
              <a:extLst>
                <a:ext uri="{FF2B5EF4-FFF2-40B4-BE49-F238E27FC236}">
                  <a16:creationId xmlns:a16="http://schemas.microsoft.com/office/drawing/2014/main" id="{F850BD63-05EC-40F5-B92C-86EA586FA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844" y="5313864"/>
              <a:ext cx="11381" cy="85992"/>
            </a:xfrm>
            <a:custGeom>
              <a:avLst/>
              <a:gdLst>
                <a:gd name="T0" fmla="*/ 3 w 6"/>
                <a:gd name="T1" fmla="*/ 47 h 47"/>
                <a:gd name="T2" fmla="*/ 0 w 6"/>
                <a:gd name="T3" fmla="*/ 44 h 47"/>
                <a:gd name="T4" fmla="*/ 0 w 6"/>
                <a:gd name="T5" fmla="*/ 4 h 47"/>
                <a:gd name="T6" fmla="*/ 3 w 6"/>
                <a:gd name="T7" fmla="*/ 0 h 47"/>
                <a:gd name="T8" fmla="*/ 6 w 6"/>
                <a:gd name="T9" fmla="*/ 4 h 47"/>
                <a:gd name="T10" fmla="*/ 6 w 6"/>
                <a:gd name="T11" fmla="*/ 44 h 47"/>
                <a:gd name="T12" fmla="*/ 3 w 6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7">
                  <a:moveTo>
                    <a:pt x="3" y="47"/>
                  </a:moveTo>
                  <a:cubicBezTo>
                    <a:pt x="1" y="47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7"/>
                    <a:pt x="3" y="4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8" name="Freeform 1575">
              <a:extLst>
                <a:ext uri="{FF2B5EF4-FFF2-40B4-BE49-F238E27FC236}">
                  <a16:creationId xmlns:a16="http://schemas.microsoft.com/office/drawing/2014/main" id="{3C1846D6-782D-47EC-AAF8-01305FE64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553" y="5308806"/>
              <a:ext cx="12646" cy="92315"/>
            </a:xfrm>
            <a:custGeom>
              <a:avLst/>
              <a:gdLst>
                <a:gd name="T0" fmla="*/ 4 w 7"/>
                <a:gd name="T1" fmla="*/ 51 h 51"/>
                <a:gd name="T2" fmla="*/ 0 w 7"/>
                <a:gd name="T3" fmla="*/ 48 h 51"/>
                <a:gd name="T4" fmla="*/ 0 w 7"/>
                <a:gd name="T5" fmla="*/ 3 h 51"/>
                <a:gd name="T6" fmla="*/ 4 w 7"/>
                <a:gd name="T7" fmla="*/ 0 h 51"/>
                <a:gd name="T8" fmla="*/ 7 w 7"/>
                <a:gd name="T9" fmla="*/ 3 h 51"/>
                <a:gd name="T10" fmla="*/ 7 w 7"/>
                <a:gd name="T11" fmla="*/ 48 h 51"/>
                <a:gd name="T12" fmla="*/ 4 w 7"/>
                <a:gd name="T1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51">
                  <a:moveTo>
                    <a:pt x="4" y="51"/>
                  </a:moveTo>
                  <a:cubicBezTo>
                    <a:pt x="2" y="51"/>
                    <a:pt x="0" y="49"/>
                    <a:pt x="0" y="4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9"/>
                    <a:pt x="6" y="51"/>
                    <a:pt x="4" y="5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9" name="Freeform 1576">
              <a:extLst>
                <a:ext uri="{FF2B5EF4-FFF2-40B4-BE49-F238E27FC236}">
                  <a16:creationId xmlns:a16="http://schemas.microsoft.com/office/drawing/2014/main" id="{155B686C-B2B1-4B40-85F6-7647D33FB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996" y="5274662"/>
              <a:ext cx="132781" cy="50583"/>
            </a:xfrm>
            <a:custGeom>
              <a:avLst/>
              <a:gdLst>
                <a:gd name="T0" fmla="*/ 34 w 73"/>
                <a:gd name="T1" fmla="*/ 28 h 28"/>
                <a:gd name="T2" fmla="*/ 10 w 73"/>
                <a:gd name="T3" fmla="*/ 20 h 28"/>
                <a:gd name="T4" fmla="*/ 0 w 73"/>
                <a:gd name="T5" fmla="*/ 5 h 28"/>
                <a:gd name="T6" fmla="*/ 1 w 73"/>
                <a:gd name="T7" fmla="*/ 1 h 28"/>
                <a:gd name="T8" fmla="*/ 5 w 73"/>
                <a:gd name="T9" fmla="*/ 1 h 28"/>
                <a:gd name="T10" fmla="*/ 32 w 73"/>
                <a:gd name="T11" fmla="*/ 5 h 28"/>
                <a:gd name="T12" fmla="*/ 70 w 73"/>
                <a:gd name="T13" fmla="*/ 5 h 28"/>
                <a:gd name="T14" fmla="*/ 73 w 73"/>
                <a:gd name="T15" fmla="*/ 8 h 28"/>
                <a:gd name="T16" fmla="*/ 70 w 73"/>
                <a:gd name="T17" fmla="*/ 11 h 28"/>
                <a:gd name="T18" fmla="*/ 32 w 73"/>
                <a:gd name="T19" fmla="*/ 11 h 28"/>
                <a:gd name="T20" fmla="*/ 10 w 73"/>
                <a:gd name="T21" fmla="*/ 9 h 28"/>
                <a:gd name="T22" fmla="*/ 15 w 73"/>
                <a:gd name="T23" fmla="*/ 16 h 28"/>
                <a:gd name="T24" fmla="*/ 37 w 73"/>
                <a:gd name="T25" fmla="*/ 21 h 28"/>
                <a:gd name="T26" fmla="*/ 68 w 73"/>
                <a:gd name="T27" fmla="*/ 21 h 28"/>
                <a:gd name="T28" fmla="*/ 72 w 73"/>
                <a:gd name="T29" fmla="*/ 25 h 28"/>
                <a:gd name="T30" fmla="*/ 68 w 73"/>
                <a:gd name="T31" fmla="*/ 28 h 28"/>
                <a:gd name="T32" fmla="*/ 38 w 73"/>
                <a:gd name="T33" fmla="*/ 28 h 28"/>
                <a:gd name="T34" fmla="*/ 34 w 73"/>
                <a:gd name="T3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8">
                  <a:moveTo>
                    <a:pt x="34" y="28"/>
                  </a:moveTo>
                  <a:cubicBezTo>
                    <a:pt x="27" y="28"/>
                    <a:pt x="16" y="27"/>
                    <a:pt x="10" y="20"/>
                  </a:cubicBezTo>
                  <a:cubicBezTo>
                    <a:pt x="2" y="11"/>
                    <a:pt x="1" y="5"/>
                    <a:pt x="0" y="5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1"/>
                    <a:pt x="4" y="0"/>
                    <a:pt x="5" y="1"/>
                  </a:cubicBezTo>
                  <a:cubicBezTo>
                    <a:pt x="5" y="1"/>
                    <a:pt x="18" y="4"/>
                    <a:pt x="32" y="5"/>
                  </a:cubicBezTo>
                  <a:cubicBezTo>
                    <a:pt x="46" y="5"/>
                    <a:pt x="69" y="5"/>
                    <a:pt x="70" y="5"/>
                  </a:cubicBezTo>
                  <a:cubicBezTo>
                    <a:pt x="72" y="5"/>
                    <a:pt x="73" y="6"/>
                    <a:pt x="73" y="8"/>
                  </a:cubicBezTo>
                  <a:cubicBezTo>
                    <a:pt x="73" y="10"/>
                    <a:pt x="72" y="11"/>
                    <a:pt x="70" y="11"/>
                  </a:cubicBezTo>
                  <a:cubicBezTo>
                    <a:pt x="70" y="11"/>
                    <a:pt x="46" y="12"/>
                    <a:pt x="32" y="11"/>
                  </a:cubicBezTo>
                  <a:cubicBezTo>
                    <a:pt x="23" y="11"/>
                    <a:pt x="15" y="10"/>
                    <a:pt x="10" y="9"/>
                  </a:cubicBezTo>
                  <a:cubicBezTo>
                    <a:pt x="11" y="11"/>
                    <a:pt x="12" y="13"/>
                    <a:pt x="15" y="16"/>
                  </a:cubicBezTo>
                  <a:cubicBezTo>
                    <a:pt x="20" y="21"/>
                    <a:pt x="33" y="22"/>
                    <a:pt x="37" y="21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0" y="21"/>
                    <a:pt x="72" y="23"/>
                    <a:pt x="72" y="25"/>
                  </a:cubicBezTo>
                  <a:cubicBezTo>
                    <a:pt x="72" y="26"/>
                    <a:pt x="70" y="28"/>
                    <a:pt x="6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6" y="28"/>
                    <a:pt x="34" y="2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0" name="Freeform 1577">
              <a:extLst>
                <a:ext uri="{FF2B5EF4-FFF2-40B4-BE49-F238E27FC236}">
                  <a16:creationId xmlns:a16="http://schemas.microsoft.com/office/drawing/2014/main" id="{C204EAC9-0976-48A7-8622-9E956AD09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0288" y="5237989"/>
              <a:ext cx="107490" cy="54377"/>
            </a:xfrm>
            <a:custGeom>
              <a:avLst/>
              <a:gdLst>
                <a:gd name="T0" fmla="*/ 4 w 59"/>
                <a:gd name="T1" fmla="*/ 30 h 30"/>
                <a:gd name="T2" fmla="*/ 1 w 59"/>
                <a:gd name="T3" fmla="*/ 28 h 30"/>
                <a:gd name="T4" fmla="*/ 3 w 59"/>
                <a:gd name="T5" fmla="*/ 23 h 30"/>
                <a:gd name="T6" fmla="*/ 37 w 59"/>
                <a:gd name="T7" fmla="*/ 1 h 30"/>
                <a:gd name="T8" fmla="*/ 40 w 59"/>
                <a:gd name="T9" fmla="*/ 0 h 30"/>
                <a:gd name="T10" fmla="*/ 56 w 59"/>
                <a:gd name="T11" fmla="*/ 0 h 30"/>
                <a:gd name="T12" fmla="*/ 59 w 59"/>
                <a:gd name="T13" fmla="*/ 3 h 30"/>
                <a:gd name="T14" fmla="*/ 56 w 59"/>
                <a:gd name="T15" fmla="*/ 7 h 30"/>
                <a:gd name="T16" fmla="*/ 41 w 59"/>
                <a:gd name="T17" fmla="*/ 7 h 30"/>
                <a:gd name="T18" fmla="*/ 5 w 59"/>
                <a:gd name="T19" fmla="*/ 30 h 30"/>
                <a:gd name="T20" fmla="*/ 4 w 59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30">
                  <a:moveTo>
                    <a:pt x="4" y="30"/>
                  </a:moveTo>
                  <a:cubicBezTo>
                    <a:pt x="2" y="30"/>
                    <a:pt x="1" y="29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3" y="23"/>
                    <a:pt x="28" y="16"/>
                    <a:pt x="37" y="1"/>
                  </a:cubicBezTo>
                  <a:cubicBezTo>
                    <a:pt x="37" y="0"/>
                    <a:pt x="38" y="0"/>
                    <a:pt x="40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59" y="1"/>
                    <a:pt x="59" y="3"/>
                  </a:cubicBezTo>
                  <a:cubicBezTo>
                    <a:pt x="59" y="5"/>
                    <a:pt x="58" y="7"/>
                    <a:pt x="56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31" y="22"/>
                    <a:pt x="6" y="30"/>
                    <a:pt x="5" y="30"/>
                  </a:cubicBezTo>
                  <a:cubicBezTo>
                    <a:pt x="5" y="30"/>
                    <a:pt x="4" y="30"/>
                    <a:pt x="4" y="3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1" name="Freeform 1578">
              <a:extLst>
                <a:ext uri="{FF2B5EF4-FFF2-40B4-BE49-F238E27FC236}">
                  <a16:creationId xmlns:a16="http://schemas.microsoft.com/office/drawing/2014/main" id="{EA4F7FA2-DE92-4167-8472-760B05A82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374" y="5334098"/>
              <a:ext cx="78404" cy="12646"/>
            </a:xfrm>
            <a:custGeom>
              <a:avLst/>
              <a:gdLst>
                <a:gd name="T0" fmla="*/ 40 w 43"/>
                <a:gd name="T1" fmla="*/ 7 h 7"/>
                <a:gd name="T2" fmla="*/ 3 w 43"/>
                <a:gd name="T3" fmla="*/ 7 h 7"/>
                <a:gd name="T4" fmla="*/ 0 w 43"/>
                <a:gd name="T5" fmla="*/ 4 h 7"/>
                <a:gd name="T6" fmla="*/ 3 w 43"/>
                <a:gd name="T7" fmla="*/ 0 h 7"/>
                <a:gd name="T8" fmla="*/ 40 w 43"/>
                <a:gd name="T9" fmla="*/ 0 h 7"/>
                <a:gd name="T10" fmla="*/ 43 w 43"/>
                <a:gd name="T11" fmla="*/ 4 h 7"/>
                <a:gd name="T12" fmla="*/ 40 w 4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7">
                  <a:moveTo>
                    <a:pt x="4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3" y="2"/>
                    <a:pt x="43" y="4"/>
                  </a:cubicBezTo>
                  <a:cubicBezTo>
                    <a:pt x="43" y="6"/>
                    <a:pt x="42" y="7"/>
                    <a:pt x="40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2" name="Freeform 1579">
              <a:extLst>
                <a:ext uri="{FF2B5EF4-FFF2-40B4-BE49-F238E27FC236}">
                  <a16:creationId xmlns:a16="http://schemas.microsoft.com/office/drawing/2014/main" id="{EC9F6556-C096-4946-9033-6EB365F84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374" y="5359389"/>
              <a:ext cx="78404" cy="12646"/>
            </a:xfrm>
            <a:custGeom>
              <a:avLst/>
              <a:gdLst>
                <a:gd name="T0" fmla="*/ 40 w 43"/>
                <a:gd name="T1" fmla="*/ 7 h 7"/>
                <a:gd name="T2" fmla="*/ 3 w 43"/>
                <a:gd name="T3" fmla="*/ 7 h 7"/>
                <a:gd name="T4" fmla="*/ 0 w 43"/>
                <a:gd name="T5" fmla="*/ 4 h 7"/>
                <a:gd name="T6" fmla="*/ 3 w 43"/>
                <a:gd name="T7" fmla="*/ 0 h 7"/>
                <a:gd name="T8" fmla="*/ 40 w 43"/>
                <a:gd name="T9" fmla="*/ 0 h 7"/>
                <a:gd name="T10" fmla="*/ 43 w 43"/>
                <a:gd name="T11" fmla="*/ 4 h 7"/>
                <a:gd name="T12" fmla="*/ 40 w 4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7">
                  <a:moveTo>
                    <a:pt x="4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3" y="2"/>
                    <a:pt x="43" y="4"/>
                  </a:cubicBezTo>
                  <a:cubicBezTo>
                    <a:pt x="43" y="6"/>
                    <a:pt x="42" y="7"/>
                    <a:pt x="40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3" name="Freeform 1580">
              <a:extLst>
                <a:ext uri="{FF2B5EF4-FFF2-40B4-BE49-F238E27FC236}">
                  <a16:creationId xmlns:a16="http://schemas.microsoft.com/office/drawing/2014/main" id="{5A729426-33F6-4F4D-9757-C40BD7E308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0443" y="5406179"/>
              <a:ext cx="53113" cy="82198"/>
            </a:xfrm>
            <a:custGeom>
              <a:avLst/>
              <a:gdLst>
                <a:gd name="T0" fmla="*/ 14 w 29"/>
                <a:gd name="T1" fmla="*/ 45 h 45"/>
                <a:gd name="T2" fmla="*/ 0 w 29"/>
                <a:gd name="T3" fmla="*/ 30 h 45"/>
                <a:gd name="T4" fmla="*/ 0 w 29"/>
                <a:gd name="T5" fmla="*/ 15 h 45"/>
                <a:gd name="T6" fmla="*/ 14 w 29"/>
                <a:gd name="T7" fmla="*/ 0 h 45"/>
                <a:gd name="T8" fmla="*/ 29 w 29"/>
                <a:gd name="T9" fmla="*/ 15 h 45"/>
                <a:gd name="T10" fmla="*/ 29 w 29"/>
                <a:gd name="T11" fmla="*/ 30 h 45"/>
                <a:gd name="T12" fmla="*/ 14 w 29"/>
                <a:gd name="T13" fmla="*/ 45 h 45"/>
                <a:gd name="T14" fmla="*/ 14 w 29"/>
                <a:gd name="T15" fmla="*/ 7 h 45"/>
                <a:gd name="T16" fmla="*/ 7 w 29"/>
                <a:gd name="T17" fmla="*/ 15 h 45"/>
                <a:gd name="T18" fmla="*/ 7 w 29"/>
                <a:gd name="T19" fmla="*/ 30 h 45"/>
                <a:gd name="T20" fmla="*/ 14 w 29"/>
                <a:gd name="T21" fmla="*/ 38 h 45"/>
                <a:gd name="T22" fmla="*/ 22 w 29"/>
                <a:gd name="T23" fmla="*/ 30 h 45"/>
                <a:gd name="T24" fmla="*/ 22 w 29"/>
                <a:gd name="T25" fmla="*/ 15 h 45"/>
                <a:gd name="T26" fmla="*/ 14 w 29"/>
                <a:gd name="T27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45">
                  <a:moveTo>
                    <a:pt x="14" y="45"/>
                  </a:moveTo>
                  <a:cubicBezTo>
                    <a:pt x="6" y="45"/>
                    <a:pt x="0" y="38"/>
                    <a:pt x="0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2" y="0"/>
                    <a:pt x="29" y="7"/>
                    <a:pt x="29" y="15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8"/>
                    <a:pt x="22" y="45"/>
                    <a:pt x="14" y="45"/>
                  </a:cubicBezTo>
                  <a:close/>
                  <a:moveTo>
                    <a:pt x="14" y="7"/>
                  </a:moveTo>
                  <a:cubicBezTo>
                    <a:pt x="10" y="7"/>
                    <a:pt x="7" y="11"/>
                    <a:pt x="7" y="15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4"/>
                    <a:pt x="10" y="38"/>
                    <a:pt x="14" y="38"/>
                  </a:cubicBezTo>
                  <a:cubicBezTo>
                    <a:pt x="19" y="38"/>
                    <a:pt x="22" y="34"/>
                    <a:pt x="22" y="30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1"/>
                    <a:pt x="19" y="7"/>
                    <a:pt x="14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4" name="Freeform 1581">
              <a:extLst>
                <a:ext uri="{FF2B5EF4-FFF2-40B4-BE49-F238E27FC236}">
                  <a16:creationId xmlns:a16="http://schemas.microsoft.com/office/drawing/2014/main" id="{0ACAF5DE-3430-4179-95E7-781F66856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2757" y="5389739"/>
              <a:ext cx="53113" cy="70817"/>
            </a:xfrm>
            <a:custGeom>
              <a:avLst/>
              <a:gdLst>
                <a:gd name="T0" fmla="*/ 4 w 29"/>
                <a:gd name="T1" fmla="*/ 39 h 39"/>
                <a:gd name="T2" fmla="*/ 0 w 29"/>
                <a:gd name="T3" fmla="*/ 35 h 39"/>
                <a:gd name="T4" fmla="*/ 0 w 29"/>
                <a:gd name="T5" fmla="*/ 9 h 39"/>
                <a:gd name="T6" fmla="*/ 9 w 29"/>
                <a:gd name="T7" fmla="*/ 0 h 39"/>
                <a:gd name="T8" fmla="*/ 20 w 29"/>
                <a:gd name="T9" fmla="*/ 0 h 39"/>
                <a:gd name="T10" fmla="*/ 29 w 29"/>
                <a:gd name="T11" fmla="*/ 9 h 39"/>
                <a:gd name="T12" fmla="*/ 29 w 29"/>
                <a:gd name="T13" fmla="*/ 30 h 39"/>
                <a:gd name="T14" fmla="*/ 26 w 29"/>
                <a:gd name="T15" fmla="*/ 34 h 39"/>
                <a:gd name="T16" fmla="*/ 22 w 29"/>
                <a:gd name="T17" fmla="*/ 30 h 39"/>
                <a:gd name="T18" fmla="*/ 22 w 29"/>
                <a:gd name="T19" fmla="*/ 9 h 39"/>
                <a:gd name="T20" fmla="*/ 20 w 29"/>
                <a:gd name="T21" fmla="*/ 7 h 39"/>
                <a:gd name="T22" fmla="*/ 9 w 29"/>
                <a:gd name="T23" fmla="*/ 7 h 39"/>
                <a:gd name="T24" fmla="*/ 7 w 29"/>
                <a:gd name="T25" fmla="*/ 9 h 39"/>
                <a:gd name="T26" fmla="*/ 7 w 29"/>
                <a:gd name="T27" fmla="*/ 35 h 39"/>
                <a:gd name="T28" fmla="*/ 4 w 29"/>
                <a:gd name="T2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39">
                  <a:moveTo>
                    <a:pt x="4" y="39"/>
                  </a:moveTo>
                  <a:cubicBezTo>
                    <a:pt x="2" y="39"/>
                    <a:pt x="0" y="37"/>
                    <a:pt x="0" y="35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4"/>
                    <a:pt x="29" y="9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2"/>
                    <a:pt x="28" y="34"/>
                    <a:pt x="26" y="34"/>
                  </a:cubicBezTo>
                  <a:cubicBezTo>
                    <a:pt x="24" y="34"/>
                    <a:pt x="22" y="32"/>
                    <a:pt x="22" y="3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8"/>
                    <a:pt x="21" y="7"/>
                    <a:pt x="2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7"/>
                    <a:pt x="6" y="39"/>
                    <a:pt x="4" y="3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5" name="Freeform 1582">
              <a:extLst>
                <a:ext uri="{FF2B5EF4-FFF2-40B4-BE49-F238E27FC236}">
                  <a16:creationId xmlns:a16="http://schemas.microsoft.com/office/drawing/2014/main" id="{70F56957-2599-4ABC-B6CE-006F3AAF9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8030" y="5220285"/>
              <a:ext cx="10117" cy="196011"/>
            </a:xfrm>
            <a:custGeom>
              <a:avLst/>
              <a:gdLst>
                <a:gd name="T0" fmla="*/ 3 w 6"/>
                <a:gd name="T1" fmla="*/ 108 h 108"/>
                <a:gd name="T2" fmla="*/ 0 w 6"/>
                <a:gd name="T3" fmla="*/ 105 h 108"/>
                <a:gd name="T4" fmla="*/ 0 w 6"/>
                <a:gd name="T5" fmla="*/ 3 h 108"/>
                <a:gd name="T6" fmla="*/ 3 w 6"/>
                <a:gd name="T7" fmla="*/ 0 h 108"/>
                <a:gd name="T8" fmla="*/ 6 w 6"/>
                <a:gd name="T9" fmla="*/ 3 h 108"/>
                <a:gd name="T10" fmla="*/ 6 w 6"/>
                <a:gd name="T11" fmla="*/ 105 h 108"/>
                <a:gd name="T12" fmla="*/ 3 w 6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8">
                  <a:moveTo>
                    <a:pt x="3" y="108"/>
                  </a:moveTo>
                  <a:cubicBezTo>
                    <a:pt x="1" y="108"/>
                    <a:pt x="0" y="107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05"/>
                    <a:pt x="6" y="105"/>
                    <a:pt x="6" y="105"/>
                  </a:cubicBezTo>
                  <a:cubicBezTo>
                    <a:pt x="6" y="107"/>
                    <a:pt x="5" y="108"/>
                    <a:pt x="3" y="10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6" name="Freeform 1583">
              <a:extLst>
                <a:ext uri="{FF2B5EF4-FFF2-40B4-BE49-F238E27FC236}">
                  <a16:creationId xmlns:a16="http://schemas.microsoft.com/office/drawing/2014/main" id="{EA720932-28F3-48C9-9E34-ED9D6F7F8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3322" y="5220285"/>
              <a:ext cx="12646" cy="196011"/>
            </a:xfrm>
            <a:custGeom>
              <a:avLst/>
              <a:gdLst>
                <a:gd name="T0" fmla="*/ 3 w 7"/>
                <a:gd name="T1" fmla="*/ 108 h 108"/>
                <a:gd name="T2" fmla="*/ 0 w 7"/>
                <a:gd name="T3" fmla="*/ 105 h 108"/>
                <a:gd name="T4" fmla="*/ 0 w 7"/>
                <a:gd name="T5" fmla="*/ 3 h 108"/>
                <a:gd name="T6" fmla="*/ 3 w 7"/>
                <a:gd name="T7" fmla="*/ 0 h 108"/>
                <a:gd name="T8" fmla="*/ 7 w 7"/>
                <a:gd name="T9" fmla="*/ 3 h 108"/>
                <a:gd name="T10" fmla="*/ 7 w 7"/>
                <a:gd name="T11" fmla="*/ 105 h 108"/>
                <a:gd name="T12" fmla="*/ 3 w 7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08">
                  <a:moveTo>
                    <a:pt x="3" y="108"/>
                  </a:moveTo>
                  <a:cubicBezTo>
                    <a:pt x="1" y="108"/>
                    <a:pt x="0" y="107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7"/>
                    <a:pt x="5" y="108"/>
                    <a:pt x="3" y="10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7" name="Freeform 1584">
              <a:extLst>
                <a:ext uri="{FF2B5EF4-FFF2-40B4-BE49-F238E27FC236}">
                  <a16:creationId xmlns:a16="http://schemas.microsoft.com/office/drawing/2014/main" id="{0928A4DE-56A0-4A26-9A31-2037FA402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0345" y="5313864"/>
              <a:ext cx="12646" cy="85992"/>
            </a:xfrm>
            <a:custGeom>
              <a:avLst/>
              <a:gdLst>
                <a:gd name="T0" fmla="*/ 4 w 7"/>
                <a:gd name="T1" fmla="*/ 47 h 47"/>
                <a:gd name="T2" fmla="*/ 0 w 7"/>
                <a:gd name="T3" fmla="*/ 44 h 47"/>
                <a:gd name="T4" fmla="*/ 0 w 7"/>
                <a:gd name="T5" fmla="*/ 4 h 47"/>
                <a:gd name="T6" fmla="*/ 4 w 7"/>
                <a:gd name="T7" fmla="*/ 0 h 47"/>
                <a:gd name="T8" fmla="*/ 7 w 7"/>
                <a:gd name="T9" fmla="*/ 4 h 47"/>
                <a:gd name="T10" fmla="*/ 7 w 7"/>
                <a:gd name="T11" fmla="*/ 44 h 47"/>
                <a:gd name="T12" fmla="*/ 4 w 7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7">
                  <a:moveTo>
                    <a:pt x="4" y="47"/>
                  </a:moveTo>
                  <a:cubicBezTo>
                    <a:pt x="2" y="47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6"/>
                    <a:pt x="6" y="47"/>
                    <a:pt x="4" y="4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8" name="Freeform 1585">
              <a:extLst>
                <a:ext uri="{FF2B5EF4-FFF2-40B4-BE49-F238E27FC236}">
                  <a16:creationId xmlns:a16="http://schemas.microsoft.com/office/drawing/2014/main" id="{AEFFA839-127C-4CCB-BC11-A29DB508F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5637" y="5308806"/>
              <a:ext cx="11381" cy="92315"/>
            </a:xfrm>
            <a:custGeom>
              <a:avLst/>
              <a:gdLst>
                <a:gd name="T0" fmla="*/ 3 w 6"/>
                <a:gd name="T1" fmla="*/ 51 h 51"/>
                <a:gd name="T2" fmla="*/ 0 w 6"/>
                <a:gd name="T3" fmla="*/ 48 h 51"/>
                <a:gd name="T4" fmla="*/ 0 w 6"/>
                <a:gd name="T5" fmla="*/ 3 h 51"/>
                <a:gd name="T6" fmla="*/ 3 w 6"/>
                <a:gd name="T7" fmla="*/ 0 h 51"/>
                <a:gd name="T8" fmla="*/ 6 w 6"/>
                <a:gd name="T9" fmla="*/ 3 h 51"/>
                <a:gd name="T10" fmla="*/ 6 w 6"/>
                <a:gd name="T11" fmla="*/ 48 h 51"/>
                <a:gd name="T12" fmla="*/ 3 w 6"/>
                <a:gd name="T1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1">
                  <a:moveTo>
                    <a:pt x="3" y="51"/>
                  </a:moveTo>
                  <a:cubicBezTo>
                    <a:pt x="1" y="51"/>
                    <a:pt x="0" y="49"/>
                    <a:pt x="0" y="4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9"/>
                    <a:pt x="5" y="51"/>
                    <a:pt x="3" y="51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9" name="Freeform 1586">
              <a:extLst>
                <a:ext uri="{FF2B5EF4-FFF2-40B4-BE49-F238E27FC236}">
                  <a16:creationId xmlns:a16="http://schemas.microsoft.com/office/drawing/2014/main" id="{5539A559-FB2E-4A23-9693-87D096777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3322" y="5274662"/>
              <a:ext cx="132781" cy="50583"/>
            </a:xfrm>
            <a:custGeom>
              <a:avLst/>
              <a:gdLst>
                <a:gd name="T0" fmla="*/ 39 w 73"/>
                <a:gd name="T1" fmla="*/ 28 h 28"/>
                <a:gd name="T2" fmla="*/ 35 w 73"/>
                <a:gd name="T3" fmla="*/ 28 h 28"/>
                <a:gd name="T4" fmla="*/ 5 w 73"/>
                <a:gd name="T5" fmla="*/ 28 h 28"/>
                <a:gd name="T6" fmla="*/ 1 w 73"/>
                <a:gd name="T7" fmla="*/ 25 h 28"/>
                <a:gd name="T8" fmla="*/ 5 w 73"/>
                <a:gd name="T9" fmla="*/ 21 h 28"/>
                <a:gd name="T10" fmla="*/ 35 w 73"/>
                <a:gd name="T11" fmla="*/ 21 h 28"/>
                <a:gd name="T12" fmla="*/ 58 w 73"/>
                <a:gd name="T13" fmla="*/ 16 h 28"/>
                <a:gd name="T14" fmla="*/ 63 w 73"/>
                <a:gd name="T15" fmla="*/ 9 h 28"/>
                <a:gd name="T16" fmla="*/ 41 w 73"/>
                <a:gd name="T17" fmla="*/ 11 h 28"/>
                <a:gd name="T18" fmla="*/ 3 w 73"/>
                <a:gd name="T19" fmla="*/ 11 h 28"/>
                <a:gd name="T20" fmla="*/ 0 w 73"/>
                <a:gd name="T21" fmla="*/ 8 h 28"/>
                <a:gd name="T22" fmla="*/ 3 w 73"/>
                <a:gd name="T23" fmla="*/ 5 h 28"/>
                <a:gd name="T24" fmla="*/ 41 w 73"/>
                <a:gd name="T25" fmla="*/ 5 h 28"/>
                <a:gd name="T26" fmla="*/ 68 w 73"/>
                <a:gd name="T27" fmla="*/ 1 h 28"/>
                <a:gd name="T28" fmla="*/ 71 w 73"/>
                <a:gd name="T29" fmla="*/ 1 h 28"/>
                <a:gd name="T30" fmla="*/ 72 w 73"/>
                <a:gd name="T31" fmla="*/ 5 h 28"/>
                <a:gd name="T32" fmla="*/ 63 w 73"/>
                <a:gd name="T33" fmla="*/ 20 h 28"/>
                <a:gd name="T34" fmla="*/ 39 w 73"/>
                <a:gd name="T3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8">
                  <a:moveTo>
                    <a:pt x="39" y="28"/>
                  </a:moveTo>
                  <a:cubicBezTo>
                    <a:pt x="37" y="28"/>
                    <a:pt x="35" y="28"/>
                    <a:pt x="3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3" y="28"/>
                    <a:pt x="1" y="26"/>
                    <a:pt x="1" y="25"/>
                  </a:cubicBezTo>
                  <a:cubicBezTo>
                    <a:pt x="1" y="23"/>
                    <a:pt x="3" y="21"/>
                    <a:pt x="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40" y="22"/>
                    <a:pt x="53" y="21"/>
                    <a:pt x="58" y="16"/>
                  </a:cubicBezTo>
                  <a:cubicBezTo>
                    <a:pt x="60" y="13"/>
                    <a:pt x="62" y="11"/>
                    <a:pt x="63" y="9"/>
                  </a:cubicBezTo>
                  <a:cubicBezTo>
                    <a:pt x="58" y="10"/>
                    <a:pt x="49" y="11"/>
                    <a:pt x="41" y="11"/>
                  </a:cubicBezTo>
                  <a:cubicBezTo>
                    <a:pt x="27" y="12"/>
                    <a:pt x="3" y="11"/>
                    <a:pt x="3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3" y="5"/>
                    <a:pt x="27" y="5"/>
                    <a:pt x="41" y="5"/>
                  </a:cubicBezTo>
                  <a:cubicBezTo>
                    <a:pt x="54" y="4"/>
                    <a:pt x="68" y="1"/>
                    <a:pt x="68" y="1"/>
                  </a:cubicBezTo>
                  <a:cubicBezTo>
                    <a:pt x="69" y="0"/>
                    <a:pt x="71" y="1"/>
                    <a:pt x="71" y="1"/>
                  </a:cubicBezTo>
                  <a:cubicBezTo>
                    <a:pt x="72" y="2"/>
                    <a:pt x="73" y="3"/>
                    <a:pt x="72" y="5"/>
                  </a:cubicBezTo>
                  <a:cubicBezTo>
                    <a:pt x="72" y="5"/>
                    <a:pt x="71" y="11"/>
                    <a:pt x="63" y="20"/>
                  </a:cubicBezTo>
                  <a:cubicBezTo>
                    <a:pt x="57" y="27"/>
                    <a:pt x="46" y="28"/>
                    <a:pt x="39" y="2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0" name="Freeform 1587">
              <a:extLst>
                <a:ext uri="{FF2B5EF4-FFF2-40B4-BE49-F238E27FC236}">
                  <a16:creationId xmlns:a16="http://schemas.microsoft.com/office/drawing/2014/main" id="{FD304126-510E-4B5D-A7A1-43C07B26B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3322" y="5237989"/>
              <a:ext cx="107490" cy="54377"/>
            </a:xfrm>
            <a:custGeom>
              <a:avLst/>
              <a:gdLst>
                <a:gd name="T0" fmla="*/ 55 w 59"/>
                <a:gd name="T1" fmla="*/ 30 h 30"/>
                <a:gd name="T2" fmla="*/ 54 w 59"/>
                <a:gd name="T3" fmla="*/ 30 h 30"/>
                <a:gd name="T4" fmla="*/ 17 w 59"/>
                <a:gd name="T5" fmla="*/ 7 h 30"/>
                <a:gd name="T6" fmla="*/ 3 w 59"/>
                <a:gd name="T7" fmla="*/ 7 h 30"/>
                <a:gd name="T8" fmla="*/ 0 w 59"/>
                <a:gd name="T9" fmla="*/ 3 h 30"/>
                <a:gd name="T10" fmla="*/ 3 w 59"/>
                <a:gd name="T11" fmla="*/ 0 h 30"/>
                <a:gd name="T12" fmla="*/ 19 w 59"/>
                <a:gd name="T13" fmla="*/ 0 h 30"/>
                <a:gd name="T14" fmla="*/ 22 w 59"/>
                <a:gd name="T15" fmla="*/ 1 h 30"/>
                <a:gd name="T16" fmla="*/ 56 w 59"/>
                <a:gd name="T17" fmla="*/ 23 h 30"/>
                <a:gd name="T18" fmla="*/ 58 w 59"/>
                <a:gd name="T19" fmla="*/ 28 h 30"/>
                <a:gd name="T20" fmla="*/ 55 w 59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30">
                  <a:moveTo>
                    <a:pt x="55" y="30"/>
                  </a:moveTo>
                  <a:cubicBezTo>
                    <a:pt x="55" y="30"/>
                    <a:pt x="54" y="30"/>
                    <a:pt x="54" y="30"/>
                  </a:cubicBezTo>
                  <a:cubicBezTo>
                    <a:pt x="53" y="30"/>
                    <a:pt x="28" y="22"/>
                    <a:pt x="17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2" y="0"/>
                    <a:pt x="22" y="1"/>
                  </a:cubicBezTo>
                  <a:cubicBezTo>
                    <a:pt x="30" y="16"/>
                    <a:pt x="56" y="23"/>
                    <a:pt x="56" y="23"/>
                  </a:cubicBezTo>
                  <a:cubicBezTo>
                    <a:pt x="58" y="24"/>
                    <a:pt x="59" y="26"/>
                    <a:pt x="58" y="28"/>
                  </a:cubicBezTo>
                  <a:cubicBezTo>
                    <a:pt x="58" y="29"/>
                    <a:pt x="56" y="30"/>
                    <a:pt x="55" y="3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1" name="Freeform 1588">
              <a:extLst>
                <a:ext uri="{FF2B5EF4-FFF2-40B4-BE49-F238E27FC236}">
                  <a16:creationId xmlns:a16="http://schemas.microsoft.com/office/drawing/2014/main" id="{86164DE8-468C-4C4D-9A74-1EABA4C2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3322" y="5334098"/>
              <a:ext cx="78404" cy="12646"/>
            </a:xfrm>
            <a:custGeom>
              <a:avLst/>
              <a:gdLst>
                <a:gd name="T0" fmla="*/ 40 w 43"/>
                <a:gd name="T1" fmla="*/ 7 h 7"/>
                <a:gd name="T2" fmla="*/ 3 w 43"/>
                <a:gd name="T3" fmla="*/ 7 h 7"/>
                <a:gd name="T4" fmla="*/ 0 w 43"/>
                <a:gd name="T5" fmla="*/ 4 h 7"/>
                <a:gd name="T6" fmla="*/ 3 w 43"/>
                <a:gd name="T7" fmla="*/ 0 h 7"/>
                <a:gd name="T8" fmla="*/ 40 w 43"/>
                <a:gd name="T9" fmla="*/ 0 h 7"/>
                <a:gd name="T10" fmla="*/ 43 w 43"/>
                <a:gd name="T11" fmla="*/ 4 h 7"/>
                <a:gd name="T12" fmla="*/ 40 w 4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7">
                  <a:moveTo>
                    <a:pt x="4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3" y="2"/>
                    <a:pt x="43" y="4"/>
                  </a:cubicBezTo>
                  <a:cubicBezTo>
                    <a:pt x="43" y="6"/>
                    <a:pt x="41" y="7"/>
                    <a:pt x="40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2" name="Freeform 1589">
              <a:extLst>
                <a:ext uri="{FF2B5EF4-FFF2-40B4-BE49-F238E27FC236}">
                  <a16:creationId xmlns:a16="http://schemas.microsoft.com/office/drawing/2014/main" id="{140E5A45-A4C4-4535-A51A-34E3209D8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3322" y="5359389"/>
              <a:ext cx="78404" cy="12646"/>
            </a:xfrm>
            <a:custGeom>
              <a:avLst/>
              <a:gdLst>
                <a:gd name="T0" fmla="*/ 40 w 43"/>
                <a:gd name="T1" fmla="*/ 7 h 7"/>
                <a:gd name="T2" fmla="*/ 3 w 43"/>
                <a:gd name="T3" fmla="*/ 7 h 7"/>
                <a:gd name="T4" fmla="*/ 0 w 43"/>
                <a:gd name="T5" fmla="*/ 4 h 7"/>
                <a:gd name="T6" fmla="*/ 3 w 43"/>
                <a:gd name="T7" fmla="*/ 0 h 7"/>
                <a:gd name="T8" fmla="*/ 40 w 43"/>
                <a:gd name="T9" fmla="*/ 0 h 7"/>
                <a:gd name="T10" fmla="*/ 43 w 43"/>
                <a:gd name="T11" fmla="*/ 4 h 7"/>
                <a:gd name="T12" fmla="*/ 40 w 4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7">
                  <a:moveTo>
                    <a:pt x="4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3" y="2"/>
                    <a:pt x="43" y="4"/>
                  </a:cubicBezTo>
                  <a:cubicBezTo>
                    <a:pt x="43" y="6"/>
                    <a:pt x="41" y="7"/>
                    <a:pt x="40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3" name="Freeform 1590">
              <a:extLst>
                <a:ext uri="{FF2B5EF4-FFF2-40B4-BE49-F238E27FC236}">
                  <a16:creationId xmlns:a16="http://schemas.microsoft.com/office/drawing/2014/main" id="{3DC7C347-E8CF-4F91-9E96-B7309778D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1669" y="5159585"/>
              <a:ext cx="26556" cy="25292"/>
            </a:xfrm>
            <a:custGeom>
              <a:avLst/>
              <a:gdLst>
                <a:gd name="T0" fmla="*/ 11 w 15"/>
                <a:gd name="T1" fmla="*/ 14 h 14"/>
                <a:gd name="T2" fmla="*/ 9 w 15"/>
                <a:gd name="T3" fmla="*/ 13 h 14"/>
                <a:gd name="T4" fmla="*/ 1 w 15"/>
                <a:gd name="T5" fmla="*/ 6 h 14"/>
                <a:gd name="T6" fmla="*/ 1 w 15"/>
                <a:gd name="T7" fmla="*/ 2 h 14"/>
                <a:gd name="T8" fmla="*/ 6 w 15"/>
                <a:gd name="T9" fmla="*/ 2 h 14"/>
                <a:gd name="T10" fmla="*/ 13 w 15"/>
                <a:gd name="T11" fmla="*/ 9 h 14"/>
                <a:gd name="T12" fmla="*/ 13 w 15"/>
                <a:gd name="T13" fmla="*/ 13 h 14"/>
                <a:gd name="T14" fmla="*/ 11 w 1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4">
                  <a:moveTo>
                    <a:pt x="11" y="14"/>
                  </a:moveTo>
                  <a:cubicBezTo>
                    <a:pt x="10" y="14"/>
                    <a:pt x="9" y="14"/>
                    <a:pt x="9" y="1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10"/>
                    <a:pt x="15" y="12"/>
                    <a:pt x="13" y="13"/>
                  </a:cubicBezTo>
                  <a:cubicBezTo>
                    <a:pt x="13" y="14"/>
                    <a:pt x="12" y="14"/>
                    <a:pt x="11" y="1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4" name="Freeform 1591">
              <a:extLst>
                <a:ext uri="{FF2B5EF4-FFF2-40B4-BE49-F238E27FC236}">
                  <a16:creationId xmlns:a16="http://schemas.microsoft.com/office/drawing/2014/main" id="{CE76AC20-0D78-423E-938A-759ADE65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1455" y="5117853"/>
              <a:ext cx="27821" cy="25292"/>
            </a:xfrm>
            <a:custGeom>
              <a:avLst/>
              <a:gdLst>
                <a:gd name="T0" fmla="*/ 11 w 15"/>
                <a:gd name="T1" fmla="*/ 14 h 14"/>
                <a:gd name="T2" fmla="*/ 9 w 15"/>
                <a:gd name="T3" fmla="*/ 13 h 14"/>
                <a:gd name="T4" fmla="*/ 2 w 15"/>
                <a:gd name="T5" fmla="*/ 6 h 14"/>
                <a:gd name="T6" fmla="*/ 2 w 15"/>
                <a:gd name="T7" fmla="*/ 1 h 14"/>
                <a:gd name="T8" fmla="*/ 7 w 15"/>
                <a:gd name="T9" fmla="*/ 1 h 14"/>
                <a:gd name="T10" fmla="*/ 14 w 15"/>
                <a:gd name="T11" fmla="*/ 8 h 14"/>
                <a:gd name="T12" fmla="*/ 14 w 15"/>
                <a:gd name="T13" fmla="*/ 13 h 14"/>
                <a:gd name="T14" fmla="*/ 11 w 1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4">
                  <a:moveTo>
                    <a:pt x="11" y="14"/>
                  </a:moveTo>
                  <a:cubicBezTo>
                    <a:pt x="10" y="14"/>
                    <a:pt x="9" y="14"/>
                    <a:pt x="9" y="13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5" y="10"/>
                    <a:pt x="15" y="12"/>
                    <a:pt x="14" y="13"/>
                  </a:cubicBezTo>
                  <a:cubicBezTo>
                    <a:pt x="13" y="14"/>
                    <a:pt x="12" y="14"/>
                    <a:pt x="11" y="1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5" name="Freeform 1592">
              <a:extLst>
                <a:ext uri="{FF2B5EF4-FFF2-40B4-BE49-F238E27FC236}">
                  <a16:creationId xmlns:a16="http://schemas.microsoft.com/office/drawing/2014/main" id="{ABFD01C8-F97B-4C6F-9C5A-22E50A867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1824" y="5117853"/>
              <a:ext cx="26556" cy="25292"/>
            </a:xfrm>
            <a:custGeom>
              <a:avLst/>
              <a:gdLst>
                <a:gd name="T0" fmla="*/ 4 w 15"/>
                <a:gd name="T1" fmla="*/ 14 h 14"/>
                <a:gd name="T2" fmla="*/ 2 w 15"/>
                <a:gd name="T3" fmla="*/ 13 h 14"/>
                <a:gd name="T4" fmla="*/ 2 w 15"/>
                <a:gd name="T5" fmla="*/ 8 h 14"/>
                <a:gd name="T6" fmla="*/ 9 w 15"/>
                <a:gd name="T7" fmla="*/ 1 h 14"/>
                <a:gd name="T8" fmla="*/ 14 w 15"/>
                <a:gd name="T9" fmla="*/ 1 h 14"/>
                <a:gd name="T10" fmla="*/ 14 w 15"/>
                <a:gd name="T11" fmla="*/ 6 h 14"/>
                <a:gd name="T12" fmla="*/ 7 w 15"/>
                <a:gd name="T13" fmla="*/ 13 h 14"/>
                <a:gd name="T14" fmla="*/ 4 w 1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4">
                  <a:moveTo>
                    <a:pt x="4" y="14"/>
                  </a:moveTo>
                  <a:cubicBezTo>
                    <a:pt x="3" y="14"/>
                    <a:pt x="2" y="14"/>
                    <a:pt x="2" y="13"/>
                  </a:cubicBezTo>
                  <a:cubicBezTo>
                    <a:pt x="0" y="12"/>
                    <a:pt x="0" y="10"/>
                    <a:pt x="2" y="8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2" y="0"/>
                    <a:pt x="14" y="1"/>
                  </a:cubicBezTo>
                  <a:cubicBezTo>
                    <a:pt x="15" y="3"/>
                    <a:pt x="15" y="5"/>
                    <a:pt x="14" y="6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4"/>
                    <a:pt x="5" y="14"/>
                    <a:pt x="4" y="1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6" name="Freeform 1593">
              <a:extLst>
                <a:ext uri="{FF2B5EF4-FFF2-40B4-BE49-F238E27FC236}">
                  <a16:creationId xmlns:a16="http://schemas.microsoft.com/office/drawing/2014/main" id="{20A8F884-B06E-4513-87E3-9E0B2A4D8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4139" y="5159585"/>
              <a:ext cx="25292" cy="25292"/>
            </a:xfrm>
            <a:custGeom>
              <a:avLst/>
              <a:gdLst>
                <a:gd name="T0" fmla="*/ 3 w 14"/>
                <a:gd name="T1" fmla="*/ 14 h 14"/>
                <a:gd name="T2" fmla="*/ 1 w 14"/>
                <a:gd name="T3" fmla="*/ 13 h 14"/>
                <a:gd name="T4" fmla="*/ 1 w 14"/>
                <a:gd name="T5" fmla="*/ 9 h 14"/>
                <a:gd name="T6" fmla="*/ 8 w 14"/>
                <a:gd name="T7" fmla="*/ 2 h 14"/>
                <a:gd name="T8" fmla="*/ 13 w 14"/>
                <a:gd name="T9" fmla="*/ 2 h 14"/>
                <a:gd name="T10" fmla="*/ 13 w 14"/>
                <a:gd name="T11" fmla="*/ 6 h 14"/>
                <a:gd name="T12" fmla="*/ 6 w 14"/>
                <a:gd name="T13" fmla="*/ 13 h 14"/>
                <a:gd name="T14" fmla="*/ 3 w 14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3" y="14"/>
                  </a:moveTo>
                  <a:cubicBezTo>
                    <a:pt x="3" y="14"/>
                    <a:pt x="2" y="14"/>
                    <a:pt x="1" y="13"/>
                  </a:cubicBezTo>
                  <a:cubicBezTo>
                    <a:pt x="0" y="12"/>
                    <a:pt x="0" y="10"/>
                    <a:pt x="1" y="9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0"/>
                    <a:pt x="12" y="0"/>
                    <a:pt x="13" y="2"/>
                  </a:cubicBezTo>
                  <a:cubicBezTo>
                    <a:pt x="14" y="3"/>
                    <a:pt x="14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4"/>
                    <a:pt x="4" y="14"/>
                    <a:pt x="3" y="14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9" name="Agrupar 1728">
            <a:extLst>
              <a:ext uri="{FF2B5EF4-FFF2-40B4-BE49-F238E27FC236}">
                <a16:creationId xmlns:a16="http://schemas.microsoft.com/office/drawing/2014/main" id="{E1399639-40CD-4249-A778-62471ED40DAE}"/>
              </a:ext>
            </a:extLst>
          </p:cNvPr>
          <p:cNvGrpSpPr/>
          <p:nvPr/>
        </p:nvGrpSpPr>
        <p:grpSpPr>
          <a:xfrm>
            <a:off x="10301022" y="5167172"/>
            <a:ext cx="446399" cy="313617"/>
            <a:chOff x="10982634" y="5167172"/>
            <a:chExt cx="446399" cy="313617"/>
          </a:xfrm>
        </p:grpSpPr>
        <p:sp>
          <p:nvSpPr>
            <p:cNvPr id="997" name="Freeform 1594">
              <a:extLst>
                <a:ext uri="{FF2B5EF4-FFF2-40B4-BE49-F238E27FC236}">
                  <a16:creationId xmlns:a16="http://schemas.microsoft.com/office/drawing/2014/main" id="{7603559B-09EE-4708-BE18-FAFF70733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8645" y="5213962"/>
              <a:ext cx="88521" cy="70817"/>
            </a:xfrm>
            <a:custGeom>
              <a:avLst/>
              <a:gdLst>
                <a:gd name="T0" fmla="*/ 25 w 49"/>
                <a:gd name="T1" fmla="*/ 39 h 39"/>
                <a:gd name="T2" fmla="*/ 0 w 49"/>
                <a:gd name="T3" fmla="*/ 19 h 39"/>
                <a:gd name="T4" fmla="*/ 25 w 49"/>
                <a:gd name="T5" fmla="*/ 0 h 39"/>
                <a:gd name="T6" fmla="*/ 49 w 49"/>
                <a:gd name="T7" fmla="*/ 19 h 39"/>
                <a:gd name="T8" fmla="*/ 25 w 49"/>
                <a:gd name="T9" fmla="*/ 39 h 39"/>
                <a:gd name="T10" fmla="*/ 25 w 49"/>
                <a:gd name="T11" fmla="*/ 7 h 39"/>
                <a:gd name="T12" fmla="*/ 7 w 49"/>
                <a:gd name="T13" fmla="*/ 19 h 39"/>
                <a:gd name="T14" fmla="*/ 25 w 49"/>
                <a:gd name="T15" fmla="*/ 32 h 39"/>
                <a:gd name="T16" fmla="*/ 42 w 49"/>
                <a:gd name="T17" fmla="*/ 19 h 39"/>
                <a:gd name="T18" fmla="*/ 25 w 49"/>
                <a:gd name="T19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39">
                  <a:moveTo>
                    <a:pt x="25" y="39"/>
                  </a:moveTo>
                  <a:cubicBezTo>
                    <a:pt x="11" y="39"/>
                    <a:pt x="0" y="30"/>
                    <a:pt x="0" y="19"/>
                  </a:cubicBezTo>
                  <a:cubicBezTo>
                    <a:pt x="0" y="9"/>
                    <a:pt x="11" y="0"/>
                    <a:pt x="25" y="0"/>
                  </a:cubicBezTo>
                  <a:cubicBezTo>
                    <a:pt x="38" y="0"/>
                    <a:pt x="49" y="9"/>
                    <a:pt x="49" y="19"/>
                  </a:cubicBezTo>
                  <a:cubicBezTo>
                    <a:pt x="49" y="30"/>
                    <a:pt x="38" y="39"/>
                    <a:pt x="25" y="39"/>
                  </a:cubicBezTo>
                  <a:close/>
                  <a:moveTo>
                    <a:pt x="25" y="7"/>
                  </a:moveTo>
                  <a:cubicBezTo>
                    <a:pt x="15" y="7"/>
                    <a:pt x="7" y="13"/>
                    <a:pt x="7" y="19"/>
                  </a:cubicBezTo>
                  <a:cubicBezTo>
                    <a:pt x="7" y="26"/>
                    <a:pt x="15" y="32"/>
                    <a:pt x="25" y="32"/>
                  </a:cubicBezTo>
                  <a:cubicBezTo>
                    <a:pt x="34" y="32"/>
                    <a:pt x="42" y="26"/>
                    <a:pt x="42" y="19"/>
                  </a:cubicBezTo>
                  <a:cubicBezTo>
                    <a:pt x="42" y="13"/>
                    <a:pt x="34" y="7"/>
                    <a:pt x="25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8" name="Freeform 1595">
              <a:extLst>
                <a:ext uri="{FF2B5EF4-FFF2-40B4-BE49-F238E27FC236}">
                  <a16:creationId xmlns:a16="http://schemas.microsoft.com/office/drawing/2014/main" id="{5DF946CB-78E2-4514-8426-E8A1290CC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9891" y="5245577"/>
              <a:ext cx="121400" cy="68288"/>
            </a:xfrm>
            <a:custGeom>
              <a:avLst/>
              <a:gdLst>
                <a:gd name="T0" fmla="*/ 4 w 67"/>
                <a:gd name="T1" fmla="*/ 38 h 38"/>
                <a:gd name="T2" fmla="*/ 3 w 67"/>
                <a:gd name="T3" fmla="*/ 38 h 38"/>
                <a:gd name="T4" fmla="*/ 1 w 67"/>
                <a:gd name="T5" fmla="*/ 33 h 38"/>
                <a:gd name="T6" fmla="*/ 56 w 67"/>
                <a:gd name="T7" fmla="*/ 0 h 38"/>
                <a:gd name="T8" fmla="*/ 64 w 67"/>
                <a:gd name="T9" fmla="*/ 1 h 38"/>
                <a:gd name="T10" fmla="*/ 67 w 67"/>
                <a:gd name="T11" fmla="*/ 4 h 38"/>
                <a:gd name="T12" fmla="*/ 63 w 67"/>
                <a:gd name="T13" fmla="*/ 7 h 38"/>
                <a:gd name="T14" fmla="*/ 56 w 67"/>
                <a:gd name="T15" fmla="*/ 7 h 38"/>
                <a:gd name="T16" fmla="*/ 7 w 67"/>
                <a:gd name="T17" fmla="*/ 37 h 38"/>
                <a:gd name="T18" fmla="*/ 4 w 67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38">
                  <a:moveTo>
                    <a:pt x="4" y="38"/>
                  </a:moveTo>
                  <a:cubicBezTo>
                    <a:pt x="4" y="38"/>
                    <a:pt x="3" y="38"/>
                    <a:pt x="3" y="38"/>
                  </a:cubicBezTo>
                  <a:cubicBezTo>
                    <a:pt x="1" y="37"/>
                    <a:pt x="0" y="35"/>
                    <a:pt x="1" y="33"/>
                  </a:cubicBezTo>
                  <a:cubicBezTo>
                    <a:pt x="12" y="13"/>
                    <a:pt x="33" y="0"/>
                    <a:pt x="56" y="0"/>
                  </a:cubicBezTo>
                  <a:cubicBezTo>
                    <a:pt x="59" y="0"/>
                    <a:pt x="61" y="0"/>
                    <a:pt x="64" y="1"/>
                  </a:cubicBezTo>
                  <a:cubicBezTo>
                    <a:pt x="66" y="1"/>
                    <a:pt x="67" y="2"/>
                    <a:pt x="67" y="4"/>
                  </a:cubicBezTo>
                  <a:cubicBezTo>
                    <a:pt x="67" y="6"/>
                    <a:pt x="65" y="8"/>
                    <a:pt x="63" y="7"/>
                  </a:cubicBezTo>
                  <a:cubicBezTo>
                    <a:pt x="61" y="7"/>
                    <a:pt x="58" y="7"/>
                    <a:pt x="56" y="7"/>
                  </a:cubicBezTo>
                  <a:cubicBezTo>
                    <a:pt x="36" y="7"/>
                    <a:pt x="17" y="18"/>
                    <a:pt x="7" y="37"/>
                  </a:cubicBezTo>
                  <a:cubicBezTo>
                    <a:pt x="7" y="38"/>
                    <a:pt x="5" y="38"/>
                    <a:pt x="4" y="3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9" name="Freeform 1596">
              <a:extLst>
                <a:ext uri="{FF2B5EF4-FFF2-40B4-BE49-F238E27FC236}">
                  <a16:creationId xmlns:a16="http://schemas.microsoft.com/office/drawing/2014/main" id="{4BCC27FF-E5B6-49F4-948D-BC1EC1B09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4520" y="5245577"/>
              <a:ext cx="121400" cy="68288"/>
            </a:xfrm>
            <a:custGeom>
              <a:avLst/>
              <a:gdLst>
                <a:gd name="T0" fmla="*/ 63 w 67"/>
                <a:gd name="T1" fmla="*/ 38 h 38"/>
                <a:gd name="T2" fmla="*/ 60 w 67"/>
                <a:gd name="T3" fmla="*/ 37 h 38"/>
                <a:gd name="T4" fmla="*/ 11 w 67"/>
                <a:gd name="T5" fmla="*/ 7 h 38"/>
                <a:gd name="T6" fmla="*/ 4 w 67"/>
                <a:gd name="T7" fmla="*/ 7 h 38"/>
                <a:gd name="T8" fmla="*/ 0 w 67"/>
                <a:gd name="T9" fmla="*/ 4 h 38"/>
                <a:gd name="T10" fmla="*/ 3 w 67"/>
                <a:gd name="T11" fmla="*/ 1 h 38"/>
                <a:gd name="T12" fmla="*/ 11 w 67"/>
                <a:gd name="T13" fmla="*/ 0 h 38"/>
                <a:gd name="T14" fmla="*/ 66 w 67"/>
                <a:gd name="T15" fmla="*/ 33 h 38"/>
                <a:gd name="T16" fmla="*/ 65 w 67"/>
                <a:gd name="T17" fmla="*/ 38 h 38"/>
                <a:gd name="T18" fmla="*/ 63 w 67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38">
                  <a:moveTo>
                    <a:pt x="63" y="38"/>
                  </a:moveTo>
                  <a:cubicBezTo>
                    <a:pt x="62" y="38"/>
                    <a:pt x="61" y="38"/>
                    <a:pt x="60" y="37"/>
                  </a:cubicBezTo>
                  <a:cubicBezTo>
                    <a:pt x="50" y="18"/>
                    <a:pt x="32" y="7"/>
                    <a:pt x="11" y="7"/>
                  </a:cubicBezTo>
                  <a:cubicBezTo>
                    <a:pt x="9" y="7"/>
                    <a:pt x="6" y="7"/>
                    <a:pt x="4" y="7"/>
                  </a:cubicBezTo>
                  <a:cubicBezTo>
                    <a:pt x="2" y="8"/>
                    <a:pt x="1" y="6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6" y="0"/>
                    <a:pt x="9" y="0"/>
                    <a:pt x="11" y="0"/>
                  </a:cubicBezTo>
                  <a:cubicBezTo>
                    <a:pt x="34" y="0"/>
                    <a:pt x="55" y="13"/>
                    <a:pt x="66" y="33"/>
                  </a:cubicBezTo>
                  <a:cubicBezTo>
                    <a:pt x="67" y="35"/>
                    <a:pt x="66" y="37"/>
                    <a:pt x="65" y="38"/>
                  </a:cubicBezTo>
                  <a:cubicBezTo>
                    <a:pt x="64" y="38"/>
                    <a:pt x="64" y="38"/>
                    <a:pt x="63" y="3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0" name="Freeform 1597">
              <a:extLst>
                <a:ext uri="{FF2B5EF4-FFF2-40B4-BE49-F238E27FC236}">
                  <a16:creationId xmlns:a16="http://schemas.microsoft.com/office/drawing/2014/main" id="{33630296-F0B0-4D29-B8B3-376BA697D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3353" y="5268339"/>
              <a:ext cx="61965" cy="190952"/>
            </a:xfrm>
            <a:custGeom>
              <a:avLst/>
              <a:gdLst>
                <a:gd name="T0" fmla="*/ 9 w 34"/>
                <a:gd name="T1" fmla="*/ 105 h 105"/>
                <a:gd name="T2" fmla="*/ 6 w 34"/>
                <a:gd name="T3" fmla="*/ 103 h 105"/>
                <a:gd name="T4" fmla="*/ 0 w 34"/>
                <a:gd name="T5" fmla="*/ 72 h 105"/>
                <a:gd name="T6" fmla="*/ 27 w 34"/>
                <a:gd name="T7" fmla="*/ 2 h 105"/>
                <a:gd name="T8" fmla="*/ 32 w 34"/>
                <a:gd name="T9" fmla="*/ 2 h 105"/>
                <a:gd name="T10" fmla="*/ 33 w 34"/>
                <a:gd name="T11" fmla="*/ 6 h 105"/>
                <a:gd name="T12" fmla="*/ 7 w 34"/>
                <a:gd name="T13" fmla="*/ 72 h 105"/>
                <a:gd name="T14" fmla="*/ 13 w 34"/>
                <a:gd name="T15" fmla="*/ 101 h 105"/>
                <a:gd name="T16" fmla="*/ 11 w 34"/>
                <a:gd name="T17" fmla="*/ 105 h 105"/>
                <a:gd name="T18" fmla="*/ 9 w 34"/>
                <a:gd name="T1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05">
                  <a:moveTo>
                    <a:pt x="9" y="105"/>
                  </a:moveTo>
                  <a:cubicBezTo>
                    <a:pt x="8" y="105"/>
                    <a:pt x="7" y="105"/>
                    <a:pt x="6" y="103"/>
                  </a:cubicBezTo>
                  <a:cubicBezTo>
                    <a:pt x="2" y="93"/>
                    <a:pt x="0" y="84"/>
                    <a:pt x="0" y="72"/>
                  </a:cubicBezTo>
                  <a:cubicBezTo>
                    <a:pt x="0" y="46"/>
                    <a:pt x="10" y="21"/>
                    <a:pt x="27" y="2"/>
                  </a:cubicBezTo>
                  <a:cubicBezTo>
                    <a:pt x="29" y="0"/>
                    <a:pt x="31" y="0"/>
                    <a:pt x="32" y="2"/>
                  </a:cubicBezTo>
                  <a:cubicBezTo>
                    <a:pt x="34" y="3"/>
                    <a:pt x="34" y="5"/>
                    <a:pt x="33" y="6"/>
                  </a:cubicBezTo>
                  <a:cubicBezTo>
                    <a:pt x="16" y="24"/>
                    <a:pt x="7" y="47"/>
                    <a:pt x="7" y="72"/>
                  </a:cubicBezTo>
                  <a:cubicBezTo>
                    <a:pt x="7" y="83"/>
                    <a:pt x="9" y="91"/>
                    <a:pt x="13" y="101"/>
                  </a:cubicBezTo>
                  <a:cubicBezTo>
                    <a:pt x="13" y="103"/>
                    <a:pt x="12" y="105"/>
                    <a:pt x="11" y="105"/>
                  </a:cubicBezTo>
                  <a:cubicBezTo>
                    <a:pt x="10" y="105"/>
                    <a:pt x="10" y="105"/>
                    <a:pt x="9" y="105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1" name="Freeform 1598">
              <a:extLst>
                <a:ext uri="{FF2B5EF4-FFF2-40B4-BE49-F238E27FC236}">
                  <a16:creationId xmlns:a16="http://schemas.microsoft.com/office/drawing/2014/main" id="{7CD9282D-24C8-4947-9244-9F78400A4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3022" y="5268339"/>
              <a:ext cx="63229" cy="187159"/>
            </a:xfrm>
            <a:custGeom>
              <a:avLst/>
              <a:gdLst>
                <a:gd name="T0" fmla="*/ 26 w 35"/>
                <a:gd name="T1" fmla="*/ 103 h 103"/>
                <a:gd name="T2" fmla="*/ 25 w 35"/>
                <a:gd name="T3" fmla="*/ 103 h 103"/>
                <a:gd name="T4" fmla="*/ 23 w 35"/>
                <a:gd name="T5" fmla="*/ 99 h 103"/>
                <a:gd name="T6" fmla="*/ 27 w 35"/>
                <a:gd name="T7" fmla="*/ 72 h 103"/>
                <a:gd name="T8" fmla="*/ 2 w 35"/>
                <a:gd name="T9" fmla="*/ 6 h 103"/>
                <a:gd name="T10" fmla="*/ 2 w 35"/>
                <a:gd name="T11" fmla="*/ 2 h 103"/>
                <a:gd name="T12" fmla="*/ 7 w 35"/>
                <a:gd name="T13" fmla="*/ 2 h 103"/>
                <a:gd name="T14" fmla="*/ 34 w 35"/>
                <a:gd name="T15" fmla="*/ 71 h 103"/>
                <a:gd name="T16" fmla="*/ 30 w 35"/>
                <a:gd name="T17" fmla="*/ 101 h 103"/>
                <a:gd name="T18" fmla="*/ 26 w 35"/>
                <a:gd name="T1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03">
                  <a:moveTo>
                    <a:pt x="26" y="103"/>
                  </a:moveTo>
                  <a:cubicBezTo>
                    <a:pt x="26" y="103"/>
                    <a:pt x="26" y="103"/>
                    <a:pt x="25" y="103"/>
                  </a:cubicBezTo>
                  <a:cubicBezTo>
                    <a:pt x="23" y="103"/>
                    <a:pt x="22" y="101"/>
                    <a:pt x="23" y="99"/>
                  </a:cubicBezTo>
                  <a:cubicBezTo>
                    <a:pt x="27" y="88"/>
                    <a:pt x="28" y="83"/>
                    <a:pt x="27" y="72"/>
                  </a:cubicBezTo>
                  <a:cubicBezTo>
                    <a:pt x="25" y="44"/>
                    <a:pt x="18" y="24"/>
                    <a:pt x="2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24" y="20"/>
                    <a:pt x="32" y="42"/>
                    <a:pt x="34" y="71"/>
                  </a:cubicBezTo>
                  <a:cubicBezTo>
                    <a:pt x="35" y="83"/>
                    <a:pt x="34" y="90"/>
                    <a:pt x="30" y="101"/>
                  </a:cubicBezTo>
                  <a:cubicBezTo>
                    <a:pt x="29" y="103"/>
                    <a:pt x="28" y="103"/>
                    <a:pt x="26" y="103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2" name="Freeform 1599">
              <a:extLst>
                <a:ext uri="{FF2B5EF4-FFF2-40B4-BE49-F238E27FC236}">
                  <a16:creationId xmlns:a16="http://schemas.microsoft.com/office/drawing/2014/main" id="{5B836574-4E84-4C93-8BE0-2127A7B6F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1874" y="5194993"/>
              <a:ext cx="70817" cy="39202"/>
            </a:xfrm>
            <a:custGeom>
              <a:avLst/>
              <a:gdLst>
                <a:gd name="T0" fmla="*/ 4 w 39"/>
                <a:gd name="T1" fmla="*/ 22 h 22"/>
                <a:gd name="T2" fmla="*/ 1 w 39"/>
                <a:gd name="T3" fmla="*/ 21 h 22"/>
                <a:gd name="T4" fmla="*/ 2 w 39"/>
                <a:gd name="T5" fmla="*/ 16 h 22"/>
                <a:gd name="T6" fmla="*/ 35 w 39"/>
                <a:gd name="T7" fmla="*/ 1 h 22"/>
                <a:gd name="T8" fmla="*/ 39 w 39"/>
                <a:gd name="T9" fmla="*/ 4 h 22"/>
                <a:gd name="T10" fmla="*/ 36 w 39"/>
                <a:gd name="T11" fmla="*/ 7 h 22"/>
                <a:gd name="T12" fmla="*/ 6 w 39"/>
                <a:gd name="T13" fmla="*/ 21 h 22"/>
                <a:gd name="T14" fmla="*/ 4 w 3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2">
                  <a:moveTo>
                    <a:pt x="4" y="22"/>
                  </a:moveTo>
                  <a:cubicBezTo>
                    <a:pt x="3" y="22"/>
                    <a:pt x="2" y="22"/>
                    <a:pt x="1" y="21"/>
                  </a:cubicBezTo>
                  <a:cubicBezTo>
                    <a:pt x="0" y="20"/>
                    <a:pt x="0" y="17"/>
                    <a:pt x="2" y="16"/>
                  </a:cubicBezTo>
                  <a:cubicBezTo>
                    <a:pt x="11" y="8"/>
                    <a:pt x="22" y="3"/>
                    <a:pt x="35" y="1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5"/>
                    <a:pt x="38" y="7"/>
                    <a:pt x="36" y="7"/>
                  </a:cubicBezTo>
                  <a:cubicBezTo>
                    <a:pt x="25" y="9"/>
                    <a:pt x="14" y="14"/>
                    <a:pt x="6" y="21"/>
                  </a:cubicBezTo>
                  <a:cubicBezTo>
                    <a:pt x="5" y="22"/>
                    <a:pt x="5" y="22"/>
                    <a:pt x="4" y="2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3" name="Freeform 1600">
              <a:extLst>
                <a:ext uri="{FF2B5EF4-FFF2-40B4-BE49-F238E27FC236}">
                  <a16:creationId xmlns:a16="http://schemas.microsoft.com/office/drawing/2014/main" id="{DADD2EE2-EAC7-472B-A0AB-0FE364DA4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3120" y="5194993"/>
              <a:ext cx="70817" cy="39202"/>
            </a:xfrm>
            <a:custGeom>
              <a:avLst/>
              <a:gdLst>
                <a:gd name="T0" fmla="*/ 35 w 39"/>
                <a:gd name="T1" fmla="*/ 22 h 22"/>
                <a:gd name="T2" fmla="*/ 33 w 39"/>
                <a:gd name="T3" fmla="*/ 21 h 22"/>
                <a:gd name="T4" fmla="*/ 3 w 39"/>
                <a:gd name="T5" fmla="*/ 7 h 22"/>
                <a:gd name="T6" fmla="*/ 0 w 39"/>
                <a:gd name="T7" fmla="*/ 4 h 22"/>
                <a:gd name="T8" fmla="*/ 4 w 39"/>
                <a:gd name="T9" fmla="*/ 1 h 22"/>
                <a:gd name="T10" fmla="*/ 38 w 39"/>
                <a:gd name="T11" fmla="*/ 16 h 22"/>
                <a:gd name="T12" fmla="*/ 38 w 39"/>
                <a:gd name="T13" fmla="*/ 21 h 22"/>
                <a:gd name="T14" fmla="*/ 35 w 3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2">
                  <a:moveTo>
                    <a:pt x="35" y="22"/>
                  </a:moveTo>
                  <a:cubicBezTo>
                    <a:pt x="35" y="22"/>
                    <a:pt x="34" y="22"/>
                    <a:pt x="33" y="21"/>
                  </a:cubicBezTo>
                  <a:cubicBezTo>
                    <a:pt x="25" y="14"/>
                    <a:pt x="15" y="9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1" y="2"/>
                    <a:pt x="2" y="0"/>
                    <a:pt x="4" y="1"/>
                  </a:cubicBezTo>
                  <a:cubicBezTo>
                    <a:pt x="17" y="3"/>
                    <a:pt x="29" y="8"/>
                    <a:pt x="38" y="16"/>
                  </a:cubicBezTo>
                  <a:cubicBezTo>
                    <a:pt x="39" y="17"/>
                    <a:pt x="39" y="20"/>
                    <a:pt x="38" y="21"/>
                  </a:cubicBezTo>
                  <a:cubicBezTo>
                    <a:pt x="37" y="22"/>
                    <a:pt x="36" y="22"/>
                    <a:pt x="35" y="22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4" name="Freeform 1601">
              <a:extLst>
                <a:ext uri="{FF2B5EF4-FFF2-40B4-BE49-F238E27FC236}">
                  <a16:creationId xmlns:a16="http://schemas.microsoft.com/office/drawing/2014/main" id="{E769A32B-B01E-4451-9A3A-933ED8D3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2634" y="5430206"/>
              <a:ext cx="192217" cy="49319"/>
            </a:xfrm>
            <a:custGeom>
              <a:avLst/>
              <a:gdLst>
                <a:gd name="T0" fmla="*/ 4 w 106"/>
                <a:gd name="T1" fmla="*/ 27 h 27"/>
                <a:gd name="T2" fmla="*/ 1 w 106"/>
                <a:gd name="T3" fmla="*/ 24 h 27"/>
                <a:gd name="T4" fmla="*/ 3 w 106"/>
                <a:gd name="T5" fmla="*/ 20 h 27"/>
                <a:gd name="T6" fmla="*/ 22 w 106"/>
                <a:gd name="T7" fmla="*/ 14 h 27"/>
                <a:gd name="T8" fmla="*/ 103 w 106"/>
                <a:gd name="T9" fmla="*/ 10 h 27"/>
                <a:gd name="T10" fmla="*/ 105 w 106"/>
                <a:gd name="T11" fmla="*/ 15 h 27"/>
                <a:gd name="T12" fmla="*/ 101 w 106"/>
                <a:gd name="T13" fmla="*/ 17 h 27"/>
                <a:gd name="T14" fmla="*/ 24 w 106"/>
                <a:gd name="T15" fmla="*/ 21 h 27"/>
                <a:gd name="T16" fmla="*/ 5 w 106"/>
                <a:gd name="T17" fmla="*/ 26 h 27"/>
                <a:gd name="T18" fmla="*/ 4 w 106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27">
                  <a:moveTo>
                    <a:pt x="4" y="27"/>
                  </a:moveTo>
                  <a:cubicBezTo>
                    <a:pt x="2" y="27"/>
                    <a:pt x="1" y="26"/>
                    <a:pt x="1" y="24"/>
                  </a:cubicBezTo>
                  <a:cubicBezTo>
                    <a:pt x="0" y="22"/>
                    <a:pt x="1" y="20"/>
                    <a:pt x="3" y="20"/>
                  </a:cubicBezTo>
                  <a:cubicBezTo>
                    <a:pt x="10" y="18"/>
                    <a:pt x="16" y="16"/>
                    <a:pt x="22" y="14"/>
                  </a:cubicBezTo>
                  <a:cubicBezTo>
                    <a:pt x="59" y="3"/>
                    <a:pt x="69" y="0"/>
                    <a:pt x="103" y="10"/>
                  </a:cubicBezTo>
                  <a:cubicBezTo>
                    <a:pt x="105" y="11"/>
                    <a:pt x="106" y="13"/>
                    <a:pt x="105" y="15"/>
                  </a:cubicBezTo>
                  <a:cubicBezTo>
                    <a:pt x="105" y="17"/>
                    <a:pt x="103" y="18"/>
                    <a:pt x="101" y="17"/>
                  </a:cubicBezTo>
                  <a:cubicBezTo>
                    <a:pt x="69" y="7"/>
                    <a:pt x="61" y="10"/>
                    <a:pt x="24" y="21"/>
                  </a:cubicBezTo>
                  <a:cubicBezTo>
                    <a:pt x="18" y="23"/>
                    <a:pt x="12" y="24"/>
                    <a:pt x="5" y="26"/>
                  </a:cubicBezTo>
                  <a:cubicBezTo>
                    <a:pt x="4" y="27"/>
                    <a:pt x="4" y="27"/>
                    <a:pt x="4" y="2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5" name="Freeform 1602">
              <a:extLst>
                <a:ext uri="{FF2B5EF4-FFF2-40B4-BE49-F238E27FC236}">
                  <a16:creationId xmlns:a16="http://schemas.microsoft.com/office/drawing/2014/main" id="{3EE1AB18-CBAF-49A4-A1F3-8B155BBB76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9891" y="5167172"/>
              <a:ext cx="306030" cy="293384"/>
            </a:xfrm>
            <a:custGeom>
              <a:avLst/>
              <a:gdLst>
                <a:gd name="T0" fmla="*/ 121 w 169"/>
                <a:gd name="T1" fmla="*/ 161 h 162"/>
                <a:gd name="T2" fmla="*/ 120 w 169"/>
                <a:gd name="T3" fmla="*/ 161 h 162"/>
                <a:gd name="T4" fmla="*/ 92 w 169"/>
                <a:gd name="T5" fmla="*/ 157 h 162"/>
                <a:gd name="T6" fmla="*/ 82 w 169"/>
                <a:gd name="T7" fmla="*/ 156 h 162"/>
                <a:gd name="T8" fmla="*/ 57 w 169"/>
                <a:gd name="T9" fmla="*/ 160 h 162"/>
                <a:gd name="T10" fmla="*/ 56 w 169"/>
                <a:gd name="T11" fmla="*/ 160 h 162"/>
                <a:gd name="T12" fmla="*/ 53 w 169"/>
                <a:gd name="T13" fmla="*/ 161 h 162"/>
                <a:gd name="T14" fmla="*/ 49 w 169"/>
                <a:gd name="T15" fmla="*/ 161 h 162"/>
                <a:gd name="T16" fmla="*/ 0 w 169"/>
                <a:gd name="T17" fmla="*/ 85 h 162"/>
                <a:gd name="T18" fmla="*/ 85 w 169"/>
                <a:gd name="T19" fmla="*/ 0 h 162"/>
                <a:gd name="T20" fmla="*/ 169 w 169"/>
                <a:gd name="T21" fmla="*/ 85 h 162"/>
                <a:gd name="T22" fmla="*/ 122 w 169"/>
                <a:gd name="T23" fmla="*/ 161 h 162"/>
                <a:gd name="T24" fmla="*/ 121 w 169"/>
                <a:gd name="T25" fmla="*/ 161 h 162"/>
                <a:gd name="T26" fmla="*/ 82 w 169"/>
                <a:gd name="T27" fmla="*/ 150 h 162"/>
                <a:gd name="T28" fmla="*/ 92 w 169"/>
                <a:gd name="T29" fmla="*/ 150 h 162"/>
                <a:gd name="T30" fmla="*/ 120 w 169"/>
                <a:gd name="T31" fmla="*/ 154 h 162"/>
                <a:gd name="T32" fmla="*/ 163 w 169"/>
                <a:gd name="T33" fmla="*/ 85 h 162"/>
                <a:gd name="T34" fmla="*/ 85 w 169"/>
                <a:gd name="T35" fmla="*/ 7 h 162"/>
                <a:gd name="T36" fmla="*/ 7 w 169"/>
                <a:gd name="T37" fmla="*/ 85 h 162"/>
                <a:gd name="T38" fmla="*/ 51 w 169"/>
                <a:gd name="T39" fmla="*/ 154 h 162"/>
                <a:gd name="T40" fmla="*/ 54 w 169"/>
                <a:gd name="T41" fmla="*/ 153 h 162"/>
                <a:gd name="T42" fmla="*/ 55 w 169"/>
                <a:gd name="T43" fmla="*/ 153 h 162"/>
                <a:gd name="T44" fmla="*/ 82 w 169"/>
                <a:gd name="T45" fmla="*/ 15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162">
                  <a:moveTo>
                    <a:pt x="121" y="161"/>
                  </a:moveTo>
                  <a:cubicBezTo>
                    <a:pt x="120" y="161"/>
                    <a:pt x="120" y="161"/>
                    <a:pt x="120" y="161"/>
                  </a:cubicBezTo>
                  <a:cubicBezTo>
                    <a:pt x="111" y="159"/>
                    <a:pt x="97" y="157"/>
                    <a:pt x="92" y="157"/>
                  </a:cubicBezTo>
                  <a:cubicBezTo>
                    <a:pt x="88" y="157"/>
                    <a:pt x="85" y="156"/>
                    <a:pt x="82" y="156"/>
                  </a:cubicBezTo>
                  <a:cubicBezTo>
                    <a:pt x="74" y="156"/>
                    <a:pt x="67" y="158"/>
                    <a:pt x="57" y="160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5" y="160"/>
                    <a:pt x="53" y="161"/>
                    <a:pt x="53" y="161"/>
                  </a:cubicBezTo>
                  <a:cubicBezTo>
                    <a:pt x="52" y="161"/>
                    <a:pt x="51" y="162"/>
                    <a:pt x="49" y="161"/>
                  </a:cubicBezTo>
                  <a:cubicBezTo>
                    <a:pt x="18" y="148"/>
                    <a:pt x="0" y="119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1" y="0"/>
                    <a:pt x="169" y="38"/>
                    <a:pt x="169" y="85"/>
                  </a:cubicBezTo>
                  <a:cubicBezTo>
                    <a:pt x="169" y="118"/>
                    <a:pt x="151" y="147"/>
                    <a:pt x="122" y="161"/>
                  </a:cubicBezTo>
                  <a:cubicBezTo>
                    <a:pt x="122" y="161"/>
                    <a:pt x="121" y="161"/>
                    <a:pt x="121" y="161"/>
                  </a:cubicBezTo>
                  <a:close/>
                  <a:moveTo>
                    <a:pt x="82" y="150"/>
                  </a:moveTo>
                  <a:cubicBezTo>
                    <a:pt x="85" y="150"/>
                    <a:pt x="88" y="150"/>
                    <a:pt x="92" y="150"/>
                  </a:cubicBezTo>
                  <a:cubicBezTo>
                    <a:pt x="97" y="150"/>
                    <a:pt x="111" y="152"/>
                    <a:pt x="120" y="154"/>
                  </a:cubicBezTo>
                  <a:cubicBezTo>
                    <a:pt x="146" y="141"/>
                    <a:pt x="163" y="115"/>
                    <a:pt x="163" y="85"/>
                  </a:cubicBezTo>
                  <a:cubicBezTo>
                    <a:pt x="163" y="42"/>
                    <a:pt x="128" y="7"/>
                    <a:pt x="85" y="7"/>
                  </a:cubicBezTo>
                  <a:cubicBezTo>
                    <a:pt x="42" y="7"/>
                    <a:pt x="7" y="42"/>
                    <a:pt x="7" y="85"/>
                  </a:cubicBezTo>
                  <a:cubicBezTo>
                    <a:pt x="7" y="116"/>
                    <a:pt x="23" y="142"/>
                    <a:pt x="51" y="154"/>
                  </a:cubicBezTo>
                  <a:cubicBezTo>
                    <a:pt x="52" y="154"/>
                    <a:pt x="53" y="154"/>
                    <a:pt x="54" y="153"/>
                  </a:cubicBezTo>
                  <a:cubicBezTo>
                    <a:pt x="55" y="153"/>
                    <a:pt x="55" y="153"/>
                    <a:pt x="55" y="153"/>
                  </a:cubicBezTo>
                  <a:cubicBezTo>
                    <a:pt x="66" y="151"/>
                    <a:pt x="73" y="150"/>
                    <a:pt x="82" y="15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6" name="Freeform 1603">
              <a:extLst>
                <a:ext uri="{FF2B5EF4-FFF2-40B4-BE49-F238E27FC236}">
                  <a16:creationId xmlns:a16="http://schemas.microsoft.com/office/drawing/2014/main" id="{47D6A280-5321-49A5-94D0-9F11FC3E7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241" y="5430206"/>
              <a:ext cx="328792" cy="50583"/>
            </a:xfrm>
            <a:custGeom>
              <a:avLst/>
              <a:gdLst>
                <a:gd name="T0" fmla="*/ 161 w 181"/>
                <a:gd name="T1" fmla="*/ 28 h 28"/>
                <a:gd name="T2" fmla="*/ 101 w 181"/>
                <a:gd name="T3" fmla="*/ 17 h 28"/>
                <a:gd name="T4" fmla="*/ 24 w 181"/>
                <a:gd name="T5" fmla="*/ 21 h 28"/>
                <a:gd name="T6" fmla="*/ 5 w 181"/>
                <a:gd name="T7" fmla="*/ 26 h 28"/>
                <a:gd name="T8" fmla="*/ 1 w 181"/>
                <a:gd name="T9" fmla="*/ 24 h 28"/>
                <a:gd name="T10" fmla="*/ 3 w 181"/>
                <a:gd name="T11" fmla="*/ 20 h 28"/>
                <a:gd name="T12" fmla="*/ 22 w 181"/>
                <a:gd name="T13" fmla="*/ 14 h 28"/>
                <a:gd name="T14" fmla="*/ 103 w 181"/>
                <a:gd name="T15" fmla="*/ 10 h 28"/>
                <a:gd name="T16" fmla="*/ 177 w 181"/>
                <a:gd name="T17" fmla="*/ 20 h 28"/>
                <a:gd name="T18" fmla="*/ 181 w 181"/>
                <a:gd name="T19" fmla="*/ 22 h 28"/>
                <a:gd name="T20" fmla="*/ 178 w 181"/>
                <a:gd name="T21" fmla="*/ 26 h 28"/>
                <a:gd name="T22" fmla="*/ 161 w 181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1" h="28">
                  <a:moveTo>
                    <a:pt x="161" y="28"/>
                  </a:moveTo>
                  <a:cubicBezTo>
                    <a:pt x="145" y="28"/>
                    <a:pt x="126" y="24"/>
                    <a:pt x="101" y="17"/>
                  </a:cubicBezTo>
                  <a:cubicBezTo>
                    <a:pt x="69" y="7"/>
                    <a:pt x="62" y="10"/>
                    <a:pt x="24" y="21"/>
                  </a:cubicBezTo>
                  <a:cubicBezTo>
                    <a:pt x="18" y="23"/>
                    <a:pt x="12" y="24"/>
                    <a:pt x="5" y="26"/>
                  </a:cubicBezTo>
                  <a:cubicBezTo>
                    <a:pt x="3" y="27"/>
                    <a:pt x="1" y="26"/>
                    <a:pt x="1" y="24"/>
                  </a:cubicBezTo>
                  <a:cubicBezTo>
                    <a:pt x="0" y="22"/>
                    <a:pt x="1" y="20"/>
                    <a:pt x="3" y="20"/>
                  </a:cubicBezTo>
                  <a:cubicBezTo>
                    <a:pt x="10" y="18"/>
                    <a:pt x="16" y="16"/>
                    <a:pt x="22" y="14"/>
                  </a:cubicBezTo>
                  <a:cubicBezTo>
                    <a:pt x="59" y="3"/>
                    <a:pt x="69" y="0"/>
                    <a:pt x="103" y="10"/>
                  </a:cubicBezTo>
                  <a:cubicBezTo>
                    <a:pt x="136" y="20"/>
                    <a:pt x="159" y="23"/>
                    <a:pt x="177" y="20"/>
                  </a:cubicBezTo>
                  <a:cubicBezTo>
                    <a:pt x="179" y="19"/>
                    <a:pt x="181" y="21"/>
                    <a:pt x="181" y="22"/>
                  </a:cubicBezTo>
                  <a:cubicBezTo>
                    <a:pt x="181" y="24"/>
                    <a:pt x="180" y="26"/>
                    <a:pt x="178" y="26"/>
                  </a:cubicBezTo>
                  <a:cubicBezTo>
                    <a:pt x="173" y="28"/>
                    <a:pt x="167" y="28"/>
                    <a:pt x="161" y="2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28" name="Agrupar 1727">
            <a:extLst>
              <a:ext uri="{FF2B5EF4-FFF2-40B4-BE49-F238E27FC236}">
                <a16:creationId xmlns:a16="http://schemas.microsoft.com/office/drawing/2014/main" id="{0C15BB6E-7CBB-4DE9-A2D1-00664BF1224D}"/>
              </a:ext>
            </a:extLst>
          </p:cNvPr>
          <p:cNvGrpSpPr/>
          <p:nvPr/>
        </p:nvGrpSpPr>
        <p:grpSpPr>
          <a:xfrm>
            <a:off x="9667465" y="5134293"/>
            <a:ext cx="282002" cy="346497"/>
            <a:chOff x="10349077" y="5134293"/>
            <a:chExt cx="282002" cy="346497"/>
          </a:xfrm>
        </p:grpSpPr>
        <p:sp>
          <p:nvSpPr>
            <p:cNvPr id="1007" name="Freeform 1604">
              <a:extLst>
                <a:ext uri="{FF2B5EF4-FFF2-40B4-BE49-F238E27FC236}">
                  <a16:creationId xmlns:a16="http://schemas.microsoft.com/office/drawing/2014/main" id="{08E4D129-65F0-49B8-90D5-7C1635562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9077" y="5408708"/>
              <a:ext cx="32879" cy="68288"/>
            </a:xfrm>
            <a:custGeom>
              <a:avLst/>
              <a:gdLst>
                <a:gd name="T0" fmla="*/ 4 w 18"/>
                <a:gd name="T1" fmla="*/ 38 h 38"/>
                <a:gd name="T2" fmla="*/ 3 w 18"/>
                <a:gd name="T3" fmla="*/ 37 h 38"/>
                <a:gd name="T4" fmla="*/ 1 w 18"/>
                <a:gd name="T5" fmla="*/ 33 h 38"/>
                <a:gd name="T6" fmla="*/ 11 w 18"/>
                <a:gd name="T7" fmla="*/ 2 h 38"/>
                <a:gd name="T8" fmla="*/ 16 w 18"/>
                <a:gd name="T9" fmla="*/ 0 h 38"/>
                <a:gd name="T10" fmla="*/ 18 w 18"/>
                <a:gd name="T11" fmla="*/ 5 h 38"/>
                <a:gd name="T12" fmla="*/ 7 w 18"/>
                <a:gd name="T13" fmla="*/ 35 h 38"/>
                <a:gd name="T14" fmla="*/ 4 w 18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8">
                  <a:moveTo>
                    <a:pt x="4" y="38"/>
                  </a:moveTo>
                  <a:cubicBezTo>
                    <a:pt x="4" y="38"/>
                    <a:pt x="3" y="37"/>
                    <a:pt x="3" y="37"/>
                  </a:cubicBezTo>
                  <a:cubicBezTo>
                    <a:pt x="1" y="37"/>
                    <a:pt x="0" y="35"/>
                    <a:pt x="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7" y="1"/>
                    <a:pt x="18" y="3"/>
                    <a:pt x="18" y="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7"/>
                    <a:pt x="6" y="38"/>
                    <a:pt x="4" y="3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8" name="Freeform 1605">
              <a:extLst>
                <a:ext uri="{FF2B5EF4-FFF2-40B4-BE49-F238E27FC236}">
                  <a16:creationId xmlns:a16="http://schemas.microsoft.com/office/drawing/2014/main" id="{37A7B7E9-59A1-4D78-B135-EF1C43244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8200" y="5412502"/>
              <a:ext cx="32879" cy="68288"/>
            </a:xfrm>
            <a:custGeom>
              <a:avLst/>
              <a:gdLst>
                <a:gd name="T0" fmla="*/ 15 w 18"/>
                <a:gd name="T1" fmla="*/ 38 h 38"/>
                <a:gd name="T2" fmla="*/ 11 w 18"/>
                <a:gd name="T3" fmla="*/ 36 h 38"/>
                <a:gd name="T4" fmla="*/ 1 w 18"/>
                <a:gd name="T5" fmla="*/ 5 h 38"/>
                <a:gd name="T6" fmla="*/ 3 w 18"/>
                <a:gd name="T7" fmla="*/ 0 h 38"/>
                <a:gd name="T8" fmla="*/ 8 w 18"/>
                <a:gd name="T9" fmla="*/ 2 h 38"/>
                <a:gd name="T10" fmla="*/ 18 w 18"/>
                <a:gd name="T11" fmla="*/ 34 h 38"/>
                <a:gd name="T12" fmla="*/ 16 w 18"/>
                <a:gd name="T13" fmla="*/ 38 h 38"/>
                <a:gd name="T14" fmla="*/ 15 w 18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8">
                  <a:moveTo>
                    <a:pt x="15" y="38"/>
                  </a:moveTo>
                  <a:cubicBezTo>
                    <a:pt x="13" y="38"/>
                    <a:pt x="12" y="37"/>
                    <a:pt x="11" y="3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8" y="2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6"/>
                    <a:pt x="17" y="38"/>
                    <a:pt x="16" y="38"/>
                  </a:cubicBezTo>
                  <a:cubicBezTo>
                    <a:pt x="15" y="38"/>
                    <a:pt x="15" y="38"/>
                    <a:pt x="15" y="3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9" name="Freeform 1606">
              <a:extLst>
                <a:ext uri="{FF2B5EF4-FFF2-40B4-BE49-F238E27FC236}">
                  <a16:creationId xmlns:a16="http://schemas.microsoft.com/office/drawing/2014/main" id="{19DBE8A8-FA85-4C3D-BC86-521611675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3454" y="5418825"/>
              <a:ext cx="182100" cy="31615"/>
            </a:xfrm>
            <a:custGeom>
              <a:avLst/>
              <a:gdLst>
                <a:gd name="T0" fmla="*/ 47 w 100"/>
                <a:gd name="T1" fmla="*/ 17 h 17"/>
                <a:gd name="T2" fmla="*/ 47 w 100"/>
                <a:gd name="T3" fmla="*/ 16 h 17"/>
                <a:gd name="T4" fmla="*/ 3 w 100"/>
                <a:gd name="T5" fmla="*/ 7 h 17"/>
                <a:gd name="T6" fmla="*/ 0 w 100"/>
                <a:gd name="T7" fmla="*/ 3 h 17"/>
                <a:gd name="T8" fmla="*/ 5 w 100"/>
                <a:gd name="T9" fmla="*/ 1 h 17"/>
                <a:gd name="T10" fmla="*/ 47 w 100"/>
                <a:gd name="T11" fmla="*/ 10 h 17"/>
                <a:gd name="T12" fmla="*/ 96 w 100"/>
                <a:gd name="T13" fmla="*/ 0 h 17"/>
                <a:gd name="T14" fmla="*/ 100 w 100"/>
                <a:gd name="T15" fmla="*/ 3 h 17"/>
                <a:gd name="T16" fmla="*/ 97 w 100"/>
                <a:gd name="T17" fmla="*/ 7 h 17"/>
                <a:gd name="T18" fmla="*/ 48 w 100"/>
                <a:gd name="T19" fmla="*/ 16 h 17"/>
                <a:gd name="T20" fmla="*/ 47 w 100"/>
                <a:gd name="T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17">
                  <a:moveTo>
                    <a:pt x="47" y="17"/>
                  </a:moveTo>
                  <a:cubicBezTo>
                    <a:pt x="47" y="17"/>
                    <a:pt x="47" y="17"/>
                    <a:pt x="47" y="1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3" y="0"/>
                    <a:pt x="5" y="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ubicBezTo>
                    <a:pt x="100" y="5"/>
                    <a:pt x="99" y="7"/>
                    <a:pt x="97" y="7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7"/>
                    <a:pt x="48" y="17"/>
                    <a:pt x="47" y="1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0" name="Freeform 1607">
              <a:extLst>
                <a:ext uri="{FF2B5EF4-FFF2-40B4-BE49-F238E27FC236}">
                  <a16:creationId xmlns:a16="http://schemas.microsoft.com/office/drawing/2014/main" id="{4ECFB569-8738-4875-91DB-C4CE1E1E1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4388" y="5170966"/>
              <a:ext cx="12646" cy="84727"/>
            </a:xfrm>
            <a:custGeom>
              <a:avLst/>
              <a:gdLst>
                <a:gd name="T0" fmla="*/ 3 w 7"/>
                <a:gd name="T1" fmla="*/ 47 h 47"/>
                <a:gd name="T2" fmla="*/ 0 w 7"/>
                <a:gd name="T3" fmla="*/ 44 h 47"/>
                <a:gd name="T4" fmla="*/ 0 w 7"/>
                <a:gd name="T5" fmla="*/ 3 h 47"/>
                <a:gd name="T6" fmla="*/ 3 w 7"/>
                <a:gd name="T7" fmla="*/ 0 h 47"/>
                <a:gd name="T8" fmla="*/ 7 w 7"/>
                <a:gd name="T9" fmla="*/ 3 h 47"/>
                <a:gd name="T10" fmla="*/ 7 w 7"/>
                <a:gd name="T11" fmla="*/ 44 h 47"/>
                <a:gd name="T12" fmla="*/ 3 w 7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7">
                  <a:moveTo>
                    <a:pt x="3" y="47"/>
                  </a:moveTo>
                  <a:cubicBezTo>
                    <a:pt x="2" y="47"/>
                    <a:pt x="0" y="46"/>
                    <a:pt x="0" y="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6"/>
                    <a:pt x="5" y="47"/>
                    <a:pt x="3" y="4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1" name="Freeform 1608">
              <a:extLst>
                <a:ext uri="{FF2B5EF4-FFF2-40B4-BE49-F238E27FC236}">
                  <a16:creationId xmlns:a16="http://schemas.microsoft.com/office/drawing/2014/main" id="{BE8325B7-9F29-4C9E-BA7A-4B385C46F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6898" y="5167172"/>
              <a:ext cx="120136" cy="104961"/>
            </a:xfrm>
            <a:custGeom>
              <a:avLst/>
              <a:gdLst>
                <a:gd name="T0" fmla="*/ 3 w 66"/>
                <a:gd name="T1" fmla="*/ 58 h 58"/>
                <a:gd name="T2" fmla="*/ 0 w 66"/>
                <a:gd name="T3" fmla="*/ 55 h 58"/>
                <a:gd name="T4" fmla="*/ 0 w 66"/>
                <a:gd name="T5" fmla="*/ 30 h 58"/>
                <a:gd name="T6" fmla="*/ 15 w 66"/>
                <a:gd name="T7" fmla="*/ 13 h 58"/>
                <a:gd name="T8" fmla="*/ 62 w 66"/>
                <a:gd name="T9" fmla="*/ 1 h 58"/>
                <a:gd name="T10" fmla="*/ 66 w 66"/>
                <a:gd name="T11" fmla="*/ 3 h 58"/>
                <a:gd name="T12" fmla="*/ 63 w 66"/>
                <a:gd name="T13" fmla="*/ 7 h 58"/>
                <a:gd name="T14" fmla="*/ 16 w 66"/>
                <a:gd name="T15" fmla="*/ 20 h 58"/>
                <a:gd name="T16" fmla="*/ 7 w 66"/>
                <a:gd name="T17" fmla="*/ 30 h 58"/>
                <a:gd name="T18" fmla="*/ 7 w 66"/>
                <a:gd name="T19" fmla="*/ 55 h 58"/>
                <a:gd name="T20" fmla="*/ 3 w 66"/>
                <a:gd name="T2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58">
                  <a:moveTo>
                    <a:pt x="3" y="58"/>
                  </a:moveTo>
                  <a:cubicBezTo>
                    <a:pt x="1" y="58"/>
                    <a:pt x="0" y="57"/>
                    <a:pt x="0" y="55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6"/>
                    <a:pt x="3" y="16"/>
                    <a:pt x="15" y="13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66" y="5"/>
                    <a:pt x="65" y="7"/>
                    <a:pt x="63" y="7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7" y="22"/>
                    <a:pt x="7" y="30"/>
                    <a:pt x="7" y="30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7"/>
                    <a:pt x="5" y="58"/>
                    <a:pt x="3" y="58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2" name="Freeform 1609">
              <a:extLst>
                <a:ext uri="{FF2B5EF4-FFF2-40B4-BE49-F238E27FC236}">
                  <a16:creationId xmlns:a16="http://schemas.microsoft.com/office/drawing/2014/main" id="{41578BA6-C497-4B1D-BD42-2CC8E9629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4388" y="5167172"/>
              <a:ext cx="118871" cy="107490"/>
            </a:xfrm>
            <a:custGeom>
              <a:avLst/>
              <a:gdLst>
                <a:gd name="T0" fmla="*/ 63 w 66"/>
                <a:gd name="T1" fmla="*/ 59 h 59"/>
                <a:gd name="T2" fmla="*/ 59 w 66"/>
                <a:gd name="T3" fmla="*/ 56 h 59"/>
                <a:gd name="T4" fmla="*/ 59 w 66"/>
                <a:gd name="T5" fmla="*/ 30 h 59"/>
                <a:gd name="T6" fmla="*/ 50 w 66"/>
                <a:gd name="T7" fmla="*/ 20 h 59"/>
                <a:gd name="T8" fmla="*/ 3 w 66"/>
                <a:gd name="T9" fmla="*/ 7 h 59"/>
                <a:gd name="T10" fmla="*/ 0 w 66"/>
                <a:gd name="T11" fmla="*/ 3 h 59"/>
                <a:gd name="T12" fmla="*/ 4 w 66"/>
                <a:gd name="T13" fmla="*/ 1 h 59"/>
                <a:gd name="T14" fmla="*/ 51 w 66"/>
                <a:gd name="T15" fmla="*/ 13 h 59"/>
                <a:gd name="T16" fmla="*/ 66 w 66"/>
                <a:gd name="T17" fmla="*/ 31 h 59"/>
                <a:gd name="T18" fmla="*/ 66 w 66"/>
                <a:gd name="T19" fmla="*/ 56 h 59"/>
                <a:gd name="T20" fmla="*/ 63 w 66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59">
                  <a:moveTo>
                    <a:pt x="63" y="59"/>
                  </a:moveTo>
                  <a:cubicBezTo>
                    <a:pt x="61" y="59"/>
                    <a:pt x="59" y="58"/>
                    <a:pt x="59" y="56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30"/>
                    <a:pt x="59" y="22"/>
                    <a:pt x="50" y="2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2" y="0"/>
                    <a:pt x="4" y="1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63" y="16"/>
                    <a:pt x="66" y="26"/>
                    <a:pt x="66" y="31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8"/>
                    <a:pt x="64" y="59"/>
                    <a:pt x="63" y="5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3" name="Freeform 1610">
              <a:extLst>
                <a:ext uri="{FF2B5EF4-FFF2-40B4-BE49-F238E27FC236}">
                  <a16:creationId xmlns:a16="http://schemas.microsoft.com/office/drawing/2014/main" id="{3278AEB9-53A7-4E29-AF62-661C6BB05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6334" y="5134293"/>
              <a:ext cx="103696" cy="54377"/>
            </a:xfrm>
            <a:custGeom>
              <a:avLst/>
              <a:gdLst>
                <a:gd name="T0" fmla="*/ 54 w 57"/>
                <a:gd name="T1" fmla="*/ 30 h 30"/>
                <a:gd name="T2" fmla="*/ 50 w 57"/>
                <a:gd name="T3" fmla="*/ 26 h 30"/>
                <a:gd name="T4" fmla="*/ 50 w 57"/>
                <a:gd name="T5" fmla="*/ 15 h 30"/>
                <a:gd name="T6" fmla="*/ 42 w 57"/>
                <a:gd name="T7" fmla="*/ 7 h 30"/>
                <a:gd name="T8" fmla="*/ 15 w 57"/>
                <a:gd name="T9" fmla="*/ 7 h 30"/>
                <a:gd name="T10" fmla="*/ 9 w 57"/>
                <a:gd name="T11" fmla="*/ 10 h 30"/>
                <a:gd name="T12" fmla="*/ 7 w 57"/>
                <a:gd name="T13" fmla="*/ 17 h 30"/>
                <a:gd name="T14" fmla="*/ 7 w 57"/>
                <a:gd name="T15" fmla="*/ 18 h 30"/>
                <a:gd name="T16" fmla="*/ 7 w 57"/>
                <a:gd name="T17" fmla="*/ 26 h 30"/>
                <a:gd name="T18" fmla="*/ 4 w 57"/>
                <a:gd name="T19" fmla="*/ 30 h 30"/>
                <a:gd name="T20" fmla="*/ 0 w 57"/>
                <a:gd name="T21" fmla="*/ 26 h 30"/>
                <a:gd name="T22" fmla="*/ 0 w 57"/>
                <a:gd name="T23" fmla="*/ 18 h 30"/>
                <a:gd name="T24" fmla="*/ 3 w 57"/>
                <a:gd name="T25" fmla="*/ 6 h 30"/>
                <a:gd name="T26" fmla="*/ 15 w 57"/>
                <a:gd name="T27" fmla="*/ 0 h 30"/>
                <a:gd name="T28" fmla="*/ 42 w 57"/>
                <a:gd name="T29" fmla="*/ 0 h 30"/>
                <a:gd name="T30" fmla="*/ 57 w 57"/>
                <a:gd name="T31" fmla="*/ 15 h 30"/>
                <a:gd name="T32" fmla="*/ 57 w 57"/>
                <a:gd name="T33" fmla="*/ 26 h 30"/>
                <a:gd name="T34" fmla="*/ 54 w 57"/>
                <a:gd name="T3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30">
                  <a:moveTo>
                    <a:pt x="54" y="30"/>
                  </a:moveTo>
                  <a:cubicBezTo>
                    <a:pt x="52" y="30"/>
                    <a:pt x="50" y="28"/>
                    <a:pt x="50" y="2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7"/>
                    <a:pt x="43" y="7"/>
                    <a:pt x="42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7" y="13"/>
                    <a:pt x="7" y="17"/>
                    <a:pt x="7" y="17"/>
                  </a:cubicBezTo>
                  <a:cubicBezTo>
                    <a:pt x="7" y="17"/>
                    <a:pt x="7" y="17"/>
                    <a:pt x="7" y="18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6" y="30"/>
                    <a:pt x="4" y="30"/>
                  </a:cubicBezTo>
                  <a:cubicBezTo>
                    <a:pt x="2" y="30"/>
                    <a:pt x="0" y="28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6"/>
                    <a:pt x="0" y="11"/>
                    <a:pt x="3" y="6"/>
                  </a:cubicBezTo>
                  <a:cubicBezTo>
                    <a:pt x="6" y="3"/>
                    <a:pt x="10" y="1"/>
                    <a:pt x="15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7" y="4"/>
                    <a:pt x="57" y="15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8"/>
                    <a:pt x="56" y="30"/>
                    <a:pt x="54" y="30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4" name="Freeform 1611">
              <a:extLst>
                <a:ext uri="{FF2B5EF4-FFF2-40B4-BE49-F238E27FC236}">
                  <a16:creationId xmlns:a16="http://schemas.microsoft.com/office/drawing/2014/main" id="{F2EE435D-E1FC-4E23-8233-4ABBC77F0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1606" y="5243047"/>
              <a:ext cx="275680" cy="179571"/>
            </a:xfrm>
            <a:custGeom>
              <a:avLst/>
              <a:gdLst>
                <a:gd name="T0" fmla="*/ 141 w 152"/>
                <a:gd name="T1" fmla="*/ 99 h 99"/>
                <a:gd name="T2" fmla="*/ 138 w 152"/>
                <a:gd name="T3" fmla="*/ 96 h 99"/>
                <a:gd name="T4" fmla="*/ 141 w 152"/>
                <a:gd name="T5" fmla="*/ 93 h 99"/>
                <a:gd name="T6" fmla="*/ 145 w 152"/>
                <a:gd name="T7" fmla="*/ 89 h 99"/>
                <a:gd name="T8" fmla="*/ 146 w 152"/>
                <a:gd name="T9" fmla="*/ 24 h 99"/>
                <a:gd name="T10" fmla="*/ 142 w 152"/>
                <a:gd name="T11" fmla="*/ 20 h 99"/>
                <a:gd name="T12" fmla="*/ 141 w 152"/>
                <a:gd name="T13" fmla="*/ 20 h 99"/>
                <a:gd name="T14" fmla="*/ 76 w 152"/>
                <a:gd name="T15" fmla="*/ 7 h 99"/>
                <a:gd name="T16" fmla="*/ 11 w 152"/>
                <a:gd name="T17" fmla="*/ 20 h 99"/>
                <a:gd name="T18" fmla="*/ 11 w 152"/>
                <a:gd name="T19" fmla="*/ 20 h 99"/>
                <a:gd name="T20" fmla="*/ 7 w 152"/>
                <a:gd name="T21" fmla="*/ 24 h 99"/>
                <a:gd name="T22" fmla="*/ 9 w 152"/>
                <a:gd name="T23" fmla="*/ 87 h 99"/>
                <a:gd name="T24" fmla="*/ 13 w 152"/>
                <a:gd name="T25" fmla="*/ 91 h 99"/>
                <a:gd name="T26" fmla="*/ 16 w 152"/>
                <a:gd name="T27" fmla="*/ 94 h 99"/>
                <a:gd name="T28" fmla="*/ 13 w 152"/>
                <a:gd name="T29" fmla="*/ 97 h 99"/>
                <a:gd name="T30" fmla="*/ 2 w 152"/>
                <a:gd name="T31" fmla="*/ 87 h 99"/>
                <a:gd name="T32" fmla="*/ 0 w 152"/>
                <a:gd name="T33" fmla="*/ 24 h 99"/>
                <a:gd name="T34" fmla="*/ 10 w 152"/>
                <a:gd name="T35" fmla="*/ 13 h 99"/>
                <a:gd name="T36" fmla="*/ 76 w 152"/>
                <a:gd name="T37" fmla="*/ 0 h 99"/>
                <a:gd name="T38" fmla="*/ 77 w 152"/>
                <a:gd name="T39" fmla="*/ 0 h 99"/>
                <a:gd name="T40" fmla="*/ 142 w 152"/>
                <a:gd name="T41" fmla="*/ 13 h 99"/>
                <a:gd name="T42" fmla="*/ 152 w 152"/>
                <a:gd name="T43" fmla="*/ 24 h 99"/>
                <a:gd name="T44" fmla="*/ 152 w 152"/>
                <a:gd name="T45" fmla="*/ 89 h 99"/>
                <a:gd name="T46" fmla="*/ 141 w 152"/>
                <a:gd name="T47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2" h="99">
                  <a:moveTo>
                    <a:pt x="141" y="99"/>
                  </a:moveTo>
                  <a:cubicBezTo>
                    <a:pt x="139" y="99"/>
                    <a:pt x="138" y="98"/>
                    <a:pt x="138" y="96"/>
                  </a:cubicBezTo>
                  <a:cubicBezTo>
                    <a:pt x="138" y="94"/>
                    <a:pt x="139" y="93"/>
                    <a:pt x="141" y="93"/>
                  </a:cubicBezTo>
                  <a:cubicBezTo>
                    <a:pt x="143" y="93"/>
                    <a:pt x="145" y="91"/>
                    <a:pt x="145" y="89"/>
                  </a:cubicBezTo>
                  <a:cubicBezTo>
                    <a:pt x="146" y="24"/>
                    <a:pt x="146" y="24"/>
                    <a:pt x="146" y="24"/>
                  </a:cubicBezTo>
                  <a:cubicBezTo>
                    <a:pt x="146" y="22"/>
                    <a:pt x="144" y="20"/>
                    <a:pt x="142" y="20"/>
                  </a:cubicBezTo>
                  <a:cubicBezTo>
                    <a:pt x="142" y="20"/>
                    <a:pt x="141" y="20"/>
                    <a:pt x="141" y="20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8" y="20"/>
                    <a:pt x="7" y="22"/>
                    <a:pt x="7" y="24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9"/>
                    <a:pt x="10" y="91"/>
                    <a:pt x="13" y="91"/>
                  </a:cubicBezTo>
                  <a:cubicBezTo>
                    <a:pt x="15" y="91"/>
                    <a:pt x="16" y="92"/>
                    <a:pt x="16" y="94"/>
                  </a:cubicBezTo>
                  <a:cubicBezTo>
                    <a:pt x="16" y="96"/>
                    <a:pt x="15" y="97"/>
                    <a:pt x="13" y="97"/>
                  </a:cubicBezTo>
                  <a:cubicBezTo>
                    <a:pt x="7" y="97"/>
                    <a:pt x="2" y="93"/>
                    <a:pt x="2" y="8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5" y="13"/>
                    <a:pt x="10" y="13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0"/>
                    <a:pt x="77" y="0"/>
                  </a:cubicBezTo>
                  <a:cubicBezTo>
                    <a:pt x="142" y="13"/>
                    <a:pt x="142" y="13"/>
                    <a:pt x="142" y="13"/>
                  </a:cubicBezTo>
                  <a:cubicBezTo>
                    <a:pt x="148" y="13"/>
                    <a:pt x="152" y="18"/>
                    <a:pt x="152" y="2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52" y="95"/>
                    <a:pt x="147" y="99"/>
                    <a:pt x="141" y="99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5" name="Freeform 1612">
              <a:extLst>
                <a:ext uri="{FF2B5EF4-FFF2-40B4-BE49-F238E27FC236}">
                  <a16:creationId xmlns:a16="http://schemas.microsoft.com/office/drawing/2014/main" id="{4CE966E4-4640-4EC7-B117-D5B84E98F9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47715" y="5284779"/>
              <a:ext cx="84727" cy="85992"/>
            </a:xfrm>
            <a:custGeom>
              <a:avLst/>
              <a:gdLst>
                <a:gd name="T0" fmla="*/ 23 w 47"/>
                <a:gd name="T1" fmla="*/ 47 h 47"/>
                <a:gd name="T2" fmla="*/ 0 w 47"/>
                <a:gd name="T3" fmla="*/ 23 h 47"/>
                <a:gd name="T4" fmla="*/ 23 w 47"/>
                <a:gd name="T5" fmla="*/ 0 h 47"/>
                <a:gd name="T6" fmla="*/ 47 w 47"/>
                <a:gd name="T7" fmla="*/ 23 h 47"/>
                <a:gd name="T8" fmla="*/ 23 w 47"/>
                <a:gd name="T9" fmla="*/ 47 h 47"/>
                <a:gd name="T10" fmla="*/ 23 w 47"/>
                <a:gd name="T11" fmla="*/ 7 h 47"/>
                <a:gd name="T12" fmla="*/ 7 w 47"/>
                <a:gd name="T13" fmla="*/ 23 h 47"/>
                <a:gd name="T14" fmla="*/ 23 w 47"/>
                <a:gd name="T15" fmla="*/ 40 h 47"/>
                <a:gd name="T16" fmla="*/ 40 w 47"/>
                <a:gd name="T17" fmla="*/ 23 h 47"/>
                <a:gd name="T18" fmla="*/ 23 w 47"/>
                <a:gd name="T19" fmla="*/ 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23" y="47"/>
                  </a:moveTo>
                  <a:cubicBezTo>
                    <a:pt x="10" y="47"/>
                    <a:pt x="0" y="36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6" y="0"/>
                    <a:pt x="47" y="10"/>
                    <a:pt x="47" y="23"/>
                  </a:cubicBezTo>
                  <a:cubicBezTo>
                    <a:pt x="47" y="36"/>
                    <a:pt x="36" y="47"/>
                    <a:pt x="23" y="47"/>
                  </a:cubicBezTo>
                  <a:close/>
                  <a:moveTo>
                    <a:pt x="23" y="7"/>
                  </a:moveTo>
                  <a:cubicBezTo>
                    <a:pt x="14" y="7"/>
                    <a:pt x="7" y="14"/>
                    <a:pt x="7" y="23"/>
                  </a:cubicBezTo>
                  <a:cubicBezTo>
                    <a:pt x="7" y="32"/>
                    <a:pt x="14" y="40"/>
                    <a:pt x="23" y="40"/>
                  </a:cubicBezTo>
                  <a:cubicBezTo>
                    <a:pt x="33" y="40"/>
                    <a:pt x="40" y="32"/>
                    <a:pt x="40" y="23"/>
                  </a:cubicBezTo>
                  <a:cubicBezTo>
                    <a:pt x="40" y="14"/>
                    <a:pt x="33" y="7"/>
                    <a:pt x="2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6" name="Freeform 1613">
              <a:extLst>
                <a:ext uri="{FF2B5EF4-FFF2-40B4-BE49-F238E27FC236}">
                  <a16:creationId xmlns:a16="http://schemas.microsoft.com/office/drawing/2014/main" id="{A18BC674-5EE7-4A0E-B097-66A49F7BF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0692" y="5339156"/>
              <a:ext cx="46790" cy="48054"/>
            </a:xfrm>
            <a:custGeom>
              <a:avLst/>
              <a:gdLst>
                <a:gd name="T0" fmla="*/ 13 w 26"/>
                <a:gd name="T1" fmla="*/ 26 h 26"/>
                <a:gd name="T2" fmla="*/ 0 w 26"/>
                <a:gd name="T3" fmla="*/ 13 h 26"/>
                <a:gd name="T4" fmla="*/ 13 w 26"/>
                <a:gd name="T5" fmla="*/ 0 h 26"/>
                <a:gd name="T6" fmla="*/ 26 w 26"/>
                <a:gd name="T7" fmla="*/ 13 h 26"/>
                <a:gd name="T8" fmla="*/ 13 w 26"/>
                <a:gd name="T9" fmla="*/ 26 h 26"/>
                <a:gd name="T10" fmla="*/ 13 w 26"/>
                <a:gd name="T11" fmla="*/ 7 h 26"/>
                <a:gd name="T12" fmla="*/ 7 w 26"/>
                <a:gd name="T13" fmla="*/ 13 h 26"/>
                <a:gd name="T14" fmla="*/ 13 w 26"/>
                <a:gd name="T15" fmla="*/ 19 h 26"/>
                <a:gd name="T16" fmla="*/ 19 w 26"/>
                <a:gd name="T17" fmla="*/ 13 h 26"/>
                <a:gd name="T18" fmla="*/ 13 w 26"/>
                <a:gd name="T19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13" y="26"/>
                  </a:move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20"/>
                    <a:pt x="20" y="26"/>
                    <a:pt x="13" y="26"/>
                  </a:cubicBezTo>
                  <a:close/>
                  <a:moveTo>
                    <a:pt x="13" y="7"/>
                  </a:moveTo>
                  <a:cubicBezTo>
                    <a:pt x="9" y="7"/>
                    <a:pt x="7" y="10"/>
                    <a:pt x="7" y="13"/>
                  </a:cubicBezTo>
                  <a:cubicBezTo>
                    <a:pt x="7" y="17"/>
                    <a:pt x="9" y="19"/>
                    <a:pt x="13" y="19"/>
                  </a:cubicBezTo>
                  <a:cubicBezTo>
                    <a:pt x="16" y="19"/>
                    <a:pt x="19" y="17"/>
                    <a:pt x="19" y="13"/>
                  </a:cubicBezTo>
                  <a:cubicBezTo>
                    <a:pt x="19" y="10"/>
                    <a:pt x="16" y="7"/>
                    <a:pt x="1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7" name="Freeform 1614">
              <a:extLst>
                <a:ext uri="{FF2B5EF4-FFF2-40B4-BE49-F238E27FC236}">
                  <a16:creationId xmlns:a16="http://schemas.microsoft.com/office/drawing/2014/main" id="{80B5B124-8CE5-4597-B3C8-2C7076EE69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52675" y="5339156"/>
              <a:ext cx="45525" cy="48054"/>
            </a:xfrm>
            <a:custGeom>
              <a:avLst/>
              <a:gdLst>
                <a:gd name="T0" fmla="*/ 13 w 25"/>
                <a:gd name="T1" fmla="*/ 26 h 26"/>
                <a:gd name="T2" fmla="*/ 0 w 25"/>
                <a:gd name="T3" fmla="*/ 13 h 26"/>
                <a:gd name="T4" fmla="*/ 13 w 25"/>
                <a:gd name="T5" fmla="*/ 0 h 26"/>
                <a:gd name="T6" fmla="*/ 25 w 25"/>
                <a:gd name="T7" fmla="*/ 13 h 26"/>
                <a:gd name="T8" fmla="*/ 13 w 25"/>
                <a:gd name="T9" fmla="*/ 26 h 26"/>
                <a:gd name="T10" fmla="*/ 13 w 25"/>
                <a:gd name="T11" fmla="*/ 7 h 26"/>
                <a:gd name="T12" fmla="*/ 6 w 25"/>
                <a:gd name="T13" fmla="*/ 13 h 26"/>
                <a:gd name="T14" fmla="*/ 13 w 25"/>
                <a:gd name="T15" fmla="*/ 19 h 26"/>
                <a:gd name="T16" fmla="*/ 19 w 25"/>
                <a:gd name="T17" fmla="*/ 13 h 26"/>
                <a:gd name="T18" fmla="*/ 13 w 25"/>
                <a:gd name="T19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6">
                  <a:moveTo>
                    <a:pt x="13" y="26"/>
                  </a:moveTo>
                  <a:cubicBezTo>
                    <a:pt x="5" y="26"/>
                    <a:pt x="0" y="20"/>
                    <a:pt x="0" y="13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20" y="0"/>
                    <a:pt x="25" y="6"/>
                    <a:pt x="25" y="13"/>
                  </a:cubicBezTo>
                  <a:cubicBezTo>
                    <a:pt x="25" y="20"/>
                    <a:pt x="20" y="26"/>
                    <a:pt x="13" y="26"/>
                  </a:cubicBezTo>
                  <a:close/>
                  <a:moveTo>
                    <a:pt x="13" y="7"/>
                  </a:moveTo>
                  <a:cubicBezTo>
                    <a:pt x="9" y="7"/>
                    <a:pt x="6" y="10"/>
                    <a:pt x="6" y="13"/>
                  </a:cubicBezTo>
                  <a:cubicBezTo>
                    <a:pt x="6" y="17"/>
                    <a:pt x="9" y="19"/>
                    <a:pt x="13" y="19"/>
                  </a:cubicBezTo>
                  <a:cubicBezTo>
                    <a:pt x="16" y="19"/>
                    <a:pt x="19" y="17"/>
                    <a:pt x="19" y="13"/>
                  </a:cubicBezTo>
                  <a:cubicBezTo>
                    <a:pt x="19" y="10"/>
                    <a:pt x="16" y="7"/>
                    <a:pt x="13" y="7"/>
                  </a:cubicBez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619" name="Retângulo: Cantos Arredondados 1618">
            <a:extLst>
              <a:ext uri="{FF2B5EF4-FFF2-40B4-BE49-F238E27FC236}">
                <a16:creationId xmlns:a16="http://schemas.microsoft.com/office/drawing/2014/main" id="{596600EE-E418-4D8B-B413-8D94BDF0C20C}"/>
              </a:ext>
            </a:extLst>
          </p:cNvPr>
          <p:cNvSpPr/>
          <p:nvPr/>
        </p:nvSpPr>
        <p:spPr>
          <a:xfrm>
            <a:off x="-914809" y="2908306"/>
            <a:ext cx="4966079" cy="1041388"/>
          </a:xfrm>
          <a:prstGeom prst="roundRect">
            <a:avLst>
              <a:gd name="adj" fmla="val 50000"/>
            </a:avLst>
          </a:prstGeom>
          <a:solidFill>
            <a:srgbClr val="FF7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21" name="CaixaDeTexto 1620">
            <a:extLst>
              <a:ext uri="{FF2B5EF4-FFF2-40B4-BE49-F238E27FC236}">
                <a16:creationId xmlns:a16="http://schemas.microsoft.com/office/drawing/2014/main" id="{D1A99142-2538-40A7-9577-281E6DCEB773}"/>
              </a:ext>
            </a:extLst>
          </p:cNvPr>
          <p:cNvSpPr txBox="1"/>
          <p:nvPr/>
        </p:nvSpPr>
        <p:spPr>
          <a:xfrm>
            <a:off x="371883" y="3066509"/>
            <a:ext cx="3356739" cy="97410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66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ÍCONES</a:t>
            </a:r>
          </a:p>
        </p:txBody>
      </p:sp>
      <p:pic>
        <p:nvPicPr>
          <p:cNvPr id="1623" name="Imagem 1622" descr="Fundo preto com letras brancas&#10;&#10;Descrição gerada automaticamente">
            <a:extLst>
              <a:ext uri="{FF2B5EF4-FFF2-40B4-BE49-F238E27FC236}">
                <a16:creationId xmlns:a16="http://schemas.microsoft.com/office/drawing/2014/main" id="{62F33DD5-D0EB-44A0-9B14-155130C8F21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81" t="89444"/>
          <a:stretch/>
        </p:blipFill>
        <p:spPr>
          <a:xfrm>
            <a:off x="10883900" y="6134100"/>
            <a:ext cx="1306576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48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8" y="-297"/>
            <a:ext cx="12193057" cy="6858594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369550D8-AE0B-44CD-91EA-30252B567F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5803" y="373994"/>
            <a:ext cx="5287549" cy="2953406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E598C7F0-E5D5-4039-A05D-96A1AC50B3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2587" y="3327399"/>
            <a:ext cx="2493981" cy="3279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34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8" y="-297"/>
            <a:ext cx="12193057" cy="685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35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C7467272-1F09-4C4A-8933-112AB293FF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617"/>
          <a:stretch/>
        </p:blipFill>
        <p:spPr>
          <a:xfrm>
            <a:off x="-6088" y="0"/>
            <a:ext cx="7385468" cy="685801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81D1F35B-3A24-4225-B3F4-49D1C2D2AE22}"/>
              </a:ext>
            </a:extLst>
          </p:cNvPr>
          <p:cNvSpPr txBox="1"/>
          <p:nvPr/>
        </p:nvSpPr>
        <p:spPr>
          <a:xfrm>
            <a:off x="7533490" y="2885856"/>
            <a:ext cx="3641783" cy="92832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32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ele se dispõe</a:t>
            </a:r>
            <a:br>
              <a:rPr lang="pt-BR" sz="32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</a:br>
            <a:r>
              <a:rPr lang="pt-BR" sz="32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para a gente é</a:t>
            </a:r>
            <a:endParaRPr lang="pt-BR" sz="32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9CC5F335-11B5-4DCA-AD80-4EB23B1B5261}"/>
              </a:ext>
            </a:extLst>
          </p:cNvPr>
          <p:cNvGrpSpPr/>
          <p:nvPr/>
        </p:nvGrpSpPr>
        <p:grpSpPr>
          <a:xfrm>
            <a:off x="6146073" y="1679416"/>
            <a:ext cx="5163312" cy="1128015"/>
            <a:chOff x="6146073" y="1679416"/>
            <a:chExt cx="5163312" cy="1128015"/>
          </a:xfrm>
        </p:grpSpPr>
        <p:sp>
          <p:nvSpPr>
            <p:cNvPr id="14" name="Retângulo: Cantos Arredondados 13">
              <a:extLst>
                <a:ext uri="{FF2B5EF4-FFF2-40B4-BE49-F238E27FC236}">
                  <a16:creationId xmlns:a16="http://schemas.microsoft.com/office/drawing/2014/main" id="{663BFF3C-761B-4A27-8BDE-822CAAC43EE6}"/>
                </a:ext>
              </a:extLst>
            </p:cNvPr>
            <p:cNvSpPr/>
            <p:nvPr/>
          </p:nvSpPr>
          <p:spPr>
            <a:xfrm>
              <a:off x="6146073" y="1679416"/>
              <a:ext cx="5163312" cy="1128015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54DF4A9A-8693-4FD1-A4D6-75A898F52CD3}"/>
                </a:ext>
              </a:extLst>
            </p:cNvPr>
            <p:cNvSpPr txBox="1"/>
            <p:nvPr/>
          </p:nvSpPr>
          <p:spPr>
            <a:xfrm>
              <a:off x="6550884" y="1827709"/>
              <a:ext cx="4402901" cy="92832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pt-BR" sz="3200" dirty="0">
                  <a:solidFill>
                    <a:schemeClr val="bg1"/>
                  </a:solidFill>
                  <a:latin typeface="Nunito" panose="00000500000000000000" pitchFamily="2" charset="0"/>
                  <a:cs typeface="Arial" panose="020B0604020202020204" pitchFamily="34" charset="0"/>
                </a:rPr>
                <a:t>O real não está na saída nem na chegada: </a:t>
              </a:r>
            </a:p>
          </p:txBody>
        </p:sp>
      </p:grp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63525C6E-67DD-46E0-9B10-A37EA33D2AA1}"/>
              </a:ext>
            </a:extLst>
          </p:cNvPr>
          <p:cNvSpPr txBox="1"/>
          <p:nvPr/>
        </p:nvSpPr>
        <p:spPr>
          <a:xfrm>
            <a:off x="7533490" y="3749675"/>
            <a:ext cx="3641783" cy="13711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75000"/>
              </a:lnSpc>
            </a:pPr>
            <a:r>
              <a:rPr lang="pt-BR" sz="54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no meio da travessia</a:t>
            </a:r>
          </a:p>
        </p:txBody>
      </p:sp>
      <p:grpSp>
        <p:nvGrpSpPr>
          <p:cNvPr id="38" name="Agrupar 37">
            <a:extLst>
              <a:ext uri="{FF2B5EF4-FFF2-40B4-BE49-F238E27FC236}">
                <a16:creationId xmlns:a16="http://schemas.microsoft.com/office/drawing/2014/main" id="{94D5524A-7DD9-4F29-BD92-DE403169C367}"/>
              </a:ext>
            </a:extLst>
          </p:cNvPr>
          <p:cNvGrpSpPr/>
          <p:nvPr/>
        </p:nvGrpSpPr>
        <p:grpSpPr>
          <a:xfrm>
            <a:off x="434917" y="0"/>
            <a:ext cx="10321983" cy="6373019"/>
            <a:chOff x="434917" y="0"/>
            <a:chExt cx="10321983" cy="6373019"/>
          </a:xfrm>
        </p:grpSpPr>
        <p:cxnSp>
          <p:nvCxnSpPr>
            <p:cNvPr id="33" name="Conector reto 32">
              <a:extLst>
                <a:ext uri="{FF2B5EF4-FFF2-40B4-BE49-F238E27FC236}">
                  <a16:creationId xmlns:a16="http://schemas.microsoft.com/office/drawing/2014/main" id="{8F64114A-D0B1-42C7-8D6E-39F3B93188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4917" y="0"/>
              <a:ext cx="0" cy="506730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ector reto 35">
              <a:extLst>
                <a:ext uri="{FF2B5EF4-FFF2-40B4-BE49-F238E27FC236}">
                  <a16:creationId xmlns:a16="http://schemas.microsoft.com/office/drawing/2014/main" id="{86EA8D8C-8244-4BA9-8E9E-D303D5CC7889}"/>
                </a:ext>
              </a:extLst>
            </p:cNvPr>
            <p:cNvCxnSpPr>
              <a:cxnSpLocks/>
            </p:cNvCxnSpPr>
            <p:nvPr/>
          </p:nvCxnSpPr>
          <p:spPr>
            <a:xfrm>
              <a:off x="622300" y="6373019"/>
              <a:ext cx="10134600" cy="0"/>
            </a:xfrm>
            <a:prstGeom prst="line">
              <a:avLst/>
            </a:prstGeom>
            <a:ln w="12700">
              <a:solidFill>
                <a:srgbClr val="FF70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Freeform 5">
            <a:extLst>
              <a:ext uri="{FF2B5EF4-FFF2-40B4-BE49-F238E27FC236}">
                <a16:creationId xmlns:a16="http://schemas.microsoft.com/office/drawing/2014/main" id="{EB0E86BE-4220-49E2-BE27-71D41080FCFA}"/>
              </a:ext>
            </a:extLst>
          </p:cNvPr>
          <p:cNvSpPr>
            <a:spLocks/>
          </p:cNvSpPr>
          <p:nvPr/>
        </p:nvSpPr>
        <p:spPr bwMode="auto">
          <a:xfrm>
            <a:off x="4796640" y="4817447"/>
            <a:ext cx="2913295" cy="722273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chemeClr val="bg1"/>
              </a:solidFill>
            </a:endParaRPr>
          </a:p>
        </p:txBody>
      </p:sp>
      <p:sp>
        <p:nvSpPr>
          <p:cNvPr id="27" name="Freeform 5">
            <a:extLst>
              <a:ext uri="{FF2B5EF4-FFF2-40B4-BE49-F238E27FC236}">
                <a16:creationId xmlns:a16="http://schemas.microsoft.com/office/drawing/2014/main" id="{E40772FA-A394-42D9-BDFC-02E0BEB3ED0D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95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8" presetClass="entr" presetSubtype="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1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  <p:bldP spid="3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Imagem 52">
            <a:extLst>
              <a:ext uri="{FF2B5EF4-FFF2-40B4-BE49-F238E27FC236}">
                <a16:creationId xmlns:a16="http://schemas.microsoft.com/office/drawing/2014/main" id="{347634B1-8D23-478C-B091-AEE13D4B6B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88976" cy="6858014"/>
          </a:xfrm>
          <a:prstGeom prst="rect">
            <a:avLst/>
          </a:prstGeom>
        </p:spPr>
      </p:pic>
      <p:pic>
        <p:nvPicPr>
          <p:cNvPr id="89" name="Imagem 88" descr="Fundo preto com letras brancas&#10;&#10;Descrição gerada automaticamente">
            <a:extLst>
              <a:ext uri="{FF2B5EF4-FFF2-40B4-BE49-F238E27FC236}">
                <a16:creationId xmlns:a16="http://schemas.microsoft.com/office/drawing/2014/main" id="{ECD1C085-8533-473E-A041-4FB105A9C41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68" r="61831" b="36402"/>
          <a:stretch/>
        </p:blipFill>
        <p:spPr>
          <a:xfrm>
            <a:off x="1524" y="2713568"/>
            <a:ext cx="4652363" cy="1647924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09D754AE-4231-481F-9481-0375CA0E4290}"/>
              </a:ext>
            </a:extLst>
          </p:cNvPr>
          <p:cNvSpPr txBox="1"/>
          <p:nvPr/>
        </p:nvSpPr>
        <p:spPr>
          <a:xfrm>
            <a:off x="341431" y="3286713"/>
            <a:ext cx="3641783" cy="92832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>
              <a:lnSpc>
                <a:spcPct val="85000"/>
              </a:lnSpc>
            </a:pPr>
            <a:r>
              <a:rPr lang="pt-BR" sz="3200" dirty="0">
                <a:solidFill>
                  <a:schemeClr val="bg1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Promover a evolução humana </a:t>
            </a:r>
            <a:endParaRPr lang="pt-BR" sz="3200" b="1" dirty="0">
              <a:solidFill>
                <a:schemeClr val="bg1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90" name="Agrupar 89">
            <a:extLst>
              <a:ext uri="{FF2B5EF4-FFF2-40B4-BE49-F238E27FC236}">
                <a16:creationId xmlns:a16="http://schemas.microsoft.com/office/drawing/2014/main" id="{0E9987C9-6B7E-48FE-88EA-2AA70772FAE4}"/>
              </a:ext>
            </a:extLst>
          </p:cNvPr>
          <p:cNvGrpSpPr/>
          <p:nvPr/>
        </p:nvGrpSpPr>
        <p:grpSpPr>
          <a:xfrm>
            <a:off x="582730" y="2494478"/>
            <a:ext cx="3641783" cy="698501"/>
            <a:chOff x="582730" y="2494478"/>
            <a:chExt cx="3641783" cy="698501"/>
          </a:xfrm>
        </p:grpSpPr>
        <p:sp>
          <p:nvSpPr>
            <p:cNvPr id="8" name="Retângulo: Cantos Arredondados 7">
              <a:extLst>
                <a:ext uri="{FF2B5EF4-FFF2-40B4-BE49-F238E27FC236}">
                  <a16:creationId xmlns:a16="http://schemas.microsoft.com/office/drawing/2014/main" id="{BA8A0570-83B9-4E7F-93E6-575F9BAA5014}"/>
                </a:ext>
              </a:extLst>
            </p:cNvPr>
            <p:cNvSpPr/>
            <p:nvPr/>
          </p:nvSpPr>
          <p:spPr>
            <a:xfrm>
              <a:off x="582730" y="2494478"/>
              <a:ext cx="3641783" cy="698501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Nunito" panose="00000500000000000000" pitchFamily="2" charset="0"/>
              </a:endParaRP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3DED016B-0B4A-4595-B151-BA6C084B53E7}"/>
                </a:ext>
              </a:extLst>
            </p:cNvPr>
            <p:cNvSpPr txBox="1"/>
            <p:nvPr/>
          </p:nvSpPr>
          <p:spPr>
            <a:xfrm>
              <a:off x="882098" y="2607688"/>
              <a:ext cx="3101116" cy="50974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pt-BR" sz="3200" dirty="0">
                  <a:solidFill>
                    <a:schemeClr val="bg1"/>
                  </a:solidFill>
                  <a:latin typeface="Nunito" panose="00000500000000000000" pitchFamily="2" charset="0"/>
                  <a:cs typeface="Arial" panose="020B0604020202020204" pitchFamily="34" charset="0"/>
                </a:rPr>
                <a:t>Nosso proposito </a:t>
              </a:r>
            </a:p>
          </p:txBody>
        </p:sp>
      </p:grp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580176AD-A65F-43BD-8180-282173A3E74B}"/>
              </a:ext>
            </a:extLst>
          </p:cNvPr>
          <p:cNvSpPr txBox="1"/>
          <p:nvPr/>
        </p:nvSpPr>
        <p:spPr>
          <a:xfrm>
            <a:off x="7824875" y="2857594"/>
            <a:ext cx="3401340" cy="15165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54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por meio da viagem</a:t>
            </a:r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7A6AF949-7155-4135-8582-E8C958548F7D}"/>
              </a:ext>
            </a:extLst>
          </p:cNvPr>
          <p:cNvSpPr>
            <a:spLocks/>
          </p:cNvSpPr>
          <p:nvPr/>
        </p:nvSpPr>
        <p:spPr bwMode="auto">
          <a:xfrm>
            <a:off x="3912906" y="4038768"/>
            <a:ext cx="3911969" cy="969867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chemeClr val="bg1"/>
              </a:solidFill>
            </a:endParaRPr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B081A2A0-66E4-4E62-9866-8C0D9962473E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390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7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  <p:bldP spid="3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6E8466AC-5181-4826-9881-16AFA62004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5" name="Imagem 14" descr="Mulher em pé na frente de um prédio&#10;&#10;Descrição gerada automaticamente">
            <a:extLst>
              <a:ext uri="{FF2B5EF4-FFF2-40B4-BE49-F238E27FC236}">
                <a16:creationId xmlns:a16="http://schemas.microsoft.com/office/drawing/2014/main" id="{98FE2A0E-1B74-4326-971F-3FAEE402B5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29"/>
          <a:stretch/>
        </p:blipFill>
        <p:spPr>
          <a:xfrm>
            <a:off x="4722192" y="0"/>
            <a:ext cx="7468284" cy="6858000"/>
          </a:xfrm>
          <a:prstGeom prst="rect">
            <a:avLst/>
          </a:prstGeom>
        </p:spPr>
      </p:pic>
      <p:sp>
        <p:nvSpPr>
          <p:cNvPr id="31" name="Freeform 5">
            <a:extLst>
              <a:ext uri="{FF2B5EF4-FFF2-40B4-BE49-F238E27FC236}">
                <a16:creationId xmlns:a16="http://schemas.microsoft.com/office/drawing/2014/main" id="{251BA276-9A56-400A-B062-AB2A46179CCF}"/>
              </a:ext>
            </a:extLst>
          </p:cNvPr>
          <p:cNvSpPr>
            <a:spLocks/>
          </p:cNvSpPr>
          <p:nvPr/>
        </p:nvSpPr>
        <p:spPr bwMode="auto">
          <a:xfrm>
            <a:off x="3327489" y="5107498"/>
            <a:ext cx="2913295" cy="722273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chemeClr val="bg1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C0F6FE17-293C-4D17-87CE-DE9D0CF25AB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6" t="20555" r="26453" b="61044"/>
          <a:stretch/>
        </p:blipFill>
        <p:spPr>
          <a:xfrm>
            <a:off x="488666" y="1409700"/>
            <a:ext cx="8477534" cy="1261942"/>
          </a:xfrm>
          <a:prstGeom prst="rect">
            <a:avLst/>
          </a:prstGeom>
        </p:spPr>
      </p:pic>
      <p:pic>
        <p:nvPicPr>
          <p:cNvPr id="12" name="Imagem 11" descr="Uma imagem contendo homem, em pé, olhando, escuro&#10;&#10;Descrição gerada automaticamente">
            <a:extLst>
              <a:ext uri="{FF2B5EF4-FFF2-40B4-BE49-F238E27FC236}">
                <a16:creationId xmlns:a16="http://schemas.microsoft.com/office/drawing/2014/main" id="{AEE27378-77FF-440D-9481-FBA87515A03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50" r="34584"/>
          <a:stretch/>
        </p:blipFill>
        <p:spPr>
          <a:xfrm>
            <a:off x="4785661" y="0"/>
            <a:ext cx="3189366" cy="6858000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7FB264A1-6FAA-400A-B3EF-5AFB1B8E3163}"/>
              </a:ext>
            </a:extLst>
          </p:cNvPr>
          <p:cNvSpPr txBox="1"/>
          <p:nvPr/>
        </p:nvSpPr>
        <p:spPr>
          <a:xfrm>
            <a:off x="1532826" y="1662485"/>
            <a:ext cx="3189366" cy="82137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2800" dirty="0">
                <a:solidFill>
                  <a:schemeClr val="bg1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Não viajamos para escapar da vida, </a:t>
            </a:r>
            <a:endParaRPr lang="pt-BR" sz="2800" b="1" dirty="0">
              <a:solidFill>
                <a:schemeClr val="bg1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81158A65-65BD-4807-9D53-2C38F24BB857}"/>
              </a:ext>
            </a:extLst>
          </p:cNvPr>
          <p:cNvSpPr txBox="1"/>
          <p:nvPr/>
        </p:nvSpPr>
        <p:spPr>
          <a:xfrm>
            <a:off x="1518311" y="2511618"/>
            <a:ext cx="3528344" cy="292925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5400" b="1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mas para</a:t>
            </a:r>
            <a:br>
              <a:rPr lang="pt-BR" sz="5400" b="1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</a:br>
            <a:r>
              <a:rPr lang="pt-BR" sz="5400" b="1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a vida não escapar</a:t>
            </a:r>
            <a:br>
              <a:rPr lang="pt-BR" sz="5400" b="1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</a:br>
            <a:r>
              <a:rPr lang="pt-BR" sz="5400" b="1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e nós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78D37C14-99B2-4620-9099-57DF96BB13C3}"/>
              </a:ext>
            </a:extLst>
          </p:cNvPr>
          <p:cNvCxnSpPr>
            <a:cxnSpLocks/>
          </p:cNvCxnSpPr>
          <p:nvPr/>
        </p:nvCxnSpPr>
        <p:spPr>
          <a:xfrm flipV="1">
            <a:off x="1298517" y="0"/>
            <a:ext cx="0" cy="5143500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5">
            <a:extLst>
              <a:ext uri="{FF2B5EF4-FFF2-40B4-BE49-F238E27FC236}">
                <a16:creationId xmlns:a16="http://schemas.microsoft.com/office/drawing/2014/main" id="{0C24DDC0-722E-43B4-8408-FFB6ABAB748B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879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2.08333E-6 -3.33333E-6 L 2.08333E-6 0.05324 " pathEditMode="relative" rAng="0" ptsTypes="AA">
                                      <p:cBhvr>
                                        <p:cTn id="24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7" grpId="0"/>
      <p:bldP spid="10" grpId="0"/>
      <p:bldP spid="10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Imagem 74" descr="Uma imagem contendo pessoa, frente, homem, mulher&#10;&#10;Descrição gerada automaticamente">
            <a:extLst>
              <a:ext uri="{FF2B5EF4-FFF2-40B4-BE49-F238E27FC236}">
                <a16:creationId xmlns:a16="http://schemas.microsoft.com/office/drawing/2014/main" id="{E28FE22A-6B0D-497A-A6FB-096D6A1BB69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94" b="13303"/>
          <a:stretch/>
        </p:blipFill>
        <p:spPr>
          <a:xfrm>
            <a:off x="7302004" y="0"/>
            <a:ext cx="4888472" cy="5945701"/>
          </a:xfrm>
          <a:prstGeom prst="rect">
            <a:avLst/>
          </a:prstGeom>
        </p:spPr>
      </p:pic>
      <p:sp>
        <p:nvSpPr>
          <p:cNvPr id="45" name="Retângulo 44">
            <a:extLst>
              <a:ext uri="{FF2B5EF4-FFF2-40B4-BE49-F238E27FC236}">
                <a16:creationId xmlns:a16="http://schemas.microsoft.com/office/drawing/2014/main" id="{275CB088-7066-4F8A-9E09-D1CC3102B78E}"/>
              </a:ext>
            </a:extLst>
          </p:cNvPr>
          <p:cNvSpPr/>
          <p:nvPr/>
        </p:nvSpPr>
        <p:spPr>
          <a:xfrm>
            <a:off x="1" y="3487056"/>
            <a:ext cx="7503886" cy="2367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2DD7550-B621-426B-9C96-0FDABCA15818}"/>
              </a:ext>
            </a:extLst>
          </p:cNvPr>
          <p:cNvSpPr txBox="1"/>
          <p:nvPr/>
        </p:nvSpPr>
        <p:spPr>
          <a:xfrm>
            <a:off x="724692" y="557265"/>
            <a:ext cx="7606508" cy="8921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60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Título e </a:t>
            </a:r>
            <a:r>
              <a:rPr lang="pt-BR" sz="6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estaque</a:t>
            </a:r>
            <a:endParaRPr lang="pt-BR" sz="60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0593190F-9DEF-4A17-A5FB-85A82113FE0B}"/>
              </a:ext>
            </a:extLst>
          </p:cNvPr>
          <p:cNvCxnSpPr>
            <a:cxnSpLocks/>
          </p:cNvCxnSpPr>
          <p:nvPr/>
        </p:nvCxnSpPr>
        <p:spPr>
          <a:xfrm>
            <a:off x="897233" y="1449156"/>
            <a:ext cx="5837396" cy="0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id="{B637B1EE-974B-40F1-9489-FDA44646D018}"/>
              </a:ext>
            </a:extLst>
          </p:cNvPr>
          <p:cNvSpPr txBox="1"/>
          <p:nvPr/>
        </p:nvSpPr>
        <p:spPr>
          <a:xfrm>
            <a:off x="892116" y="1673850"/>
            <a:ext cx="6263427" cy="11306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.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Aenean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commodo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ligula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eget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olor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.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enean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assa. Cum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oci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natoque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penatibu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et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magn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parturien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ontes,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nascetu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ridiculu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us. </a:t>
            </a:r>
          </a:p>
        </p:txBody>
      </p:sp>
      <p:cxnSp>
        <p:nvCxnSpPr>
          <p:cNvPr id="46" name="Conector reto 45">
            <a:extLst>
              <a:ext uri="{FF2B5EF4-FFF2-40B4-BE49-F238E27FC236}">
                <a16:creationId xmlns:a16="http://schemas.microsoft.com/office/drawing/2014/main" id="{BDDB1347-1B5E-49E4-A4DA-3683C1E6696D}"/>
              </a:ext>
            </a:extLst>
          </p:cNvPr>
          <p:cNvCxnSpPr>
            <a:cxnSpLocks/>
          </p:cNvCxnSpPr>
          <p:nvPr/>
        </p:nvCxnSpPr>
        <p:spPr>
          <a:xfrm flipV="1">
            <a:off x="11828632" y="0"/>
            <a:ext cx="0" cy="5945714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Agrupar 71">
            <a:extLst>
              <a:ext uri="{FF2B5EF4-FFF2-40B4-BE49-F238E27FC236}">
                <a16:creationId xmlns:a16="http://schemas.microsoft.com/office/drawing/2014/main" id="{0EE6B9ED-979F-4172-AF26-23FD112B042D}"/>
              </a:ext>
            </a:extLst>
          </p:cNvPr>
          <p:cNvGrpSpPr/>
          <p:nvPr/>
        </p:nvGrpSpPr>
        <p:grpSpPr>
          <a:xfrm>
            <a:off x="619645" y="3174162"/>
            <a:ext cx="4768781" cy="591261"/>
            <a:chOff x="619645" y="3027126"/>
            <a:chExt cx="4768781" cy="591261"/>
          </a:xfrm>
        </p:grpSpPr>
        <p:sp>
          <p:nvSpPr>
            <p:cNvPr id="10" name="Retângulo: Cantos Arredondados 9">
              <a:extLst>
                <a:ext uri="{FF2B5EF4-FFF2-40B4-BE49-F238E27FC236}">
                  <a16:creationId xmlns:a16="http://schemas.microsoft.com/office/drawing/2014/main" id="{FE7CA3D9-9D8C-47AC-9992-194CF4E0224C}"/>
                </a:ext>
              </a:extLst>
            </p:cNvPr>
            <p:cNvSpPr/>
            <p:nvPr/>
          </p:nvSpPr>
          <p:spPr>
            <a:xfrm>
              <a:off x="619645" y="3027126"/>
              <a:ext cx="4768781" cy="591261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B877E8A9-980A-4184-84FA-9631B9F7CB1A}"/>
                </a:ext>
              </a:extLst>
            </p:cNvPr>
            <p:cNvSpPr txBox="1"/>
            <p:nvPr/>
          </p:nvSpPr>
          <p:spPr>
            <a:xfrm>
              <a:off x="877602" y="3149186"/>
              <a:ext cx="4347541" cy="42780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Lorem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ipsum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dolor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sit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amet</a:t>
              </a:r>
              <a:endParaRPr lang="pt-BR" sz="26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Freeform 5">
            <a:extLst>
              <a:ext uri="{FF2B5EF4-FFF2-40B4-BE49-F238E27FC236}">
                <a16:creationId xmlns:a16="http://schemas.microsoft.com/office/drawing/2014/main" id="{0371E009-DDB9-4204-A42E-43643678D66F}"/>
              </a:ext>
            </a:extLst>
          </p:cNvPr>
          <p:cNvSpPr>
            <a:spLocks/>
          </p:cNvSpPr>
          <p:nvPr/>
        </p:nvSpPr>
        <p:spPr bwMode="auto">
          <a:xfrm>
            <a:off x="1003829" y="4401749"/>
            <a:ext cx="868338" cy="215281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rgbClr val="FF70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A397FEFF-C92D-446B-9BDA-094920F81277}"/>
              </a:ext>
            </a:extLst>
          </p:cNvPr>
          <p:cNvGrpSpPr/>
          <p:nvPr/>
        </p:nvGrpSpPr>
        <p:grpSpPr>
          <a:xfrm>
            <a:off x="1164107" y="4030984"/>
            <a:ext cx="547783" cy="547783"/>
            <a:chOff x="11004132" y="5738765"/>
            <a:chExt cx="405932" cy="405932"/>
          </a:xfrm>
          <a:solidFill>
            <a:srgbClr val="FF7020"/>
          </a:solidFill>
        </p:grpSpPr>
        <p:sp>
          <p:nvSpPr>
            <p:cNvPr id="51" name="Freeform 1504">
              <a:extLst>
                <a:ext uri="{FF2B5EF4-FFF2-40B4-BE49-F238E27FC236}">
                  <a16:creationId xmlns:a16="http://schemas.microsoft.com/office/drawing/2014/main" id="{58FDC92B-212F-40C4-B918-161C3340B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4132" y="5738765"/>
              <a:ext cx="405932" cy="405932"/>
            </a:xfrm>
            <a:custGeom>
              <a:avLst/>
              <a:gdLst>
                <a:gd name="T0" fmla="*/ 191 w 224"/>
                <a:gd name="T1" fmla="*/ 33 h 224"/>
                <a:gd name="T2" fmla="*/ 112 w 224"/>
                <a:gd name="T3" fmla="*/ 0 h 224"/>
                <a:gd name="T4" fmla="*/ 49 w 224"/>
                <a:gd name="T5" fmla="*/ 20 h 224"/>
                <a:gd name="T6" fmla="*/ 47 w 224"/>
                <a:gd name="T7" fmla="*/ 26 h 224"/>
                <a:gd name="T8" fmla="*/ 53 w 224"/>
                <a:gd name="T9" fmla="*/ 27 h 224"/>
                <a:gd name="T10" fmla="*/ 112 w 224"/>
                <a:gd name="T11" fmla="*/ 9 h 224"/>
                <a:gd name="T12" fmla="*/ 215 w 224"/>
                <a:gd name="T13" fmla="*/ 112 h 224"/>
                <a:gd name="T14" fmla="*/ 112 w 224"/>
                <a:gd name="T15" fmla="*/ 216 h 224"/>
                <a:gd name="T16" fmla="*/ 9 w 224"/>
                <a:gd name="T17" fmla="*/ 112 h 224"/>
                <a:gd name="T18" fmla="*/ 27 w 224"/>
                <a:gd name="T19" fmla="*/ 54 h 224"/>
                <a:gd name="T20" fmla="*/ 26 w 224"/>
                <a:gd name="T21" fmla="*/ 48 h 224"/>
                <a:gd name="T22" fmla="*/ 19 w 224"/>
                <a:gd name="T23" fmla="*/ 49 h 224"/>
                <a:gd name="T24" fmla="*/ 0 w 224"/>
                <a:gd name="T25" fmla="*/ 112 h 224"/>
                <a:gd name="T26" fmla="*/ 33 w 224"/>
                <a:gd name="T27" fmla="*/ 191 h 224"/>
                <a:gd name="T28" fmla="*/ 112 w 224"/>
                <a:gd name="T29" fmla="*/ 224 h 224"/>
                <a:gd name="T30" fmla="*/ 191 w 224"/>
                <a:gd name="T31" fmla="*/ 191 h 224"/>
                <a:gd name="T32" fmla="*/ 224 w 224"/>
                <a:gd name="T33" fmla="*/ 112 h 224"/>
                <a:gd name="T34" fmla="*/ 191 w 224"/>
                <a:gd name="T35" fmla="*/ 3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4" h="224">
                  <a:moveTo>
                    <a:pt x="191" y="33"/>
                  </a:moveTo>
                  <a:cubicBezTo>
                    <a:pt x="170" y="12"/>
                    <a:pt x="142" y="0"/>
                    <a:pt x="112" y="0"/>
                  </a:cubicBezTo>
                  <a:cubicBezTo>
                    <a:pt x="89" y="0"/>
                    <a:pt x="67" y="7"/>
                    <a:pt x="49" y="20"/>
                  </a:cubicBezTo>
                  <a:cubicBezTo>
                    <a:pt x="47" y="21"/>
                    <a:pt x="46" y="24"/>
                    <a:pt x="47" y="26"/>
                  </a:cubicBezTo>
                  <a:cubicBezTo>
                    <a:pt x="49" y="28"/>
                    <a:pt x="51" y="28"/>
                    <a:pt x="53" y="27"/>
                  </a:cubicBezTo>
                  <a:cubicBezTo>
                    <a:pt x="71" y="15"/>
                    <a:pt x="91" y="9"/>
                    <a:pt x="112" y="9"/>
                  </a:cubicBezTo>
                  <a:cubicBezTo>
                    <a:pt x="169" y="9"/>
                    <a:pt x="215" y="55"/>
                    <a:pt x="215" y="112"/>
                  </a:cubicBezTo>
                  <a:cubicBezTo>
                    <a:pt x="215" y="169"/>
                    <a:pt x="169" y="216"/>
                    <a:pt x="112" y="216"/>
                  </a:cubicBezTo>
                  <a:cubicBezTo>
                    <a:pt x="55" y="216"/>
                    <a:pt x="9" y="169"/>
                    <a:pt x="9" y="112"/>
                  </a:cubicBezTo>
                  <a:cubicBezTo>
                    <a:pt x="9" y="91"/>
                    <a:pt x="15" y="71"/>
                    <a:pt x="27" y="54"/>
                  </a:cubicBezTo>
                  <a:cubicBezTo>
                    <a:pt x="28" y="52"/>
                    <a:pt x="28" y="49"/>
                    <a:pt x="26" y="48"/>
                  </a:cubicBezTo>
                  <a:cubicBezTo>
                    <a:pt x="24" y="46"/>
                    <a:pt x="21" y="47"/>
                    <a:pt x="19" y="49"/>
                  </a:cubicBezTo>
                  <a:cubicBezTo>
                    <a:pt x="7" y="67"/>
                    <a:pt x="0" y="89"/>
                    <a:pt x="0" y="112"/>
                  </a:cubicBezTo>
                  <a:cubicBezTo>
                    <a:pt x="0" y="142"/>
                    <a:pt x="11" y="170"/>
                    <a:pt x="33" y="191"/>
                  </a:cubicBezTo>
                  <a:cubicBezTo>
                    <a:pt x="54" y="213"/>
                    <a:pt x="82" y="224"/>
                    <a:pt x="112" y="224"/>
                  </a:cubicBezTo>
                  <a:cubicBezTo>
                    <a:pt x="142" y="224"/>
                    <a:pt x="170" y="213"/>
                    <a:pt x="191" y="191"/>
                  </a:cubicBezTo>
                  <a:cubicBezTo>
                    <a:pt x="212" y="170"/>
                    <a:pt x="224" y="142"/>
                    <a:pt x="224" y="112"/>
                  </a:cubicBezTo>
                  <a:cubicBezTo>
                    <a:pt x="224" y="82"/>
                    <a:pt x="212" y="54"/>
                    <a:pt x="191" y="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2" name="Freeform 1505">
              <a:extLst>
                <a:ext uri="{FF2B5EF4-FFF2-40B4-BE49-F238E27FC236}">
                  <a16:creationId xmlns:a16="http://schemas.microsoft.com/office/drawing/2014/main" id="{AF2480E3-EDD0-4410-81BD-7D0C0638B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4599" y="5777967"/>
              <a:ext cx="326263" cy="327528"/>
            </a:xfrm>
            <a:custGeom>
              <a:avLst/>
              <a:gdLst>
                <a:gd name="T0" fmla="*/ 90 w 180"/>
                <a:gd name="T1" fmla="*/ 9 h 180"/>
                <a:gd name="T2" fmla="*/ 164 w 180"/>
                <a:gd name="T3" fmla="*/ 56 h 180"/>
                <a:gd name="T4" fmla="*/ 90 w 180"/>
                <a:gd name="T5" fmla="*/ 49 h 180"/>
                <a:gd name="T6" fmla="*/ 16 w 180"/>
                <a:gd name="T7" fmla="*/ 56 h 180"/>
                <a:gd name="T8" fmla="*/ 90 w 180"/>
                <a:gd name="T9" fmla="*/ 9 h 180"/>
                <a:gd name="T10" fmla="*/ 113 w 180"/>
                <a:gd name="T11" fmla="*/ 168 h 180"/>
                <a:gd name="T12" fmla="*/ 113 w 180"/>
                <a:gd name="T13" fmla="*/ 167 h 180"/>
                <a:gd name="T14" fmla="*/ 170 w 180"/>
                <a:gd name="T15" fmla="*/ 105 h 180"/>
                <a:gd name="T16" fmla="*/ 113 w 180"/>
                <a:gd name="T17" fmla="*/ 168 h 180"/>
                <a:gd name="T18" fmla="*/ 76 w 180"/>
                <a:gd name="T19" fmla="*/ 170 h 180"/>
                <a:gd name="T20" fmla="*/ 76 w 180"/>
                <a:gd name="T21" fmla="*/ 167 h 180"/>
                <a:gd name="T22" fmla="*/ 75 w 180"/>
                <a:gd name="T23" fmla="*/ 157 h 180"/>
                <a:gd name="T24" fmla="*/ 90 w 180"/>
                <a:gd name="T25" fmla="*/ 159 h 180"/>
                <a:gd name="T26" fmla="*/ 105 w 180"/>
                <a:gd name="T27" fmla="*/ 157 h 180"/>
                <a:gd name="T28" fmla="*/ 104 w 180"/>
                <a:gd name="T29" fmla="*/ 167 h 180"/>
                <a:gd name="T30" fmla="*/ 104 w 180"/>
                <a:gd name="T31" fmla="*/ 170 h 180"/>
                <a:gd name="T32" fmla="*/ 90 w 180"/>
                <a:gd name="T33" fmla="*/ 172 h 180"/>
                <a:gd name="T34" fmla="*/ 76 w 180"/>
                <a:gd name="T35" fmla="*/ 170 h 180"/>
                <a:gd name="T36" fmla="*/ 10 w 180"/>
                <a:gd name="T37" fmla="*/ 105 h 180"/>
                <a:gd name="T38" fmla="*/ 67 w 180"/>
                <a:gd name="T39" fmla="*/ 167 h 180"/>
                <a:gd name="T40" fmla="*/ 67 w 180"/>
                <a:gd name="T41" fmla="*/ 168 h 180"/>
                <a:gd name="T42" fmla="*/ 10 w 180"/>
                <a:gd name="T43" fmla="*/ 105 h 180"/>
                <a:gd name="T44" fmla="*/ 22 w 180"/>
                <a:gd name="T45" fmla="*/ 98 h 180"/>
                <a:gd name="T46" fmla="*/ 9 w 180"/>
                <a:gd name="T47" fmla="*/ 96 h 180"/>
                <a:gd name="T48" fmla="*/ 8 w 180"/>
                <a:gd name="T49" fmla="*/ 90 h 180"/>
                <a:gd name="T50" fmla="*/ 12 w 180"/>
                <a:gd name="T51" fmla="*/ 66 h 180"/>
                <a:gd name="T52" fmla="*/ 27 w 180"/>
                <a:gd name="T53" fmla="*/ 63 h 180"/>
                <a:gd name="T54" fmla="*/ 22 w 180"/>
                <a:gd name="T55" fmla="*/ 98 h 180"/>
                <a:gd name="T56" fmla="*/ 142 w 180"/>
                <a:gd name="T57" fmla="*/ 61 h 180"/>
                <a:gd name="T58" fmla="*/ 149 w 180"/>
                <a:gd name="T59" fmla="*/ 101 h 180"/>
                <a:gd name="T60" fmla="*/ 107 w 180"/>
                <a:gd name="T61" fmla="*/ 147 h 180"/>
                <a:gd name="T62" fmla="*/ 73 w 180"/>
                <a:gd name="T63" fmla="*/ 147 h 180"/>
                <a:gd name="T64" fmla="*/ 31 w 180"/>
                <a:gd name="T65" fmla="*/ 101 h 180"/>
                <a:gd name="T66" fmla="*/ 38 w 180"/>
                <a:gd name="T67" fmla="*/ 61 h 180"/>
                <a:gd name="T68" fmla="*/ 90 w 180"/>
                <a:gd name="T69" fmla="*/ 58 h 180"/>
                <a:gd name="T70" fmla="*/ 142 w 180"/>
                <a:gd name="T71" fmla="*/ 61 h 180"/>
                <a:gd name="T72" fmla="*/ 171 w 180"/>
                <a:gd name="T73" fmla="*/ 90 h 180"/>
                <a:gd name="T74" fmla="*/ 171 w 180"/>
                <a:gd name="T75" fmla="*/ 96 h 180"/>
                <a:gd name="T76" fmla="*/ 158 w 180"/>
                <a:gd name="T77" fmla="*/ 98 h 180"/>
                <a:gd name="T78" fmla="*/ 153 w 180"/>
                <a:gd name="T79" fmla="*/ 63 h 180"/>
                <a:gd name="T80" fmla="*/ 168 w 180"/>
                <a:gd name="T81" fmla="*/ 66 h 180"/>
                <a:gd name="T82" fmla="*/ 171 w 180"/>
                <a:gd name="T83" fmla="*/ 90 h 180"/>
                <a:gd name="T84" fmla="*/ 90 w 180"/>
                <a:gd name="T85" fmla="*/ 180 h 180"/>
                <a:gd name="T86" fmla="*/ 180 w 180"/>
                <a:gd name="T87" fmla="*/ 90 h 180"/>
                <a:gd name="T88" fmla="*/ 175 w 180"/>
                <a:gd name="T89" fmla="*/ 61 h 180"/>
                <a:gd name="T90" fmla="*/ 175 w 180"/>
                <a:gd name="T91" fmla="*/ 61 h 180"/>
                <a:gd name="T92" fmla="*/ 90 w 180"/>
                <a:gd name="T93" fmla="*/ 0 h 180"/>
                <a:gd name="T94" fmla="*/ 0 w 180"/>
                <a:gd name="T95" fmla="*/ 90 h 180"/>
                <a:gd name="T96" fmla="*/ 90 w 180"/>
                <a:gd name="T9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0" h="180">
                  <a:moveTo>
                    <a:pt x="90" y="9"/>
                  </a:moveTo>
                  <a:cubicBezTo>
                    <a:pt x="123" y="9"/>
                    <a:pt x="151" y="28"/>
                    <a:pt x="164" y="56"/>
                  </a:cubicBezTo>
                  <a:cubicBezTo>
                    <a:pt x="140" y="51"/>
                    <a:pt x="115" y="49"/>
                    <a:pt x="90" y="49"/>
                  </a:cubicBezTo>
                  <a:cubicBezTo>
                    <a:pt x="65" y="49"/>
                    <a:pt x="40" y="51"/>
                    <a:pt x="16" y="56"/>
                  </a:cubicBezTo>
                  <a:cubicBezTo>
                    <a:pt x="29" y="28"/>
                    <a:pt x="57" y="9"/>
                    <a:pt x="90" y="9"/>
                  </a:cubicBezTo>
                  <a:moveTo>
                    <a:pt x="113" y="168"/>
                  </a:moveTo>
                  <a:cubicBezTo>
                    <a:pt x="113" y="168"/>
                    <a:pt x="113" y="168"/>
                    <a:pt x="113" y="167"/>
                  </a:cubicBezTo>
                  <a:cubicBezTo>
                    <a:pt x="113" y="135"/>
                    <a:pt x="138" y="108"/>
                    <a:pt x="170" y="105"/>
                  </a:cubicBezTo>
                  <a:cubicBezTo>
                    <a:pt x="164" y="136"/>
                    <a:pt x="142" y="160"/>
                    <a:pt x="113" y="168"/>
                  </a:cubicBezTo>
                  <a:moveTo>
                    <a:pt x="76" y="170"/>
                  </a:moveTo>
                  <a:cubicBezTo>
                    <a:pt x="76" y="169"/>
                    <a:pt x="76" y="168"/>
                    <a:pt x="76" y="167"/>
                  </a:cubicBezTo>
                  <a:cubicBezTo>
                    <a:pt x="76" y="164"/>
                    <a:pt x="76" y="160"/>
                    <a:pt x="75" y="157"/>
                  </a:cubicBezTo>
                  <a:cubicBezTo>
                    <a:pt x="80" y="158"/>
                    <a:pt x="85" y="159"/>
                    <a:pt x="90" y="159"/>
                  </a:cubicBezTo>
                  <a:cubicBezTo>
                    <a:pt x="95" y="159"/>
                    <a:pt x="100" y="158"/>
                    <a:pt x="105" y="157"/>
                  </a:cubicBezTo>
                  <a:cubicBezTo>
                    <a:pt x="104" y="160"/>
                    <a:pt x="104" y="164"/>
                    <a:pt x="104" y="167"/>
                  </a:cubicBezTo>
                  <a:cubicBezTo>
                    <a:pt x="104" y="168"/>
                    <a:pt x="104" y="169"/>
                    <a:pt x="104" y="170"/>
                  </a:cubicBezTo>
                  <a:cubicBezTo>
                    <a:pt x="100" y="171"/>
                    <a:pt x="95" y="172"/>
                    <a:pt x="90" y="172"/>
                  </a:cubicBezTo>
                  <a:cubicBezTo>
                    <a:pt x="85" y="172"/>
                    <a:pt x="80" y="171"/>
                    <a:pt x="76" y="170"/>
                  </a:cubicBezTo>
                  <a:moveTo>
                    <a:pt x="10" y="105"/>
                  </a:moveTo>
                  <a:cubicBezTo>
                    <a:pt x="42" y="108"/>
                    <a:pt x="67" y="135"/>
                    <a:pt x="67" y="167"/>
                  </a:cubicBezTo>
                  <a:cubicBezTo>
                    <a:pt x="67" y="168"/>
                    <a:pt x="67" y="168"/>
                    <a:pt x="67" y="168"/>
                  </a:cubicBezTo>
                  <a:cubicBezTo>
                    <a:pt x="38" y="160"/>
                    <a:pt x="16" y="136"/>
                    <a:pt x="10" y="105"/>
                  </a:cubicBezTo>
                  <a:moveTo>
                    <a:pt x="22" y="98"/>
                  </a:moveTo>
                  <a:cubicBezTo>
                    <a:pt x="18" y="97"/>
                    <a:pt x="13" y="97"/>
                    <a:pt x="9" y="96"/>
                  </a:cubicBezTo>
                  <a:cubicBezTo>
                    <a:pt x="9" y="94"/>
                    <a:pt x="8" y="92"/>
                    <a:pt x="8" y="90"/>
                  </a:cubicBezTo>
                  <a:cubicBezTo>
                    <a:pt x="8" y="82"/>
                    <a:pt x="10" y="74"/>
                    <a:pt x="12" y="66"/>
                  </a:cubicBezTo>
                  <a:cubicBezTo>
                    <a:pt x="17" y="65"/>
                    <a:pt x="22" y="64"/>
                    <a:pt x="27" y="63"/>
                  </a:cubicBezTo>
                  <a:cubicBezTo>
                    <a:pt x="22" y="74"/>
                    <a:pt x="21" y="86"/>
                    <a:pt x="22" y="98"/>
                  </a:cubicBezTo>
                  <a:moveTo>
                    <a:pt x="142" y="61"/>
                  </a:moveTo>
                  <a:cubicBezTo>
                    <a:pt x="149" y="73"/>
                    <a:pt x="151" y="88"/>
                    <a:pt x="149" y="101"/>
                  </a:cubicBezTo>
                  <a:cubicBezTo>
                    <a:pt x="129" y="110"/>
                    <a:pt x="113" y="126"/>
                    <a:pt x="107" y="147"/>
                  </a:cubicBezTo>
                  <a:cubicBezTo>
                    <a:pt x="96" y="151"/>
                    <a:pt x="84" y="151"/>
                    <a:pt x="73" y="147"/>
                  </a:cubicBezTo>
                  <a:cubicBezTo>
                    <a:pt x="67" y="126"/>
                    <a:pt x="51" y="110"/>
                    <a:pt x="31" y="101"/>
                  </a:cubicBezTo>
                  <a:cubicBezTo>
                    <a:pt x="29" y="88"/>
                    <a:pt x="31" y="73"/>
                    <a:pt x="38" y="61"/>
                  </a:cubicBezTo>
                  <a:cubicBezTo>
                    <a:pt x="55" y="59"/>
                    <a:pt x="73" y="58"/>
                    <a:pt x="90" y="58"/>
                  </a:cubicBezTo>
                  <a:cubicBezTo>
                    <a:pt x="107" y="58"/>
                    <a:pt x="125" y="59"/>
                    <a:pt x="142" y="61"/>
                  </a:cubicBezTo>
                  <a:moveTo>
                    <a:pt x="171" y="90"/>
                  </a:moveTo>
                  <a:cubicBezTo>
                    <a:pt x="171" y="92"/>
                    <a:pt x="171" y="94"/>
                    <a:pt x="171" y="96"/>
                  </a:cubicBezTo>
                  <a:cubicBezTo>
                    <a:pt x="167" y="97"/>
                    <a:pt x="162" y="97"/>
                    <a:pt x="158" y="98"/>
                  </a:cubicBezTo>
                  <a:cubicBezTo>
                    <a:pt x="159" y="86"/>
                    <a:pt x="157" y="74"/>
                    <a:pt x="153" y="63"/>
                  </a:cubicBezTo>
                  <a:cubicBezTo>
                    <a:pt x="158" y="64"/>
                    <a:pt x="163" y="65"/>
                    <a:pt x="168" y="66"/>
                  </a:cubicBezTo>
                  <a:cubicBezTo>
                    <a:pt x="170" y="74"/>
                    <a:pt x="171" y="82"/>
                    <a:pt x="171" y="90"/>
                  </a:cubicBezTo>
                  <a:moveTo>
                    <a:pt x="90" y="180"/>
                  </a:moveTo>
                  <a:cubicBezTo>
                    <a:pt x="140" y="180"/>
                    <a:pt x="180" y="140"/>
                    <a:pt x="180" y="90"/>
                  </a:cubicBezTo>
                  <a:cubicBezTo>
                    <a:pt x="180" y="80"/>
                    <a:pt x="179" y="70"/>
                    <a:pt x="175" y="61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63" y="25"/>
                    <a:pt x="129" y="0"/>
                    <a:pt x="90" y="0"/>
                  </a:cubicBezTo>
                  <a:cubicBezTo>
                    <a:pt x="40" y="0"/>
                    <a:pt x="0" y="40"/>
                    <a:pt x="0" y="90"/>
                  </a:cubicBezTo>
                  <a:cubicBezTo>
                    <a:pt x="0" y="140"/>
                    <a:pt x="40" y="180"/>
                    <a:pt x="90" y="1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3" name="Freeform 1506">
              <a:extLst>
                <a:ext uri="{FF2B5EF4-FFF2-40B4-BE49-F238E27FC236}">
                  <a16:creationId xmlns:a16="http://schemas.microsoft.com/office/drawing/2014/main" id="{0B11D53E-90EB-438C-AB99-F18C576ABB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67264" y="5901896"/>
              <a:ext cx="79669" cy="79669"/>
            </a:xfrm>
            <a:custGeom>
              <a:avLst/>
              <a:gdLst>
                <a:gd name="T0" fmla="*/ 22 w 44"/>
                <a:gd name="T1" fmla="*/ 9 h 44"/>
                <a:gd name="T2" fmla="*/ 35 w 44"/>
                <a:gd name="T3" fmla="*/ 22 h 44"/>
                <a:gd name="T4" fmla="*/ 22 w 44"/>
                <a:gd name="T5" fmla="*/ 35 h 44"/>
                <a:gd name="T6" fmla="*/ 9 w 44"/>
                <a:gd name="T7" fmla="*/ 22 h 44"/>
                <a:gd name="T8" fmla="*/ 22 w 44"/>
                <a:gd name="T9" fmla="*/ 9 h 44"/>
                <a:gd name="T10" fmla="*/ 0 w 44"/>
                <a:gd name="T11" fmla="*/ 22 h 44"/>
                <a:gd name="T12" fmla="*/ 22 w 44"/>
                <a:gd name="T13" fmla="*/ 44 h 44"/>
                <a:gd name="T14" fmla="*/ 44 w 44"/>
                <a:gd name="T15" fmla="*/ 22 h 44"/>
                <a:gd name="T16" fmla="*/ 22 w 44"/>
                <a:gd name="T17" fmla="*/ 0 h 44"/>
                <a:gd name="T18" fmla="*/ 0 w 44"/>
                <a:gd name="T1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22" y="9"/>
                  </a:moveTo>
                  <a:cubicBezTo>
                    <a:pt x="29" y="9"/>
                    <a:pt x="35" y="15"/>
                    <a:pt x="35" y="22"/>
                  </a:cubicBezTo>
                  <a:cubicBezTo>
                    <a:pt x="35" y="29"/>
                    <a:pt x="29" y="35"/>
                    <a:pt x="22" y="35"/>
                  </a:cubicBezTo>
                  <a:cubicBezTo>
                    <a:pt x="15" y="35"/>
                    <a:pt x="9" y="29"/>
                    <a:pt x="9" y="22"/>
                  </a:cubicBezTo>
                  <a:cubicBezTo>
                    <a:pt x="9" y="15"/>
                    <a:pt x="15" y="9"/>
                    <a:pt x="22" y="9"/>
                  </a:cubicBezTo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4" name="Freeform 1507">
              <a:extLst>
                <a:ext uri="{FF2B5EF4-FFF2-40B4-BE49-F238E27FC236}">
                  <a16:creationId xmlns:a16="http://schemas.microsoft.com/office/drawing/2014/main" id="{E9B45D2D-8973-4986-A2C3-BD5D0A57E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1039" y="5794407"/>
              <a:ext cx="17704" cy="16440"/>
            </a:xfrm>
            <a:custGeom>
              <a:avLst/>
              <a:gdLst>
                <a:gd name="T0" fmla="*/ 5 w 10"/>
                <a:gd name="T1" fmla="*/ 9 h 9"/>
                <a:gd name="T2" fmla="*/ 8 w 10"/>
                <a:gd name="T3" fmla="*/ 8 h 9"/>
                <a:gd name="T4" fmla="*/ 8 w 10"/>
                <a:gd name="T5" fmla="*/ 2 h 9"/>
                <a:gd name="T6" fmla="*/ 2 w 10"/>
                <a:gd name="T7" fmla="*/ 2 h 9"/>
                <a:gd name="T8" fmla="*/ 2 w 10"/>
                <a:gd name="T9" fmla="*/ 2 h 9"/>
                <a:gd name="T10" fmla="*/ 2 w 10"/>
                <a:gd name="T11" fmla="*/ 8 h 9"/>
                <a:gd name="T12" fmla="*/ 5 w 10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5" y="9"/>
                  </a:moveTo>
                  <a:cubicBezTo>
                    <a:pt x="6" y="9"/>
                    <a:pt x="7" y="9"/>
                    <a:pt x="8" y="8"/>
                  </a:cubicBezTo>
                  <a:cubicBezTo>
                    <a:pt x="10" y="6"/>
                    <a:pt x="10" y="4"/>
                    <a:pt x="8" y="2"/>
                  </a:cubicBezTo>
                  <a:cubicBezTo>
                    <a:pt x="6" y="0"/>
                    <a:pt x="3" y="0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4"/>
                    <a:pt x="0" y="6"/>
                    <a:pt x="2" y="8"/>
                  </a:cubicBezTo>
                  <a:cubicBezTo>
                    <a:pt x="3" y="9"/>
                    <a:pt x="4" y="9"/>
                    <a:pt x="5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56" name="Freeform 5">
            <a:extLst>
              <a:ext uri="{FF2B5EF4-FFF2-40B4-BE49-F238E27FC236}">
                <a16:creationId xmlns:a16="http://schemas.microsoft.com/office/drawing/2014/main" id="{0E8C4B74-1B66-4E83-AD66-E29A3D914191}"/>
              </a:ext>
            </a:extLst>
          </p:cNvPr>
          <p:cNvSpPr>
            <a:spLocks/>
          </p:cNvSpPr>
          <p:nvPr/>
        </p:nvSpPr>
        <p:spPr bwMode="auto">
          <a:xfrm>
            <a:off x="3907084" y="4363486"/>
            <a:ext cx="868338" cy="215281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rgbClr val="7C7C7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57" name="Agrupar 56">
            <a:extLst>
              <a:ext uri="{FF2B5EF4-FFF2-40B4-BE49-F238E27FC236}">
                <a16:creationId xmlns:a16="http://schemas.microsoft.com/office/drawing/2014/main" id="{C6B86BDA-102C-44CA-91BF-58F3BE730953}"/>
              </a:ext>
            </a:extLst>
          </p:cNvPr>
          <p:cNvGrpSpPr/>
          <p:nvPr/>
        </p:nvGrpSpPr>
        <p:grpSpPr>
          <a:xfrm>
            <a:off x="4007375" y="4045622"/>
            <a:ext cx="667757" cy="463817"/>
            <a:chOff x="8377589" y="3734397"/>
            <a:chExt cx="467897" cy="324998"/>
          </a:xfrm>
          <a:solidFill>
            <a:srgbClr val="7C7C7C"/>
          </a:solidFill>
        </p:grpSpPr>
        <p:sp>
          <p:nvSpPr>
            <p:cNvPr id="58" name="Freeform 990">
              <a:extLst>
                <a:ext uri="{FF2B5EF4-FFF2-40B4-BE49-F238E27FC236}">
                  <a16:creationId xmlns:a16="http://schemas.microsoft.com/office/drawing/2014/main" id="{12295930-75E0-4432-BA83-FE676AEB6E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7589" y="3864649"/>
              <a:ext cx="196011" cy="194746"/>
            </a:xfrm>
            <a:custGeom>
              <a:avLst/>
              <a:gdLst>
                <a:gd name="T0" fmla="*/ 54 w 108"/>
                <a:gd name="T1" fmla="*/ 107 h 107"/>
                <a:gd name="T2" fmla="*/ 0 w 108"/>
                <a:gd name="T3" fmla="*/ 53 h 107"/>
                <a:gd name="T4" fmla="*/ 54 w 108"/>
                <a:gd name="T5" fmla="*/ 0 h 107"/>
                <a:gd name="T6" fmla="*/ 108 w 108"/>
                <a:gd name="T7" fmla="*/ 53 h 107"/>
                <a:gd name="T8" fmla="*/ 54 w 108"/>
                <a:gd name="T9" fmla="*/ 107 h 107"/>
                <a:gd name="T10" fmla="*/ 54 w 108"/>
                <a:gd name="T11" fmla="*/ 6 h 107"/>
                <a:gd name="T12" fmla="*/ 7 w 108"/>
                <a:gd name="T13" fmla="*/ 53 h 107"/>
                <a:gd name="T14" fmla="*/ 54 w 108"/>
                <a:gd name="T15" fmla="*/ 100 h 107"/>
                <a:gd name="T16" fmla="*/ 101 w 108"/>
                <a:gd name="T17" fmla="*/ 53 h 107"/>
                <a:gd name="T18" fmla="*/ 54 w 108"/>
                <a:gd name="T19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7">
                  <a:moveTo>
                    <a:pt x="54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8" y="24"/>
                    <a:pt x="108" y="53"/>
                  </a:cubicBezTo>
                  <a:cubicBezTo>
                    <a:pt x="108" y="83"/>
                    <a:pt x="83" y="107"/>
                    <a:pt x="54" y="107"/>
                  </a:cubicBezTo>
                  <a:close/>
                  <a:moveTo>
                    <a:pt x="54" y="6"/>
                  </a:moveTo>
                  <a:cubicBezTo>
                    <a:pt x="28" y="6"/>
                    <a:pt x="7" y="27"/>
                    <a:pt x="7" y="53"/>
                  </a:cubicBezTo>
                  <a:cubicBezTo>
                    <a:pt x="7" y="79"/>
                    <a:pt x="28" y="100"/>
                    <a:pt x="54" y="100"/>
                  </a:cubicBezTo>
                  <a:cubicBezTo>
                    <a:pt x="80" y="100"/>
                    <a:pt x="101" y="79"/>
                    <a:pt x="101" y="53"/>
                  </a:cubicBezTo>
                  <a:cubicBezTo>
                    <a:pt x="101" y="27"/>
                    <a:pt x="80" y="6"/>
                    <a:pt x="5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9" name="Freeform 991">
              <a:extLst>
                <a:ext uri="{FF2B5EF4-FFF2-40B4-BE49-F238E27FC236}">
                  <a16:creationId xmlns:a16="http://schemas.microsoft.com/office/drawing/2014/main" id="{711CFF5D-20DD-4686-9901-226707EFE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9204" y="3893734"/>
              <a:ext cx="134046" cy="134046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7 h 74"/>
                <a:gd name="T12" fmla="*/ 7 w 74"/>
                <a:gd name="T13" fmla="*/ 37 h 74"/>
                <a:gd name="T14" fmla="*/ 37 w 74"/>
                <a:gd name="T15" fmla="*/ 67 h 74"/>
                <a:gd name="T16" fmla="*/ 67 w 74"/>
                <a:gd name="T17" fmla="*/ 37 h 74"/>
                <a:gd name="T18" fmla="*/ 37 w 74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7"/>
                  </a:moveTo>
                  <a:cubicBezTo>
                    <a:pt x="20" y="7"/>
                    <a:pt x="7" y="21"/>
                    <a:pt x="7" y="37"/>
                  </a:cubicBezTo>
                  <a:cubicBezTo>
                    <a:pt x="7" y="54"/>
                    <a:pt x="20" y="67"/>
                    <a:pt x="37" y="67"/>
                  </a:cubicBezTo>
                  <a:cubicBezTo>
                    <a:pt x="53" y="67"/>
                    <a:pt x="67" y="54"/>
                    <a:pt x="67" y="37"/>
                  </a:cubicBezTo>
                  <a:cubicBezTo>
                    <a:pt x="67" y="21"/>
                    <a:pt x="53" y="7"/>
                    <a:pt x="3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0" name="Freeform 992">
              <a:extLst>
                <a:ext uri="{FF2B5EF4-FFF2-40B4-BE49-F238E27FC236}">
                  <a16:creationId xmlns:a16="http://schemas.microsoft.com/office/drawing/2014/main" id="{05F30D83-778F-4FD4-8FDC-C4B7B400C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2004" y="3864649"/>
              <a:ext cx="193482" cy="194746"/>
            </a:xfrm>
            <a:custGeom>
              <a:avLst/>
              <a:gdLst>
                <a:gd name="T0" fmla="*/ 54 w 107"/>
                <a:gd name="T1" fmla="*/ 107 h 107"/>
                <a:gd name="T2" fmla="*/ 0 w 107"/>
                <a:gd name="T3" fmla="*/ 53 h 107"/>
                <a:gd name="T4" fmla="*/ 54 w 107"/>
                <a:gd name="T5" fmla="*/ 0 h 107"/>
                <a:gd name="T6" fmla="*/ 107 w 107"/>
                <a:gd name="T7" fmla="*/ 53 h 107"/>
                <a:gd name="T8" fmla="*/ 54 w 107"/>
                <a:gd name="T9" fmla="*/ 107 h 107"/>
                <a:gd name="T10" fmla="*/ 54 w 107"/>
                <a:gd name="T11" fmla="*/ 6 h 107"/>
                <a:gd name="T12" fmla="*/ 7 w 107"/>
                <a:gd name="T13" fmla="*/ 53 h 107"/>
                <a:gd name="T14" fmla="*/ 54 w 107"/>
                <a:gd name="T15" fmla="*/ 100 h 107"/>
                <a:gd name="T16" fmla="*/ 101 w 107"/>
                <a:gd name="T17" fmla="*/ 53 h 107"/>
                <a:gd name="T18" fmla="*/ 54 w 107"/>
                <a:gd name="T19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7">
                  <a:moveTo>
                    <a:pt x="54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7" y="24"/>
                    <a:pt x="107" y="53"/>
                  </a:cubicBezTo>
                  <a:cubicBezTo>
                    <a:pt x="107" y="83"/>
                    <a:pt x="83" y="107"/>
                    <a:pt x="54" y="107"/>
                  </a:cubicBezTo>
                  <a:close/>
                  <a:moveTo>
                    <a:pt x="54" y="6"/>
                  </a:moveTo>
                  <a:cubicBezTo>
                    <a:pt x="28" y="6"/>
                    <a:pt x="7" y="27"/>
                    <a:pt x="7" y="53"/>
                  </a:cubicBezTo>
                  <a:cubicBezTo>
                    <a:pt x="7" y="79"/>
                    <a:pt x="28" y="100"/>
                    <a:pt x="54" y="100"/>
                  </a:cubicBezTo>
                  <a:cubicBezTo>
                    <a:pt x="80" y="100"/>
                    <a:pt x="101" y="79"/>
                    <a:pt x="101" y="53"/>
                  </a:cubicBezTo>
                  <a:cubicBezTo>
                    <a:pt x="101" y="27"/>
                    <a:pt x="80" y="6"/>
                    <a:pt x="5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Freeform 993">
              <a:extLst>
                <a:ext uri="{FF2B5EF4-FFF2-40B4-BE49-F238E27FC236}">
                  <a16:creationId xmlns:a16="http://schemas.microsoft.com/office/drawing/2014/main" id="{6FCFC27E-AEC6-4AF3-B992-5CAA2E27A5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2354" y="3893734"/>
              <a:ext cx="135311" cy="134046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7 h 74"/>
                <a:gd name="T12" fmla="*/ 7 w 74"/>
                <a:gd name="T13" fmla="*/ 37 h 74"/>
                <a:gd name="T14" fmla="*/ 37 w 74"/>
                <a:gd name="T15" fmla="*/ 67 h 74"/>
                <a:gd name="T16" fmla="*/ 67 w 74"/>
                <a:gd name="T17" fmla="*/ 37 h 74"/>
                <a:gd name="T18" fmla="*/ 37 w 74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7"/>
                  </a:moveTo>
                  <a:cubicBezTo>
                    <a:pt x="20" y="7"/>
                    <a:pt x="7" y="21"/>
                    <a:pt x="7" y="37"/>
                  </a:cubicBezTo>
                  <a:cubicBezTo>
                    <a:pt x="7" y="54"/>
                    <a:pt x="20" y="67"/>
                    <a:pt x="37" y="67"/>
                  </a:cubicBezTo>
                  <a:cubicBezTo>
                    <a:pt x="53" y="67"/>
                    <a:pt x="67" y="54"/>
                    <a:pt x="67" y="37"/>
                  </a:cubicBezTo>
                  <a:cubicBezTo>
                    <a:pt x="67" y="21"/>
                    <a:pt x="53" y="7"/>
                    <a:pt x="3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Freeform 994">
              <a:extLst>
                <a:ext uri="{FF2B5EF4-FFF2-40B4-BE49-F238E27FC236}">
                  <a16:creationId xmlns:a16="http://schemas.microsoft.com/office/drawing/2014/main" id="{EE305C41-F436-4A16-9EAB-18C7BF85A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8639" y="3817859"/>
              <a:ext cx="140369" cy="150486"/>
            </a:xfrm>
            <a:custGeom>
              <a:avLst/>
              <a:gdLst>
                <a:gd name="T0" fmla="*/ 67 w 77"/>
                <a:gd name="T1" fmla="*/ 83 h 83"/>
                <a:gd name="T2" fmla="*/ 4 w 77"/>
                <a:gd name="T3" fmla="*/ 83 h 83"/>
                <a:gd name="T4" fmla="*/ 1 w 77"/>
                <a:gd name="T5" fmla="*/ 81 h 83"/>
                <a:gd name="T6" fmla="*/ 1 w 77"/>
                <a:gd name="T7" fmla="*/ 78 h 83"/>
                <a:gd name="T8" fmla="*/ 38 w 77"/>
                <a:gd name="T9" fmla="*/ 2 h 83"/>
                <a:gd name="T10" fmla="*/ 42 w 77"/>
                <a:gd name="T11" fmla="*/ 0 h 83"/>
                <a:gd name="T12" fmla="*/ 42 w 77"/>
                <a:gd name="T13" fmla="*/ 0 h 83"/>
                <a:gd name="T14" fmla="*/ 45 w 77"/>
                <a:gd name="T15" fmla="*/ 2 h 83"/>
                <a:gd name="T16" fmla="*/ 77 w 77"/>
                <a:gd name="T17" fmla="*/ 67 h 83"/>
                <a:gd name="T18" fmla="*/ 77 w 77"/>
                <a:gd name="T19" fmla="*/ 69 h 83"/>
                <a:gd name="T20" fmla="*/ 75 w 77"/>
                <a:gd name="T21" fmla="*/ 71 h 83"/>
                <a:gd name="T22" fmla="*/ 70 w 77"/>
                <a:gd name="T23" fmla="*/ 79 h 83"/>
                <a:gd name="T24" fmla="*/ 67 w 77"/>
                <a:gd name="T25" fmla="*/ 83 h 83"/>
                <a:gd name="T26" fmla="*/ 9 w 77"/>
                <a:gd name="T27" fmla="*/ 76 h 83"/>
                <a:gd name="T28" fmla="*/ 64 w 77"/>
                <a:gd name="T29" fmla="*/ 76 h 83"/>
                <a:gd name="T30" fmla="*/ 69 w 77"/>
                <a:gd name="T31" fmla="*/ 67 h 83"/>
                <a:gd name="T32" fmla="*/ 42 w 77"/>
                <a:gd name="T33" fmla="*/ 11 h 83"/>
                <a:gd name="T34" fmla="*/ 9 w 77"/>
                <a:gd name="T35" fmla="*/ 7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" h="83">
                  <a:moveTo>
                    <a:pt x="67" y="83"/>
                  </a:moveTo>
                  <a:cubicBezTo>
                    <a:pt x="4" y="83"/>
                    <a:pt x="4" y="83"/>
                    <a:pt x="4" y="83"/>
                  </a:cubicBezTo>
                  <a:cubicBezTo>
                    <a:pt x="3" y="83"/>
                    <a:pt x="2" y="82"/>
                    <a:pt x="1" y="81"/>
                  </a:cubicBezTo>
                  <a:cubicBezTo>
                    <a:pt x="0" y="80"/>
                    <a:pt x="0" y="79"/>
                    <a:pt x="1" y="78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9" y="1"/>
                    <a:pt x="40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5" y="2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77" y="67"/>
                    <a:pt x="77" y="68"/>
                    <a:pt x="77" y="69"/>
                  </a:cubicBezTo>
                  <a:cubicBezTo>
                    <a:pt x="77" y="70"/>
                    <a:pt x="76" y="71"/>
                    <a:pt x="75" y="71"/>
                  </a:cubicBezTo>
                  <a:cubicBezTo>
                    <a:pt x="72" y="73"/>
                    <a:pt x="70" y="76"/>
                    <a:pt x="70" y="79"/>
                  </a:cubicBezTo>
                  <a:cubicBezTo>
                    <a:pt x="70" y="81"/>
                    <a:pt x="69" y="83"/>
                    <a:pt x="67" y="83"/>
                  </a:cubicBezTo>
                  <a:close/>
                  <a:moveTo>
                    <a:pt x="9" y="76"/>
                  </a:moveTo>
                  <a:cubicBezTo>
                    <a:pt x="64" y="76"/>
                    <a:pt x="64" y="76"/>
                    <a:pt x="64" y="76"/>
                  </a:cubicBezTo>
                  <a:cubicBezTo>
                    <a:pt x="64" y="72"/>
                    <a:pt x="66" y="69"/>
                    <a:pt x="69" y="67"/>
                  </a:cubicBezTo>
                  <a:cubicBezTo>
                    <a:pt x="42" y="11"/>
                    <a:pt x="42" y="11"/>
                    <a:pt x="42" y="11"/>
                  </a:cubicBezTo>
                  <a:lnTo>
                    <a:pt x="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Freeform 995">
              <a:extLst>
                <a:ext uri="{FF2B5EF4-FFF2-40B4-BE49-F238E27FC236}">
                  <a16:creationId xmlns:a16="http://schemas.microsoft.com/office/drawing/2014/main" id="{F14DFC94-9393-4E0C-A695-5F4E2462F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8192" y="3817859"/>
              <a:ext cx="188423" cy="132781"/>
            </a:xfrm>
            <a:custGeom>
              <a:avLst/>
              <a:gdLst>
                <a:gd name="T0" fmla="*/ 49 w 104"/>
                <a:gd name="T1" fmla="*/ 73 h 73"/>
                <a:gd name="T2" fmla="*/ 47 w 104"/>
                <a:gd name="T3" fmla="*/ 72 h 73"/>
                <a:gd name="T4" fmla="*/ 37 w 104"/>
                <a:gd name="T5" fmla="*/ 71 h 73"/>
                <a:gd name="T6" fmla="*/ 33 w 104"/>
                <a:gd name="T7" fmla="*/ 70 h 73"/>
                <a:gd name="T8" fmla="*/ 0 w 104"/>
                <a:gd name="T9" fmla="*/ 5 h 73"/>
                <a:gd name="T10" fmla="*/ 1 w 104"/>
                <a:gd name="T11" fmla="*/ 2 h 73"/>
                <a:gd name="T12" fmla="*/ 4 w 104"/>
                <a:gd name="T13" fmla="*/ 0 h 73"/>
                <a:gd name="T14" fmla="*/ 100 w 104"/>
                <a:gd name="T15" fmla="*/ 0 h 73"/>
                <a:gd name="T16" fmla="*/ 103 w 104"/>
                <a:gd name="T17" fmla="*/ 2 h 73"/>
                <a:gd name="T18" fmla="*/ 103 w 104"/>
                <a:gd name="T19" fmla="*/ 6 h 73"/>
                <a:gd name="T20" fmla="*/ 52 w 104"/>
                <a:gd name="T21" fmla="*/ 71 h 73"/>
                <a:gd name="T22" fmla="*/ 49 w 104"/>
                <a:gd name="T23" fmla="*/ 73 h 73"/>
                <a:gd name="T24" fmla="*/ 41 w 104"/>
                <a:gd name="T25" fmla="*/ 63 h 73"/>
                <a:gd name="T26" fmla="*/ 48 w 104"/>
                <a:gd name="T27" fmla="*/ 65 h 73"/>
                <a:gd name="T28" fmla="*/ 93 w 104"/>
                <a:gd name="T29" fmla="*/ 7 h 73"/>
                <a:gd name="T30" fmla="*/ 9 w 104"/>
                <a:gd name="T31" fmla="*/ 7 h 73"/>
                <a:gd name="T32" fmla="*/ 37 w 104"/>
                <a:gd name="T33" fmla="*/ 64 h 73"/>
                <a:gd name="T34" fmla="*/ 41 w 104"/>
                <a:gd name="T35" fmla="*/ 6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73">
                  <a:moveTo>
                    <a:pt x="49" y="73"/>
                  </a:moveTo>
                  <a:cubicBezTo>
                    <a:pt x="48" y="73"/>
                    <a:pt x="47" y="73"/>
                    <a:pt x="47" y="72"/>
                  </a:cubicBezTo>
                  <a:cubicBezTo>
                    <a:pt x="44" y="70"/>
                    <a:pt x="40" y="70"/>
                    <a:pt x="37" y="71"/>
                  </a:cubicBezTo>
                  <a:cubicBezTo>
                    <a:pt x="35" y="72"/>
                    <a:pt x="33" y="71"/>
                    <a:pt x="33" y="7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2" y="1"/>
                    <a:pt x="103" y="2"/>
                  </a:cubicBezTo>
                  <a:cubicBezTo>
                    <a:pt x="104" y="4"/>
                    <a:pt x="103" y="5"/>
                    <a:pt x="103" y="6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1" y="72"/>
                    <a:pt x="50" y="73"/>
                    <a:pt x="49" y="73"/>
                  </a:cubicBezTo>
                  <a:close/>
                  <a:moveTo>
                    <a:pt x="41" y="63"/>
                  </a:moveTo>
                  <a:cubicBezTo>
                    <a:pt x="44" y="63"/>
                    <a:pt x="46" y="64"/>
                    <a:pt x="48" y="65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9" y="63"/>
                    <a:pt x="40" y="63"/>
                    <a:pt x="41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Freeform 996">
              <a:extLst>
                <a:ext uri="{FF2B5EF4-FFF2-40B4-BE49-F238E27FC236}">
                  <a16:creationId xmlns:a16="http://schemas.microsoft.com/office/drawing/2014/main" id="{AB4EC06A-4695-42A7-A250-7C0442467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3969" y="3758424"/>
              <a:ext cx="72081" cy="209921"/>
            </a:xfrm>
            <a:custGeom>
              <a:avLst/>
              <a:gdLst>
                <a:gd name="T0" fmla="*/ 20 w 40"/>
                <a:gd name="T1" fmla="*/ 116 h 116"/>
                <a:gd name="T2" fmla="*/ 17 w 40"/>
                <a:gd name="T3" fmla="*/ 115 h 116"/>
                <a:gd name="T4" fmla="*/ 0 w 40"/>
                <a:gd name="T5" fmla="*/ 72 h 116"/>
                <a:gd name="T6" fmla="*/ 0 w 40"/>
                <a:gd name="T7" fmla="*/ 3 h 116"/>
                <a:gd name="T8" fmla="*/ 3 w 40"/>
                <a:gd name="T9" fmla="*/ 0 h 116"/>
                <a:gd name="T10" fmla="*/ 26 w 40"/>
                <a:gd name="T11" fmla="*/ 0 h 116"/>
                <a:gd name="T12" fmla="*/ 40 w 40"/>
                <a:gd name="T13" fmla="*/ 14 h 116"/>
                <a:gd name="T14" fmla="*/ 26 w 40"/>
                <a:gd name="T15" fmla="*/ 28 h 116"/>
                <a:gd name="T16" fmla="*/ 24 w 40"/>
                <a:gd name="T17" fmla="*/ 28 h 116"/>
                <a:gd name="T18" fmla="*/ 20 w 40"/>
                <a:gd name="T19" fmla="*/ 24 h 116"/>
                <a:gd name="T20" fmla="*/ 24 w 40"/>
                <a:gd name="T21" fmla="*/ 21 h 116"/>
                <a:gd name="T22" fmla="*/ 26 w 40"/>
                <a:gd name="T23" fmla="*/ 21 h 116"/>
                <a:gd name="T24" fmla="*/ 33 w 40"/>
                <a:gd name="T25" fmla="*/ 14 h 116"/>
                <a:gd name="T26" fmla="*/ 26 w 40"/>
                <a:gd name="T27" fmla="*/ 7 h 116"/>
                <a:gd name="T28" fmla="*/ 6 w 40"/>
                <a:gd name="T29" fmla="*/ 7 h 116"/>
                <a:gd name="T30" fmla="*/ 6 w 40"/>
                <a:gd name="T31" fmla="*/ 72 h 116"/>
                <a:gd name="T32" fmla="*/ 22 w 40"/>
                <a:gd name="T33" fmla="*/ 110 h 116"/>
                <a:gd name="T34" fmla="*/ 22 w 40"/>
                <a:gd name="T35" fmla="*/ 115 h 116"/>
                <a:gd name="T36" fmla="*/ 20 w 40"/>
                <a:gd name="T3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116">
                  <a:moveTo>
                    <a:pt x="20" y="116"/>
                  </a:moveTo>
                  <a:cubicBezTo>
                    <a:pt x="19" y="116"/>
                    <a:pt x="18" y="115"/>
                    <a:pt x="17" y="115"/>
                  </a:cubicBezTo>
                  <a:cubicBezTo>
                    <a:pt x="6" y="103"/>
                    <a:pt x="0" y="88"/>
                    <a:pt x="0" y="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4" y="0"/>
                    <a:pt x="40" y="6"/>
                    <a:pt x="40" y="14"/>
                  </a:cubicBezTo>
                  <a:cubicBezTo>
                    <a:pt x="40" y="21"/>
                    <a:pt x="34" y="28"/>
                    <a:pt x="26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2" y="28"/>
                    <a:pt x="20" y="26"/>
                    <a:pt x="20" y="24"/>
                  </a:cubicBezTo>
                  <a:cubicBezTo>
                    <a:pt x="20" y="22"/>
                    <a:pt x="22" y="21"/>
                    <a:pt x="24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30" y="21"/>
                    <a:pt x="33" y="18"/>
                    <a:pt x="33" y="14"/>
                  </a:cubicBezTo>
                  <a:cubicBezTo>
                    <a:pt x="33" y="10"/>
                    <a:pt x="30" y="7"/>
                    <a:pt x="2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86"/>
                    <a:pt x="12" y="100"/>
                    <a:pt x="22" y="110"/>
                  </a:cubicBezTo>
                  <a:cubicBezTo>
                    <a:pt x="23" y="111"/>
                    <a:pt x="23" y="113"/>
                    <a:pt x="22" y="115"/>
                  </a:cubicBezTo>
                  <a:cubicBezTo>
                    <a:pt x="21" y="115"/>
                    <a:pt x="21" y="116"/>
                    <a:pt x="20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Freeform 997">
              <a:extLst>
                <a:ext uri="{FF2B5EF4-FFF2-40B4-BE49-F238E27FC236}">
                  <a16:creationId xmlns:a16="http://schemas.microsoft.com/office/drawing/2014/main" id="{ECCAAE52-9084-4783-8142-3BA9016C06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2666" y="3734397"/>
              <a:ext cx="96108" cy="58171"/>
            </a:xfrm>
            <a:custGeom>
              <a:avLst/>
              <a:gdLst>
                <a:gd name="T0" fmla="*/ 41 w 53"/>
                <a:gd name="T1" fmla="*/ 32 h 32"/>
                <a:gd name="T2" fmla="*/ 20 w 53"/>
                <a:gd name="T3" fmla="*/ 32 h 32"/>
                <a:gd name="T4" fmla="*/ 0 w 53"/>
                <a:gd name="T5" fmla="*/ 12 h 32"/>
                <a:gd name="T6" fmla="*/ 12 w 53"/>
                <a:gd name="T7" fmla="*/ 0 h 32"/>
                <a:gd name="T8" fmla="*/ 18 w 53"/>
                <a:gd name="T9" fmla="*/ 0 h 32"/>
                <a:gd name="T10" fmla="*/ 31 w 53"/>
                <a:gd name="T11" fmla="*/ 6 h 32"/>
                <a:gd name="T12" fmla="*/ 39 w 53"/>
                <a:gd name="T13" fmla="*/ 9 h 32"/>
                <a:gd name="T14" fmla="*/ 41 w 53"/>
                <a:gd name="T15" fmla="*/ 9 h 32"/>
                <a:gd name="T16" fmla="*/ 53 w 53"/>
                <a:gd name="T17" fmla="*/ 21 h 32"/>
                <a:gd name="T18" fmla="*/ 41 w 53"/>
                <a:gd name="T19" fmla="*/ 32 h 32"/>
                <a:gd name="T20" fmla="*/ 12 w 53"/>
                <a:gd name="T21" fmla="*/ 7 h 32"/>
                <a:gd name="T22" fmla="*/ 7 w 53"/>
                <a:gd name="T23" fmla="*/ 12 h 32"/>
                <a:gd name="T24" fmla="*/ 20 w 53"/>
                <a:gd name="T25" fmla="*/ 25 h 32"/>
                <a:gd name="T26" fmla="*/ 41 w 53"/>
                <a:gd name="T27" fmla="*/ 25 h 32"/>
                <a:gd name="T28" fmla="*/ 46 w 53"/>
                <a:gd name="T29" fmla="*/ 21 h 32"/>
                <a:gd name="T30" fmla="*/ 41 w 53"/>
                <a:gd name="T31" fmla="*/ 16 h 32"/>
                <a:gd name="T32" fmla="*/ 39 w 53"/>
                <a:gd name="T33" fmla="*/ 16 h 32"/>
                <a:gd name="T34" fmla="*/ 26 w 53"/>
                <a:gd name="T35" fmla="*/ 10 h 32"/>
                <a:gd name="T36" fmla="*/ 18 w 53"/>
                <a:gd name="T37" fmla="*/ 7 h 32"/>
                <a:gd name="T38" fmla="*/ 12 w 53"/>
                <a:gd name="T3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2">
                  <a:moveTo>
                    <a:pt x="41" y="32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9" y="32"/>
                    <a:pt x="0" y="23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8" y="2"/>
                    <a:pt x="31" y="6"/>
                  </a:cubicBezTo>
                  <a:cubicBezTo>
                    <a:pt x="33" y="8"/>
                    <a:pt x="36" y="9"/>
                    <a:pt x="39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8" y="9"/>
                    <a:pt x="53" y="14"/>
                    <a:pt x="53" y="21"/>
                  </a:cubicBezTo>
                  <a:cubicBezTo>
                    <a:pt x="53" y="27"/>
                    <a:pt x="48" y="32"/>
                    <a:pt x="41" y="32"/>
                  </a:cubicBezTo>
                  <a:close/>
                  <a:moveTo>
                    <a:pt x="12" y="7"/>
                  </a:moveTo>
                  <a:cubicBezTo>
                    <a:pt x="9" y="7"/>
                    <a:pt x="7" y="9"/>
                    <a:pt x="7" y="12"/>
                  </a:cubicBezTo>
                  <a:cubicBezTo>
                    <a:pt x="7" y="19"/>
                    <a:pt x="13" y="25"/>
                    <a:pt x="2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4" y="25"/>
                    <a:pt x="46" y="23"/>
                    <a:pt x="46" y="21"/>
                  </a:cubicBezTo>
                  <a:cubicBezTo>
                    <a:pt x="46" y="18"/>
                    <a:pt x="44" y="16"/>
                    <a:pt x="41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4" y="16"/>
                    <a:pt x="29" y="14"/>
                    <a:pt x="26" y="10"/>
                  </a:cubicBezTo>
                  <a:cubicBezTo>
                    <a:pt x="24" y="8"/>
                    <a:pt x="21" y="7"/>
                    <a:pt x="18" y="7"/>
                  </a:cubicBezTo>
                  <a:lnTo>
                    <a:pt x="1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Freeform 998">
              <a:extLst>
                <a:ext uri="{FF2B5EF4-FFF2-40B4-BE49-F238E27FC236}">
                  <a16:creationId xmlns:a16="http://schemas.microsoft.com/office/drawing/2014/main" id="{5D8F995B-5C5B-4B2A-93BF-BC7449E48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8192" y="3779922"/>
              <a:ext cx="12646" cy="50583"/>
            </a:xfrm>
            <a:custGeom>
              <a:avLst/>
              <a:gdLst>
                <a:gd name="T0" fmla="*/ 4 w 7"/>
                <a:gd name="T1" fmla="*/ 28 h 28"/>
                <a:gd name="T2" fmla="*/ 0 w 7"/>
                <a:gd name="T3" fmla="*/ 25 h 28"/>
                <a:gd name="T4" fmla="*/ 0 w 7"/>
                <a:gd name="T5" fmla="*/ 4 h 28"/>
                <a:gd name="T6" fmla="*/ 4 w 7"/>
                <a:gd name="T7" fmla="*/ 0 h 28"/>
                <a:gd name="T8" fmla="*/ 7 w 7"/>
                <a:gd name="T9" fmla="*/ 4 h 28"/>
                <a:gd name="T10" fmla="*/ 7 w 7"/>
                <a:gd name="T11" fmla="*/ 25 h 28"/>
                <a:gd name="T12" fmla="*/ 4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4" y="28"/>
                  </a:moveTo>
                  <a:cubicBezTo>
                    <a:pt x="2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7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7" name="Freeform 999">
              <a:extLst>
                <a:ext uri="{FF2B5EF4-FFF2-40B4-BE49-F238E27FC236}">
                  <a16:creationId xmlns:a16="http://schemas.microsoft.com/office/drawing/2014/main" id="{ECEE082F-CC97-4282-8325-E6F21D7407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3717" y="3930407"/>
              <a:ext cx="56906" cy="59436"/>
            </a:xfrm>
            <a:custGeom>
              <a:avLst/>
              <a:gdLst>
                <a:gd name="T0" fmla="*/ 16 w 32"/>
                <a:gd name="T1" fmla="*/ 33 h 33"/>
                <a:gd name="T2" fmla="*/ 0 w 32"/>
                <a:gd name="T3" fmla="*/ 17 h 33"/>
                <a:gd name="T4" fmla="*/ 9 w 32"/>
                <a:gd name="T5" fmla="*/ 3 h 33"/>
                <a:gd name="T6" fmla="*/ 26 w 32"/>
                <a:gd name="T7" fmla="*/ 5 h 33"/>
                <a:gd name="T8" fmla="*/ 32 w 32"/>
                <a:gd name="T9" fmla="*/ 17 h 33"/>
                <a:gd name="T10" fmla="*/ 16 w 32"/>
                <a:gd name="T11" fmla="*/ 33 h 33"/>
                <a:gd name="T12" fmla="*/ 16 w 32"/>
                <a:gd name="T13" fmla="*/ 8 h 33"/>
                <a:gd name="T14" fmla="*/ 12 w 32"/>
                <a:gd name="T15" fmla="*/ 9 h 33"/>
                <a:gd name="T16" fmla="*/ 7 w 32"/>
                <a:gd name="T17" fmla="*/ 17 h 33"/>
                <a:gd name="T18" fmla="*/ 16 w 32"/>
                <a:gd name="T19" fmla="*/ 26 h 33"/>
                <a:gd name="T20" fmla="*/ 25 w 32"/>
                <a:gd name="T21" fmla="*/ 17 h 33"/>
                <a:gd name="T22" fmla="*/ 22 w 32"/>
                <a:gd name="T23" fmla="*/ 10 h 33"/>
                <a:gd name="T24" fmla="*/ 16 w 32"/>
                <a:gd name="T25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16" y="33"/>
                  </a:moveTo>
                  <a:cubicBezTo>
                    <a:pt x="7" y="33"/>
                    <a:pt x="0" y="26"/>
                    <a:pt x="0" y="17"/>
                  </a:cubicBezTo>
                  <a:cubicBezTo>
                    <a:pt x="0" y="11"/>
                    <a:pt x="4" y="6"/>
                    <a:pt x="9" y="3"/>
                  </a:cubicBezTo>
                  <a:cubicBezTo>
                    <a:pt x="15" y="0"/>
                    <a:pt x="21" y="1"/>
                    <a:pt x="26" y="5"/>
                  </a:cubicBezTo>
                  <a:cubicBezTo>
                    <a:pt x="30" y="8"/>
                    <a:pt x="32" y="12"/>
                    <a:pt x="32" y="17"/>
                  </a:cubicBezTo>
                  <a:cubicBezTo>
                    <a:pt x="32" y="26"/>
                    <a:pt x="25" y="33"/>
                    <a:pt x="16" y="33"/>
                  </a:cubicBezTo>
                  <a:close/>
                  <a:moveTo>
                    <a:pt x="16" y="8"/>
                  </a:moveTo>
                  <a:cubicBezTo>
                    <a:pt x="15" y="8"/>
                    <a:pt x="13" y="8"/>
                    <a:pt x="12" y="9"/>
                  </a:cubicBezTo>
                  <a:cubicBezTo>
                    <a:pt x="9" y="11"/>
                    <a:pt x="7" y="14"/>
                    <a:pt x="7" y="17"/>
                  </a:cubicBezTo>
                  <a:cubicBezTo>
                    <a:pt x="7" y="22"/>
                    <a:pt x="11" y="26"/>
                    <a:pt x="16" y="26"/>
                  </a:cubicBezTo>
                  <a:cubicBezTo>
                    <a:pt x="21" y="26"/>
                    <a:pt x="25" y="22"/>
                    <a:pt x="25" y="17"/>
                  </a:cubicBezTo>
                  <a:cubicBezTo>
                    <a:pt x="25" y="14"/>
                    <a:pt x="24" y="12"/>
                    <a:pt x="22" y="10"/>
                  </a:cubicBezTo>
                  <a:cubicBezTo>
                    <a:pt x="20" y="9"/>
                    <a:pt x="18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00AFB593-0F52-4D9E-9C4E-98AB627D32B4}"/>
              </a:ext>
            </a:extLst>
          </p:cNvPr>
          <p:cNvSpPr txBox="1"/>
          <p:nvPr/>
        </p:nvSpPr>
        <p:spPr>
          <a:xfrm>
            <a:off x="2021846" y="4546127"/>
            <a:ext cx="1563787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5100A053-16CC-41C4-967E-F89456D685E3}"/>
              </a:ext>
            </a:extLst>
          </p:cNvPr>
          <p:cNvSpPr txBox="1"/>
          <p:nvPr/>
        </p:nvSpPr>
        <p:spPr>
          <a:xfrm>
            <a:off x="2018628" y="4100674"/>
            <a:ext cx="1281079" cy="6190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XX%</a:t>
            </a:r>
            <a:endParaRPr lang="pt-BR" sz="40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DF7367BD-401F-4CE8-A593-45028710AE0C}"/>
              </a:ext>
            </a:extLst>
          </p:cNvPr>
          <p:cNvSpPr txBox="1"/>
          <p:nvPr/>
        </p:nvSpPr>
        <p:spPr>
          <a:xfrm>
            <a:off x="5041207" y="4546127"/>
            <a:ext cx="1563787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16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1DBE4A32-41A0-465D-9C14-F0688C00A95D}"/>
              </a:ext>
            </a:extLst>
          </p:cNvPr>
          <p:cNvSpPr txBox="1"/>
          <p:nvPr/>
        </p:nvSpPr>
        <p:spPr>
          <a:xfrm>
            <a:off x="5037989" y="4100674"/>
            <a:ext cx="1281079" cy="6190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XX%</a:t>
            </a:r>
            <a:endParaRPr lang="pt-BR" sz="40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3" name="Freeform 5">
            <a:extLst>
              <a:ext uri="{FF2B5EF4-FFF2-40B4-BE49-F238E27FC236}">
                <a16:creationId xmlns:a16="http://schemas.microsoft.com/office/drawing/2014/main" id="{87EFB4BC-0469-4196-AA7E-0CDA6AD84EBB}"/>
              </a:ext>
            </a:extLst>
          </p:cNvPr>
          <p:cNvSpPr>
            <a:spLocks/>
          </p:cNvSpPr>
          <p:nvPr/>
        </p:nvSpPr>
        <p:spPr bwMode="auto">
          <a:xfrm>
            <a:off x="2504947" y="5543813"/>
            <a:ext cx="3173581" cy="786804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rgbClr val="FF7020">
              <a:alpha val="7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80" name="Freeform 5">
            <a:extLst>
              <a:ext uri="{FF2B5EF4-FFF2-40B4-BE49-F238E27FC236}">
                <a16:creationId xmlns:a16="http://schemas.microsoft.com/office/drawing/2014/main" id="{17749635-D56C-4635-9340-0F572B526676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436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22" dur="75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4.16667E-6 2.96296E-6 L 0.07409 -0.00047 " pathEditMode="relative" rAng="0" ptsTypes="AA">
                                      <p:cBhvr>
                                        <p:cTn id="27" dur="75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98" y="-23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1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41" dur="750" spd="-100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42" presetClass="path" presetSubtype="0" accel="50000" decel="50000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55" dur="75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2" grpId="0"/>
      <p:bldP spid="7" grpId="0"/>
      <p:bldP spid="7" grpId="1"/>
      <p:bldP spid="49" grpId="0" animBg="1"/>
      <p:bldP spid="56" grpId="0" animBg="1"/>
      <p:bldP spid="68" grpId="0"/>
      <p:bldP spid="69" grpId="0"/>
      <p:bldP spid="69" grpId="1"/>
      <p:bldP spid="70" grpId="0"/>
      <p:bldP spid="71" grpId="0"/>
      <p:bldP spid="71" grpId="1"/>
      <p:bldP spid="7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6BCA8FA1-A581-47A9-9D85-27F80F8728F8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rgbClr val="FF7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D14DB4EA-01AE-440A-A3CE-6C9E7A26254C}"/>
              </a:ext>
            </a:extLst>
          </p:cNvPr>
          <p:cNvSpPr/>
          <p:nvPr/>
        </p:nvSpPr>
        <p:spPr>
          <a:xfrm>
            <a:off x="897913" y="3323771"/>
            <a:ext cx="5388314" cy="3115128"/>
          </a:xfrm>
          <a:prstGeom prst="roundRect">
            <a:avLst>
              <a:gd name="adj" fmla="val 8726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275CB088-7066-4F8A-9E09-D1CC3102B78E}"/>
              </a:ext>
            </a:extLst>
          </p:cNvPr>
          <p:cNvSpPr/>
          <p:nvPr/>
        </p:nvSpPr>
        <p:spPr>
          <a:xfrm>
            <a:off x="7775024" y="1"/>
            <a:ext cx="4416976" cy="6857992"/>
          </a:xfrm>
          <a:prstGeom prst="rect">
            <a:avLst/>
          </a:prstGeom>
          <a:solidFill>
            <a:srgbClr val="FF7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>
                  <a:lumMod val="85000"/>
                </a:schemeClr>
              </a:solidFill>
            </a:endParaRPr>
          </a:p>
        </p:txBody>
      </p:sp>
      <p:cxnSp>
        <p:nvCxnSpPr>
          <p:cNvPr id="103" name="Conector reto 102">
            <a:extLst>
              <a:ext uri="{FF2B5EF4-FFF2-40B4-BE49-F238E27FC236}">
                <a16:creationId xmlns:a16="http://schemas.microsoft.com/office/drawing/2014/main" id="{70A24547-4F37-4392-BE24-0C018B00EE90}"/>
              </a:ext>
            </a:extLst>
          </p:cNvPr>
          <p:cNvCxnSpPr>
            <a:cxnSpLocks/>
          </p:cNvCxnSpPr>
          <p:nvPr/>
        </p:nvCxnSpPr>
        <p:spPr>
          <a:xfrm flipV="1">
            <a:off x="11031194" y="1"/>
            <a:ext cx="0" cy="515619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ixaDeTexto 1">
            <a:extLst>
              <a:ext uri="{FF2B5EF4-FFF2-40B4-BE49-F238E27FC236}">
                <a16:creationId xmlns:a16="http://schemas.microsoft.com/office/drawing/2014/main" id="{82DD7550-B621-426B-9C96-0FDABCA15818}"/>
              </a:ext>
            </a:extLst>
          </p:cNvPr>
          <p:cNvSpPr txBox="1"/>
          <p:nvPr/>
        </p:nvSpPr>
        <p:spPr>
          <a:xfrm>
            <a:off x="724692" y="557265"/>
            <a:ext cx="7606508" cy="8921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6000" dirty="0">
                <a:solidFill>
                  <a:srgbClr val="7C7C7C"/>
                </a:solidFill>
                <a:latin typeface="Nunito" panose="00000500000000000000" pitchFamily="2" charset="0"/>
                <a:cs typeface="Arial" panose="020B0604020202020204" pitchFamily="34" charset="0"/>
              </a:rPr>
              <a:t>Título e </a:t>
            </a:r>
            <a:r>
              <a:rPr lang="pt-BR" sz="6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estaque</a:t>
            </a:r>
            <a:endParaRPr lang="pt-BR" sz="6000" b="1" dirty="0">
              <a:solidFill>
                <a:srgbClr val="7C7C7C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0593190F-9DEF-4A17-A5FB-85A82113FE0B}"/>
              </a:ext>
            </a:extLst>
          </p:cNvPr>
          <p:cNvCxnSpPr>
            <a:cxnSpLocks/>
          </p:cNvCxnSpPr>
          <p:nvPr/>
        </p:nvCxnSpPr>
        <p:spPr>
          <a:xfrm>
            <a:off x="897233" y="1449156"/>
            <a:ext cx="5837396" cy="0"/>
          </a:xfrm>
          <a:prstGeom prst="line">
            <a:avLst/>
          </a:prstGeom>
          <a:ln w="12700">
            <a:solidFill>
              <a:srgbClr val="FF7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id="{B637B1EE-974B-40F1-9489-FDA44646D018}"/>
              </a:ext>
            </a:extLst>
          </p:cNvPr>
          <p:cNvSpPr txBox="1"/>
          <p:nvPr/>
        </p:nvSpPr>
        <p:spPr>
          <a:xfrm>
            <a:off x="892116" y="1673850"/>
            <a:ext cx="6263427" cy="11306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.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Aenean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commodo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ligula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eget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dolor</a:t>
            </a:r>
            <a:r>
              <a:rPr lang="pt-BR" sz="2000" dirty="0">
                <a:solidFill>
                  <a:srgbClr val="FF7020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.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enean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assa. Cum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oci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natoque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penatibu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et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magn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i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parturient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ontes,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nascetur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ridiculus</a:t>
            </a:r>
            <a:r>
              <a:rPr lang="pt-BR" sz="2000" dirty="0">
                <a:solidFill>
                  <a:srgbClr val="7C7C7C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mus. </a:t>
            </a:r>
          </a:p>
        </p:txBody>
      </p:sp>
      <p:grpSp>
        <p:nvGrpSpPr>
          <p:cNvPr id="72" name="Agrupar 71">
            <a:extLst>
              <a:ext uri="{FF2B5EF4-FFF2-40B4-BE49-F238E27FC236}">
                <a16:creationId xmlns:a16="http://schemas.microsoft.com/office/drawing/2014/main" id="{0EE6B9ED-979F-4172-AF26-23FD112B042D}"/>
              </a:ext>
            </a:extLst>
          </p:cNvPr>
          <p:cNvGrpSpPr/>
          <p:nvPr/>
        </p:nvGrpSpPr>
        <p:grpSpPr>
          <a:xfrm>
            <a:off x="6653170" y="5431650"/>
            <a:ext cx="4768781" cy="591261"/>
            <a:chOff x="619645" y="3027126"/>
            <a:chExt cx="4768781" cy="591261"/>
          </a:xfrm>
        </p:grpSpPr>
        <p:sp>
          <p:nvSpPr>
            <p:cNvPr id="10" name="Retângulo: Cantos Arredondados 9">
              <a:extLst>
                <a:ext uri="{FF2B5EF4-FFF2-40B4-BE49-F238E27FC236}">
                  <a16:creationId xmlns:a16="http://schemas.microsoft.com/office/drawing/2014/main" id="{FE7CA3D9-9D8C-47AC-9992-194CF4E0224C}"/>
                </a:ext>
              </a:extLst>
            </p:cNvPr>
            <p:cNvSpPr/>
            <p:nvPr/>
          </p:nvSpPr>
          <p:spPr>
            <a:xfrm>
              <a:off x="619645" y="3027126"/>
              <a:ext cx="4768781" cy="591261"/>
            </a:xfrm>
            <a:prstGeom prst="roundRect">
              <a:avLst>
                <a:gd name="adj" fmla="val 50000"/>
              </a:avLst>
            </a:prstGeom>
            <a:solidFill>
              <a:srgbClr val="7C7C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B877E8A9-980A-4184-84FA-9631B9F7CB1A}"/>
                </a:ext>
              </a:extLst>
            </p:cNvPr>
            <p:cNvSpPr txBox="1"/>
            <p:nvPr/>
          </p:nvSpPr>
          <p:spPr>
            <a:xfrm>
              <a:off x="877602" y="3149186"/>
              <a:ext cx="4347541" cy="42780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Lorem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ipsum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dolor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sit</a:t>
              </a:r>
              <a:r>
                <a:rPr lang="pt-BR" sz="26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26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amet</a:t>
              </a:r>
              <a:endParaRPr lang="pt-BR" sz="26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Freeform 5">
            <a:extLst>
              <a:ext uri="{FF2B5EF4-FFF2-40B4-BE49-F238E27FC236}">
                <a16:creationId xmlns:a16="http://schemas.microsoft.com/office/drawing/2014/main" id="{0371E009-DDB9-4204-A42E-43643678D66F}"/>
              </a:ext>
            </a:extLst>
          </p:cNvPr>
          <p:cNvSpPr>
            <a:spLocks/>
          </p:cNvSpPr>
          <p:nvPr/>
        </p:nvSpPr>
        <p:spPr bwMode="auto">
          <a:xfrm>
            <a:off x="8217174" y="1043656"/>
            <a:ext cx="868338" cy="215281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chemeClr val="bg1"/>
              </a:solidFill>
            </a:endParaRPr>
          </a:p>
        </p:txBody>
      </p: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A397FEFF-C92D-446B-9BDA-094920F81277}"/>
              </a:ext>
            </a:extLst>
          </p:cNvPr>
          <p:cNvGrpSpPr/>
          <p:nvPr/>
        </p:nvGrpSpPr>
        <p:grpSpPr>
          <a:xfrm>
            <a:off x="8377452" y="672891"/>
            <a:ext cx="547783" cy="547783"/>
            <a:chOff x="11004132" y="5738765"/>
            <a:chExt cx="405932" cy="405932"/>
          </a:xfrm>
          <a:solidFill>
            <a:schemeClr val="bg1"/>
          </a:solidFill>
        </p:grpSpPr>
        <p:sp>
          <p:nvSpPr>
            <p:cNvPr id="51" name="Freeform 1504">
              <a:extLst>
                <a:ext uri="{FF2B5EF4-FFF2-40B4-BE49-F238E27FC236}">
                  <a16:creationId xmlns:a16="http://schemas.microsoft.com/office/drawing/2014/main" id="{58FDC92B-212F-40C4-B918-161C3340B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4132" y="5738765"/>
              <a:ext cx="405932" cy="405932"/>
            </a:xfrm>
            <a:custGeom>
              <a:avLst/>
              <a:gdLst>
                <a:gd name="T0" fmla="*/ 191 w 224"/>
                <a:gd name="T1" fmla="*/ 33 h 224"/>
                <a:gd name="T2" fmla="*/ 112 w 224"/>
                <a:gd name="T3" fmla="*/ 0 h 224"/>
                <a:gd name="T4" fmla="*/ 49 w 224"/>
                <a:gd name="T5" fmla="*/ 20 h 224"/>
                <a:gd name="T6" fmla="*/ 47 w 224"/>
                <a:gd name="T7" fmla="*/ 26 h 224"/>
                <a:gd name="T8" fmla="*/ 53 w 224"/>
                <a:gd name="T9" fmla="*/ 27 h 224"/>
                <a:gd name="T10" fmla="*/ 112 w 224"/>
                <a:gd name="T11" fmla="*/ 9 h 224"/>
                <a:gd name="T12" fmla="*/ 215 w 224"/>
                <a:gd name="T13" fmla="*/ 112 h 224"/>
                <a:gd name="T14" fmla="*/ 112 w 224"/>
                <a:gd name="T15" fmla="*/ 216 h 224"/>
                <a:gd name="T16" fmla="*/ 9 w 224"/>
                <a:gd name="T17" fmla="*/ 112 h 224"/>
                <a:gd name="T18" fmla="*/ 27 w 224"/>
                <a:gd name="T19" fmla="*/ 54 h 224"/>
                <a:gd name="T20" fmla="*/ 26 w 224"/>
                <a:gd name="T21" fmla="*/ 48 h 224"/>
                <a:gd name="T22" fmla="*/ 19 w 224"/>
                <a:gd name="T23" fmla="*/ 49 h 224"/>
                <a:gd name="T24" fmla="*/ 0 w 224"/>
                <a:gd name="T25" fmla="*/ 112 h 224"/>
                <a:gd name="T26" fmla="*/ 33 w 224"/>
                <a:gd name="T27" fmla="*/ 191 h 224"/>
                <a:gd name="T28" fmla="*/ 112 w 224"/>
                <a:gd name="T29" fmla="*/ 224 h 224"/>
                <a:gd name="T30" fmla="*/ 191 w 224"/>
                <a:gd name="T31" fmla="*/ 191 h 224"/>
                <a:gd name="T32" fmla="*/ 224 w 224"/>
                <a:gd name="T33" fmla="*/ 112 h 224"/>
                <a:gd name="T34" fmla="*/ 191 w 224"/>
                <a:gd name="T35" fmla="*/ 3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4" h="224">
                  <a:moveTo>
                    <a:pt x="191" y="33"/>
                  </a:moveTo>
                  <a:cubicBezTo>
                    <a:pt x="170" y="12"/>
                    <a:pt x="142" y="0"/>
                    <a:pt x="112" y="0"/>
                  </a:cubicBezTo>
                  <a:cubicBezTo>
                    <a:pt x="89" y="0"/>
                    <a:pt x="67" y="7"/>
                    <a:pt x="49" y="20"/>
                  </a:cubicBezTo>
                  <a:cubicBezTo>
                    <a:pt x="47" y="21"/>
                    <a:pt x="46" y="24"/>
                    <a:pt x="47" y="26"/>
                  </a:cubicBezTo>
                  <a:cubicBezTo>
                    <a:pt x="49" y="28"/>
                    <a:pt x="51" y="28"/>
                    <a:pt x="53" y="27"/>
                  </a:cubicBezTo>
                  <a:cubicBezTo>
                    <a:pt x="71" y="15"/>
                    <a:pt x="91" y="9"/>
                    <a:pt x="112" y="9"/>
                  </a:cubicBezTo>
                  <a:cubicBezTo>
                    <a:pt x="169" y="9"/>
                    <a:pt x="215" y="55"/>
                    <a:pt x="215" y="112"/>
                  </a:cubicBezTo>
                  <a:cubicBezTo>
                    <a:pt x="215" y="169"/>
                    <a:pt x="169" y="216"/>
                    <a:pt x="112" y="216"/>
                  </a:cubicBezTo>
                  <a:cubicBezTo>
                    <a:pt x="55" y="216"/>
                    <a:pt x="9" y="169"/>
                    <a:pt x="9" y="112"/>
                  </a:cubicBezTo>
                  <a:cubicBezTo>
                    <a:pt x="9" y="91"/>
                    <a:pt x="15" y="71"/>
                    <a:pt x="27" y="54"/>
                  </a:cubicBezTo>
                  <a:cubicBezTo>
                    <a:pt x="28" y="52"/>
                    <a:pt x="28" y="49"/>
                    <a:pt x="26" y="48"/>
                  </a:cubicBezTo>
                  <a:cubicBezTo>
                    <a:pt x="24" y="46"/>
                    <a:pt x="21" y="47"/>
                    <a:pt x="19" y="49"/>
                  </a:cubicBezTo>
                  <a:cubicBezTo>
                    <a:pt x="7" y="67"/>
                    <a:pt x="0" y="89"/>
                    <a:pt x="0" y="112"/>
                  </a:cubicBezTo>
                  <a:cubicBezTo>
                    <a:pt x="0" y="142"/>
                    <a:pt x="11" y="170"/>
                    <a:pt x="33" y="191"/>
                  </a:cubicBezTo>
                  <a:cubicBezTo>
                    <a:pt x="54" y="213"/>
                    <a:pt x="82" y="224"/>
                    <a:pt x="112" y="224"/>
                  </a:cubicBezTo>
                  <a:cubicBezTo>
                    <a:pt x="142" y="224"/>
                    <a:pt x="170" y="213"/>
                    <a:pt x="191" y="191"/>
                  </a:cubicBezTo>
                  <a:cubicBezTo>
                    <a:pt x="212" y="170"/>
                    <a:pt x="224" y="142"/>
                    <a:pt x="224" y="112"/>
                  </a:cubicBezTo>
                  <a:cubicBezTo>
                    <a:pt x="224" y="82"/>
                    <a:pt x="212" y="54"/>
                    <a:pt x="191" y="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chemeClr val="bg1"/>
                </a:solidFill>
              </a:endParaRPr>
            </a:p>
          </p:txBody>
        </p:sp>
        <p:sp>
          <p:nvSpPr>
            <p:cNvPr id="52" name="Freeform 1505">
              <a:extLst>
                <a:ext uri="{FF2B5EF4-FFF2-40B4-BE49-F238E27FC236}">
                  <a16:creationId xmlns:a16="http://schemas.microsoft.com/office/drawing/2014/main" id="{AF2480E3-EDD0-4410-81BD-7D0C0638B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4599" y="5777967"/>
              <a:ext cx="326263" cy="327528"/>
            </a:xfrm>
            <a:custGeom>
              <a:avLst/>
              <a:gdLst>
                <a:gd name="T0" fmla="*/ 90 w 180"/>
                <a:gd name="T1" fmla="*/ 9 h 180"/>
                <a:gd name="T2" fmla="*/ 164 w 180"/>
                <a:gd name="T3" fmla="*/ 56 h 180"/>
                <a:gd name="T4" fmla="*/ 90 w 180"/>
                <a:gd name="T5" fmla="*/ 49 h 180"/>
                <a:gd name="T6" fmla="*/ 16 w 180"/>
                <a:gd name="T7" fmla="*/ 56 h 180"/>
                <a:gd name="T8" fmla="*/ 90 w 180"/>
                <a:gd name="T9" fmla="*/ 9 h 180"/>
                <a:gd name="T10" fmla="*/ 113 w 180"/>
                <a:gd name="T11" fmla="*/ 168 h 180"/>
                <a:gd name="T12" fmla="*/ 113 w 180"/>
                <a:gd name="T13" fmla="*/ 167 h 180"/>
                <a:gd name="T14" fmla="*/ 170 w 180"/>
                <a:gd name="T15" fmla="*/ 105 h 180"/>
                <a:gd name="T16" fmla="*/ 113 w 180"/>
                <a:gd name="T17" fmla="*/ 168 h 180"/>
                <a:gd name="T18" fmla="*/ 76 w 180"/>
                <a:gd name="T19" fmla="*/ 170 h 180"/>
                <a:gd name="T20" fmla="*/ 76 w 180"/>
                <a:gd name="T21" fmla="*/ 167 h 180"/>
                <a:gd name="T22" fmla="*/ 75 w 180"/>
                <a:gd name="T23" fmla="*/ 157 h 180"/>
                <a:gd name="T24" fmla="*/ 90 w 180"/>
                <a:gd name="T25" fmla="*/ 159 h 180"/>
                <a:gd name="T26" fmla="*/ 105 w 180"/>
                <a:gd name="T27" fmla="*/ 157 h 180"/>
                <a:gd name="T28" fmla="*/ 104 w 180"/>
                <a:gd name="T29" fmla="*/ 167 h 180"/>
                <a:gd name="T30" fmla="*/ 104 w 180"/>
                <a:gd name="T31" fmla="*/ 170 h 180"/>
                <a:gd name="T32" fmla="*/ 90 w 180"/>
                <a:gd name="T33" fmla="*/ 172 h 180"/>
                <a:gd name="T34" fmla="*/ 76 w 180"/>
                <a:gd name="T35" fmla="*/ 170 h 180"/>
                <a:gd name="T36" fmla="*/ 10 w 180"/>
                <a:gd name="T37" fmla="*/ 105 h 180"/>
                <a:gd name="T38" fmla="*/ 67 w 180"/>
                <a:gd name="T39" fmla="*/ 167 h 180"/>
                <a:gd name="T40" fmla="*/ 67 w 180"/>
                <a:gd name="T41" fmla="*/ 168 h 180"/>
                <a:gd name="T42" fmla="*/ 10 w 180"/>
                <a:gd name="T43" fmla="*/ 105 h 180"/>
                <a:gd name="T44" fmla="*/ 22 w 180"/>
                <a:gd name="T45" fmla="*/ 98 h 180"/>
                <a:gd name="T46" fmla="*/ 9 w 180"/>
                <a:gd name="T47" fmla="*/ 96 h 180"/>
                <a:gd name="T48" fmla="*/ 8 w 180"/>
                <a:gd name="T49" fmla="*/ 90 h 180"/>
                <a:gd name="T50" fmla="*/ 12 w 180"/>
                <a:gd name="T51" fmla="*/ 66 h 180"/>
                <a:gd name="T52" fmla="*/ 27 w 180"/>
                <a:gd name="T53" fmla="*/ 63 h 180"/>
                <a:gd name="T54" fmla="*/ 22 w 180"/>
                <a:gd name="T55" fmla="*/ 98 h 180"/>
                <a:gd name="T56" fmla="*/ 142 w 180"/>
                <a:gd name="T57" fmla="*/ 61 h 180"/>
                <a:gd name="T58" fmla="*/ 149 w 180"/>
                <a:gd name="T59" fmla="*/ 101 h 180"/>
                <a:gd name="T60" fmla="*/ 107 w 180"/>
                <a:gd name="T61" fmla="*/ 147 h 180"/>
                <a:gd name="T62" fmla="*/ 73 w 180"/>
                <a:gd name="T63" fmla="*/ 147 h 180"/>
                <a:gd name="T64" fmla="*/ 31 w 180"/>
                <a:gd name="T65" fmla="*/ 101 h 180"/>
                <a:gd name="T66" fmla="*/ 38 w 180"/>
                <a:gd name="T67" fmla="*/ 61 h 180"/>
                <a:gd name="T68" fmla="*/ 90 w 180"/>
                <a:gd name="T69" fmla="*/ 58 h 180"/>
                <a:gd name="T70" fmla="*/ 142 w 180"/>
                <a:gd name="T71" fmla="*/ 61 h 180"/>
                <a:gd name="T72" fmla="*/ 171 w 180"/>
                <a:gd name="T73" fmla="*/ 90 h 180"/>
                <a:gd name="T74" fmla="*/ 171 w 180"/>
                <a:gd name="T75" fmla="*/ 96 h 180"/>
                <a:gd name="T76" fmla="*/ 158 w 180"/>
                <a:gd name="T77" fmla="*/ 98 h 180"/>
                <a:gd name="T78" fmla="*/ 153 w 180"/>
                <a:gd name="T79" fmla="*/ 63 h 180"/>
                <a:gd name="T80" fmla="*/ 168 w 180"/>
                <a:gd name="T81" fmla="*/ 66 h 180"/>
                <a:gd name="T82" fmla="*/ 171 w 180"/>
                <a:gd name="T83" fmla="*/ 90 h 180"/>
                <a:gd name="T84" fmla="*/ 90 w 180"/>
                <a:gd name="T85" fmla="*/ 180 h 180"/>
                <a:gd name="T86" fmla="*/ 180 w 180"/>
                <a:gd name="T87" fmla="*/ 90 h 180"/>
                <a:gd name="T88" fmla="*/ 175 w 180"/>
                <a:gd name="T89" fmla="*/ 61 h 180"/>
                <a:gd name="T90" fmla="*/ 175 w 180"/>
                <a:gd name="T91" fmla="*/ 61 h 180"/>
                <a:gd name="T92" fmla="*/ 90 w 180"/>
                <a:gd name="T93" fmla="*/ 0 h 180"/>
                <a:gd name="T94" fmla="*/ 0 w 180"/>
                <a:gd name="T95" fmla="*/ 90 h 180"/>
                <a:gd name="T96" fmla="*/ 90 w 180"/>
                <a:gd name="T9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0" h="180">
                  <a:moveTo>
                    <a:pt x="90" y="9"/>
                  </a:moveTo>
                  <a:cubicBezTo>
                    <a:pt x="123" y="9"/>
                    <a:pt x="151" y="28"/>
                    <a:pt x="164" y="56"/>
                  </a:cubicBezTo>
                  <a:cubicBezTo>
                    <a:pt x="140" y="51"/>
                    <a:pt x="115" y="49"/>
                    <a:pt x="90" y="49"/>
                  </a:cubicBezTo>
                  <a:cubicBezTo>
                    <a:pt x="65" y="49"/>
                    <a:pt x="40" y="51"/>
                    <a:pt x="16" y="56"/>
                  </a:cubicBezTo>
                  <a:cubicBezTo>
                    <a:pt x="29" y="28"/>
                    <a:pt x="57" y="9"/>
                    <a:pt x="90" y="9"/>
                  </a:cubicBezTo>
                  <a:moveTo>
                    <a:pt x="113" y="168"/>
                  </a:moveTo>
                  <a:cubicBezTo>
                    <a:pt x="113" y="168"/>
                    <a:pt x="113" y="168"/>
                    <a:pt x="113" y="167"/>
                  </a:cubicBezTo>
                  <a:cubicBezTo>
                    <a:pt x="113" y="135"/>
                    <a:pt x="138" y="108"/>
                    <a:pt x="170" y="105"/>
                  </a:cubicBezTo>
                  <a:cubicBezTo>
                    <a:pt x="164" y="136"/>
                    <a:pt x="142" y="160"/>
                    <a:pt x="113" y="168"/>
                  </a:cubicBezTo>
                  <a:moveTo>
                    <a:pt x="76" y="170"/>
                  </a:moveTo>
                  <a:cubicBezTo>
                    <a:pt x="76" y="169"/>
                    <a:pt x="76" y="168"/>
                    <a:pt x="76" y="167"/>
                  </a:cubicBezTo>
                  <a:cubicBezTo>
                    <a:pt x="76" y="164"/>
                    <a:pt x="76" y="160"/>
                    <a:pt x="75" y="157"/>
                  </a:cubicBezTo>
                  <a:cubicBezTo>
                    <a:pt x="80" y="158"/>
                    <a:pt x="85" y="159"/>
                    <a:pt x="90" y="159"/>
                  </a:cubicBezTo>
                  <a:cubicBezTo>
                    <a:pt x="95" y="159"/>
                    <a:pt x="100" y="158"/>
                    <a:pt x="105" y="157"/>
                  </a:cubicBezTo>
                  <a:cubicBezTo>
                    <a:pt x="104" y="160"/>
                    <a:pt x="104" y="164"/>
                    <a:pt x="104" y="167"/>
                  </a:cubicBezTo>
                  <a:cubicBezTo>
                    <a:pt x="104" y="168"/>
                    <a:pt x="104" y="169"/>
                    <a:pt x="104" y="170"/>
                  </a:cubicBezTo>
                  <a:cubicBezTo>
                    <a:pt x="100" y="171"/>
                    <a:pt x="95" y="172"/>
                    <a:pt x="90" y="172"/>
                  </a:cubicBezTo>
                  <a:cubicBezTo>
                    <a:pt x="85" y="172"/>
                    <a:pt x="80" y="171"/>
                    <a:pt x="76" y="170"/>
                  </a:cubicBezTo>
                  <a:moveTo>
                    <a:pt x="10" y="105"/>
                  </a:moveTo>
                  <a:cubicBezTo>
                    <a:pt x="42" y="108"/>
                    <a:pt x="67" y="135"/>
                    <a:pt x="67" y="167"/>
                  </a:cubicBezTo>
                  <a:cubicBezTo>
                    <a:pt x="67" y="168"/>
                    <a:pt x="67" y="168"/>
                    <a:pt x="67" y="168"/>
                  </a:cubicBezTo>
                  <a:cubicBezTo>
                    <a:pt x="38" y="160"/>
                    <a:pt x="16" y="136"/>
                    <a:pt x="10" y="105"/>
                  </a:cubicBezTo>
                  <a:moveTo>
                    <a:pt x="22" y="98"/>
                  </a:moveTo>
                  <a:cubicBezTo>
                    <a:pt x="18" y="97"/>
                    <a:pt x="13" y="97"/>
                    <a:pt x="9" y="96"/>
                  </a:cubicBezTo>
                  <a:cubicBezTo>
                    <a:pt x="9" y="94"/>
                    <a:pt x="8" y="92"/>
                    <a:pt x="8" y="90"/>
                  </a:cubicBezTo>
                  <a:cubicBezTo>
                    <a:pt x="8" y="82"/>
                    <a:pt x="10" y="74"/>
                    <a:pt x="12" y="66"/>
                  </a:cubicBezTo>
                  <a:cubicBezTo>
                    <a:pt x="17" y="65"/>
                    <a:pt x="22" y="64"/>
                    <a:pt x="27" y="63"/>
                  </a:cubicBezTo>
                  <a:cubicBezTo>
                    <a:pt x="22" y="74"/>
                    <a:pt x="21" y="86"/>
                    <a:pt x="22" y="98"/>
                  </a:cubicBezTo>
                  <a:moveTo>
                    <a:pt x="142" y="61"/>
                  </a:moveTo>
                  <a:cubicBezTo>
                    <a:pt x="149" y="73"/>
                    <a:pt x="151" y="88"/>
                    <a:pt x="149" y="101"/>
                  </a:cubicBezTo>
                  <a:cubicBezTo>
                    <a:pt x="129" y="110"/>
                    <a:pt x="113" y="126"/>
                    <a:pt x="107" y="147"/>
                  </a:cubicBezTo>
                  <a:cubicBezTo>
                    <a:pt x="96" y="151"/>
                    <a:pt x="84" y="151"/>
                    <a:pt x="73" y="147"/>
                  </a:cubicBezTo>
                  <a:cubicBezTo>
                    <a:pt x="67" y="126"/>
                    <a:pt x="51" y="110"/>
                    <a:pt x="31" y="101"/>
                  </a:cubicBezTo>
                  <a:cubicBezTo>
                    <a:pt x="29" y="88"/>
                    <a:pt x="31" y="73"/>
                    <a:pt x="38" y="61"/>
                  </a:cubicBezTo>
                  <a:cubicBezTo>
                    <a:pt x="55" y="59"/>
                    <a:pt x="73" y="58"/>
                    <a:pt x="90" y="58"/>
                  </a:cubicBezTo>
                  <a:cubicBezTo>
                    <a:pt x="107" y="58"/>
                    <a:pt x="125" y="59"/>
                    <a:pt x="142" y="61"/>
                  </a:cubicBezTo>
                  <a:moveTo>
                    <a:pt x="171" y="90"/>
                  </a:moveTo>
                  <a:cubicBezTo>
                    <a:pt x="171" y="92"/>
                    <a:pt x="171" y="94"/>
                    <a:pt x="171" y="96"/>
                  </a:cubicBezTo>
                  <a:cubicBezTo>
                    <a:pt x="167" y="97"/>
                    <a:pt x="162" y="97"/>
                    <a:pt x="158" y="98"/>
                  </a:cubicBezTo>
                  <a:cubicBezTo>
                    <a:pt x="159" y="86"/>
                    <a:pt x="157" y="74"/>
                    <a:pt x="153" y="63"/>
                  </a:cubicBezTo>
                  <a:cubicBezTo>
                    <a:pt x="158" y="64"/>
                    <a:pt x="163" y="65"/>
                    <a:pt x="168" y="66"/>
                  </a:cubicBezTo>
                  <a:cubicBezTo>
                    <a:pt x="170" y="74"/>
                    <a:pt x="171" y="82"/>
                    <a:pt x="171" y="90"/>
                  </a:cubicBezTo>
                  <a:moveTo>
                    <a:pt x="90" y="180"/>
                  </a:moveTo>
                  <a:cubicBezTo>
                    <a:pt x="140" y="180"/>
                    <a:pt x="180" y="140"/>
                    <a:pt x="180" y="90"/>
                  </a:cubicBezTo>
                  <a:cubicBezTo>
                    <a:pt x="180" y="80"/>
                    <a:pt x="179" y="70"/>
                    <a:pt x="175" y="61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63" y="25"/>
                    <a:pt x="129" y="0"/>
                    <a:pt x="90" y="0"/>
                  </a:cubicBezTo>
                  <a:cubicBezTo>
                    <a:pt x="40" y="0"/>
                    <a:pt x="0" y="40"/>
                    <a:pt x="0" y="90"/>
                  </a:cubicBezTo>
                  <a:cubicBezTo>
                    <a:pt x="0" y="140"/>
                    <a:pt x="40" y="180"/>
                    <a:pt x="90" y="1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chemeClr val="bg1"/>
                </a:solidFill>
              </a:endParaRPr>
            </a:p>
          </p:txBody>
        </p:sp>
        <p:sp>
          <p:nvSpPr>
            <p:cNvPr id="53" name="Freeform 1506">
              <a:extLst>
                <a:ext uri="{FF2B5EF4-FFF2-40B4-BE49-F238E27FC236}">
                  <a16:creationId xmlns:a16="http://schemas.microsoft.com/office/drawing/2014/main" id="{0B11D53E-90EB-438C-AB99-F18C576ABB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67264" y="5901896"/>
              <a:ext cx="79669" cy="79669"/>
            </a:xfrm>
            <a:custGeom>
              <a:avLst/>
              <a:gdLst>
                <a:gd name="T0" fmla="*/ 22 w 44"/>
                <a:gd name="T1" fmla="*/ 9 h 44"/>
                <a:gd name="T2" fmla="*/ 35 w 44"/>
                <a:gd name="T3" fmla="*/ 22 h 44"/>
                <a:gd name="T4" fmla="*/ 22 w 44"/>
                <a:gd name="T5" fmla="*/ 35 h 44"/>
                <a:gd name="T6" fmla="*/ 9 w 44"/>
                <a:gd name="T7" fmla="*/ 22 h 44"/>
                <a:gd name="T8" fmla="*/ 22 w 44"/>
                <a:gd name="T9" fmla="*/ 9 h 44"/>
                <a:gd name="T10" fmla="*/ 0 w 44"/>
                <a:gd name="T11" fmla="*/ 22 h 44"/>
                <a:gd name="T12" fmla="*/ 22 w 44"/>
                <a:gd name="T13" fmla="*/ 44 h 44"/>
                <a:gd name="T14" fmla="*/ 44 w 44"/>
                <a:gd name="T15" fmla="*/ 22 h 44"/>
                <a:gd name="T16" fmla="*/ 22 w 44"/>
                <a:gd name="T17" fmla="*/ 0 h 44"/>
                <a:gd name="T18" fmla="*/ 0 w 44"/>
                <a:gd name="T1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22" y="9"/>
                  </a:moveTo>
                  <a:cubicBezTo>
                    <a:pt x="29" y="9"/>
                    <a:pt x="35" y="15"/>
                    <a:pt x="35" y="22"/>
                  </a:cubicBezTo>
                  <a:cubicBezTo>
                    <a:pt x="35" y="29"/>
                    <a:pt x="29" y="35"/>
                    <a:pt x="22" y="35"/>
                  </a:cubicBezTo>
                  <a:cubicBezTo>
                    <a:pt x="15" y="35"/>
                    <a:pt x="9" y="29"/>
                    <a:pt x="9" y="22"/>
                  </a:cubicBezTo>
                  <a:cubicBezTo>
                    <a:pt x="9" y="15"/>
                    <a:pt x="15" y="9"/>
                    <a:pt x="22" y="9"/>
                  </a:cubicBezTo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chemeClr val="bg1"/>
                </a:solidFill>
              </a:endParaRPr>
            </a:p>
          </p:txBody>
        </p:sp>
        <p:sp>
          <p:nvSpPr>
            <p:cNvPr id="54" name="Freeform 1507">
              <a:extLst>
                <a:ext uri="{FF2B5EF4-FFF2-40B4-BE49-F238E27FC236}">
                  <a16:creationId xmlns:a16="http://schemas.microsoft.com/office/drawing/2014/main" id="{E9B45D2D-8973-4986-A2C3-BD5D0A57E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1039" y="5794407"/>
              <a:ext cx="17704" cy="16440"/>
            </a:xfrm>
            <a:custGeom>
              <a:avLst/>
              <a:gdLst>
                <a:gd name="T0" fmla="*/ 5 w 10"/>
                <a:gd name="T1" fmla="*/ 9 h 9"/>
                <a:gd name="T2" fmla="*/ 8 w 10"/>
                <a:gd name="T3" fmla="*/ 8 h 9"/>
                <a:gd name="T4" fmla="*/ 8 w 10"/>
                <a:gd name="T5" fmla="*/ 2 h 9"/>
                <a:gd name="T6" fmla="*/ 2 w 10"/>
                <a:gd name="T7" fmla="*/ 2 h 9"/>
                <a:gd name="T8" fmla="*/ 2 w 10"/>
                <a:gd name="T9" fmla="*/ 2 h 9"/>
                <a:gd name="T10" fmla="*/ 2 w 10"/>
                <a:gd name="T11" fmla="*/ 8 h 9"/>
                <a:gd name="T12" fmla="*/ 5 w 10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5" y="9"/>
                  </a:moveTo>
                  <a:cubicBezTo>
                    <a:pt x="6" y="9"/>
                    <a:pt x="7" y="9"/>
                    <a:pt x="8" y="8"/>
                  </a:cubicBezTo>
                  <a:cubicBezTo>
                    <a:pt x="10" y="6"/>
                    <a:pt x="10" y="4"/>
                    <a:pt x="8" y="2"/>
                  </a:cubicBezTo>
                  <a:cubicBezTo>
                    <a:pt x="6" y="0"/>
                    <a:pt x="3" y="0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4"/>
                    <a:pt x="0" y="6"/>
                    <a:pt x="2" y="8"/>
                  </a:cubicBezTo>
                  <a:cubicBezTo>
                    <a:pt x="3" y="9"/>
                    <a:pt x="4" y="9"/>
                    <a:pt x="5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chemeClr val="bg1"/>
                </a:solidFill>
              </a:endParaRPr>
            </a:p>
          </p:txBody>
        </p:sp>
      </p:grpSp>
      <p:sp>
        <p:nvSpPr>
          <p:cNvPr id="56" name="Freeform 5">
            <a:extLst>
              <a:ext uri="{FF2B5EF4-FFF2-40B4-BE49-F238E27FC236}">
                <a16:creationId xmlns:a16="http://schemas.microsoft.com/office/drawing/2014/main" id="{0E8C4B74-1B66-4E83-AD66-E29A3D914191}"/>
              </a:ext>
            </a:extLst>
          </p:cNvPr>
          <p:cNvSpPr>
            <a:spLocks/>
          </p:cNvSpPr>
          <p:nvPr/>
        </p:nvSpPr>
        <p:spPr bwMode="auto">
          <a:xfrm>
            <a:off x="8220783" y="2597920"/>
            <a:ext cx="868338" cy="215281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57" name="Agrupar 56">
            <a:extLst>
              <a:ext uri="{FF2B5EF4-FFF2-40B4-BE49-F238E27FC236}">
                <a16:creationId xmlns:a16="http://schemas.microsoft.com/office/drawing/2014/main" id="{C6B86BDA-102C-44CA-91BF-58F3BE730953}"/>
              </a:ext>
            </a:extLst>
          </p:cNvPr>
          <p:cNvGrpSpPr/>
          <p:nvPr/>
        </p:nvGrpSpPr>
        <p:grpSpPr>
          <a:xfrm>
            <a:off x="8321074" y="2280056"/>
            <a:ext cx="667757" cy="463817"/>
            <a:chOff x="8377589" y="3734397"/>
            <a:chExt cx="467897" cy="324998"/>
          </a:xfrm>
          <a:solidFill>
            <a:schemeClr val="bg1"/>
          </a:solidFill>
        </p:grpSpPr>
        <p:sp>
          <p:nvSpPr>
            <p:cNvPr id="58" name="Freeform 990">
              <a:extLst>
                <a:ext uri="{FF2B5EF4-FFF2-40B4-BE49-F238E27FC236}">
                  <a16:creationId xmlns:a16="http://schemas.microsoft.com/office/drawing/2014/main" id="{12295930-75E0-4432-BA83-FE676AEB6E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7589" y="3864649"/>
              <a:ext cx="196011" cy="194746"/>
            </a:xfrm>
            <a:custGeom>
              <a:avLst/>
              <a:gdLst>
                <a:gd name="T0" fmla="*/ 54 w 108"/>
                <a:gd name="T1" fmla="*/ 107 h 107"/>
                <a:gd name="T2" fmla="*/ 0 w 108"/>
                <a:gd name="T3" fmla="*/ 53 h 107"/>
                <a:gd name="T4" fmla="*/ 54 w 108"/>
                <a:gd name="T5" fmla="*/ 0 h 107"/>
                <a:gd name="T6" fmla="*/ 108 w 108"/>
                <a:gd name="T7" fmla="*/ 53 h 107"/>
                <a:gd name="T8" fmla="*/ 54 w 108"/>
                <a:gd name="T9" fmla="*/ 107 h 107"/>
                <a:gd name="T10" fmla="*/ 54 w 108"/>
                <a:gd name="T11" fmla="*/ 6 h 107"/>
                <a:gd name="T12" fmla="*/ 7 w 108"/>
                <a:gd name="T13" fmla="*/ 53 h 107"/>
                <a:gd name="T14" fmla="*/ 54 w 108"/>
                <a:gd name="T15" fmla="*/ 100 h 107"/>
                <a:gd name="T16" fmla="*/ 101 w 108"/>
                <a:gd name="T17" fmla="*/ 53 h 107"/>
                <a:gd name="T18" fmla="*/ 54 w 108"/>
                <a:gd name="T19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7">
                  <a:moveTo>
                    <a:pt x="54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8" y="24"/>
                    <a:pt x="108" y="53"/>
                  </a:cubicBezTo>
                  <a:cubicBezTo>
                    <a:pt x="108" y="83"/>
                    <a:pt x="83" y="107"/>
                    <a:pt x="54" y="107"/>
                  </a:cubicBezTo>
                  <a:close/>
                  <a:moveTo>
                    <a:pt x="54" y="6"/>
                  </a:moveTo>
                  <a:cubicBezTo>
                    <a:pt x="28" y="6"/>
                    <a:pt x="7" y="27"/>
                    <a:pt x="7" y="53"/>
                  </a:cubicBezTo>
                  <a:cubicBezTo>
                    <a:pt x="7" y="79"/>
                    <a:pt x="28" y="100"/>
                    <a:pt x="54" y="100"/>
                  </a:cubicBezTo>
                  <a:cubicBezTo>
                    <a:pt x="80" y="100"/>
                    <a:pt x="101" y="79"/>
                    <a:pt x="101" y="53"/>
                  </a:cubicBezTo>
                  <a:cubicBezTo>
                    <a:pt x="101" y="27"/>
                    <a:pt x="80" y="6"/>
                    <a:pt x="5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9" name="Freeform 991">
              <a:extLst>
                <a:ext uri="{FF2B5EF4-FFF2-40B4-BE49-F238E27FC236}">
                  <a16:creationId xmlns:a16="http://schemas.microsoft.com/office/drawing/2014/main" id="{711CFF5D-20DD-4686-9901-226707EFE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9204" y="3893734"/>
              <a:ext cx="134046" cy="134046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7 h 74"/>
                <a:gd name="T12" fmla="*/ 7 w 74"/>
                <a:gd name="T13" fmla="*/ 37 h 74"/>
                <a:gd name="T14" fmla="*/ 37 w 74"/>
                <a:gd name="T15" fmla="*/ 67 h 74"/>
                <a:gd name="T16" fmla="*/ 67 w 74"/>
                <a:gd name="T17" fmla="*/ 37 h 74"/>
                <a:gd name="T18" fmla="*/ 37 w 74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7"/>
                  </a:moveTo>
                  <a:cubicBezTo>
                    <a:pt x="20" y="7"/>
                    <a:pt x="7" y="21"/>
                    <a:pt x="7" y="37"/>
                  </a:cubicBezTo>
                  <a:cubicBezTo>
                    <a:pt x="7" y="54"/>
                    <a:pt x="20" y="67"/>
                    <a:pt x="37" y="67"/>
                  </a:cubicBezTo>
                  <a:cubicBezTo>
                    <a:pt x="53" y="67"/>
                    <a:pt x="67" y="54"/>
                    <a:pt x="67" y="37"/>
                  </a:cubicBezTo>
                  <a:cubicBezTo>
                    <a:pt x="67" y="21"/>
                    <a:pt x="53" y="7"/>
                    <a:pt x="3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0" name="Freeform 992">
              <a:extLst>
                <a:ext uri="{FF2B5EF4-FFF2-40B4-BE49-F238E27FC236}">
                  <a16:creationId xmlns:a16="http://schemas.microsoft.com/office/drawing/2014/main" id="{05F30D83-778F-4FD4-8FDC-C4B7B400C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2004" y="3864649"/>
              <a:ext cx="193482" cy="194746"/>
            </a:xfrm>
            <a:custGeom>
              <a:avLst/>
              <a:gdLst>
                <a:gd name="T0" fmla="*/ 54 w 107"/>
                <a:gd name="T1" fmla="*/ 107 h 107"/>
                <a:gd name="T2" fmla="*/ 0 w 107"/>
                <a:gd name="T3" fmla="*/ 53 h 107"/>
                <a:gd name="T4" fmla="*/ 54 w 107"/>
                <a:gd name="T5" fmla="*/ 0 h 107"/>
                <a:gd name="T6" fmla="*/ 107 w 107"/>
                <a:gd name="T7" fmla="*/ 53 h 107"/>
                <a:gd name="T8" fmla="*/ 54 w 107"/>
                <a:gd name="T9" fmla="*/ 107 h 107"/>
                <a:gd name="T10" fmla="*/ 54 w 107"/>
                <a:gd name="T11" fmla="*/ 6 h 107"/>
                <a:gd name="T12" fmla="*/ 7 w 107"/>
                <a:gd name="T13" fmla="*/ 53 h 107"/>
                <a:gd name="T14" fmla="*/ 54 w 107"/>
                <a:gd name="T15" fmla="*/ 100 h 107"/>
                <a:gd name="T16" fmla="*/ 101 w 107"/>
                <a:gd name="T17" fmla="*/ 53 h 107"/>
                <a:gd name="T18" fmla="*/ 54 w 107"/>
                <a:gd name="T19" fmla="*/ 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7">
                  <a:moveTo>
                    <a:pt x="54" y="107"/>
                  </a:moveTo>
                  <a:cubicBezTo>
                    <a:pt x="24" y="107"/>
                    <a:pt x="0" y="83"/>
                    <a:pt x="0" y="53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7" y="24"/>
                    <a:pt x="107" y="53"/>
                  </a:cubicBezTo>
                  <a:cubicBezTo>
                    <a:pt x="107" y="83"/>
                    <a:pt x="83" y="107"/>
                    <a:pt x="54" y="107"/>
                  </a:cubicBezTo>
                  <a:close/>
                  <a:moveTo>
                    <a:pt x="54" y="6"/>
                  </a:moveTo>
                  <a:cubicBezTo>
                    <a:pt x="28" y="6"/>
                    <a:pt x="7" y="27"/>
                    <a:pt x="7" y="53"/>
                  </a:cubicBezTo>
                  <a:cubicBezTo>
                    <a:pt x="7" y="79"/>
                    <a:pt x="28" y="100"/>
                    <a:pt x="54" y="100"/>
                  </a:cubicBezTo>
                  <a:cubicBezTo>
                    <a:pt x="80" y="100"/>
                    <a:pt x="101" y="79"/>
                    <a:pt x="101" y="53"/>
                  </a:cubicBezTo>
                  <a:cubicBezTo>
                    <a:pt x="101" y="27"/>
                    <a:pt x="80" y="6"/>
                    <a:pt x="5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Freeform 993">
              <a:extLst>
                <a:ext uri="{FF2B5EF4-FFF2-40B4-BE49-F238E27FC236}">
                  <a16:creationId xmlns:a16="http://schemas.microsoft.com/office/drawing/2014/main" id="{6FCFC27E-AEC6-4AF3-B992-5CAA2E27A5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2354" y="3893734"/>
              <a:ext cx="135311" cy="134046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7 h 74"/>
                <a:gd name="T12" fmla="*/ 7 w 74"/>
                <a:gd name="T13" fmla="*/ 37 h 74"/>
                <a:gd name="T14" fmla="*/ 37 w 74"/>
                <a:gd name="T15" fmla="*/ 67 h 74"/>
                <a:gd name="T16" fmla="*/ 67 w 74"/>
                <a:gd name="T17" fmla="*/ 37 h 74"/>
                <a:gd name="T18" fmla="*/ 37 w 74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7"/>
                  </a:moveTo>
                  <a:cubicBezTo>
                    <a:pt x="20" y="7"/>
                    <a:pt x="7" y="21"/>
                    <a:pt x="7" y="37"/>
                  </a:cubicBezTo>
                  <a:cubicBezTo>
                    <a:pt x="7" y="54"/>
                    <a:pt x="20" y="67"/>
                    <a:pt x="37" y="67"/>
                  </a:cubicBezTo>
                  <a:cubicBezTo>
                    <a:pt x="53" y="67"/>
                    <a:pt x="67" y="54"/>
                    <a:pt x="67" y="37"/>
                  </a:cubicBezTo>
                  <a:cubicBezTo>
                    <a:pt x="67" y="21"/>
                    <a:pt x="53" y="7"/>
                    <a:pt x="3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Freeform 994">
              <a:extLst>
                <a:ext uri="{FF2B5EF4-FFF2-40B4-BE49-F238E27FC236}">
                  <a16:creationId xmlns:a16="http://schemas.microsoft.com/office/drawing/2014/main" id="{EE305C41-F436-4A16-9EAB-18C7BF85A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8639" y="3817859"/>
              <a:ext cx="140369" cy="150486"/>
            </a:xfrm>
            <a:custGeom>
              <a:avLst/>
              <a:gdLst>
                <a:gd name="T0" fmla="*/ 67 w 77"/>
                <a:gd name="T1" fmla="*/ 83 h 83"/>
                <a:gd name="T2" fmla="*/ 4 w 77"/>
                <a:gd name="T3" fmla="*/ 83 h 83"/>
                <a:gd name="T4" fmla="*/ 1 w 77"/>
                <a:gd name="T5" fmla="*/ 81 h 83"/>
                <a:gd name="T6" fmla="*/ 1 w 77"/>
                <a:gd name="T7" fmla="*/ 78 h 83"/>
                <a:gd name="T8" fmla="*/ 38 w 77"/>
                <a:gd name="T9" fmla="*/ 2 h 83"/>
                <a:gd name="T10" fmla="*/ 42 w 77"/>
                <a:gd name="T11" fmla="*/ 0 h 83"/>
                <a:gd name="T12" fmla="*/ 42 w 77"/>
                <a:gd name="T13" fmla="*/ 0 h 83"/>
                <a:gd name="T14" fmla="*/ 45 w 77"/>
                <a:gd name="T15" fmla="*/ 2 h 83"/>
                <a:gd name="T16" fmla="*/ 77 w 77"/>
                <a:gd name="T17" fmla="*/ 67 h 83"/>
                <a:gd name="T18" fmla="*/ 77 w 77"/>
                <a:gd name="T19" fmla="*/ 69 h 83"/>
                <a:gd name="T20" fmla="*/ 75 w 77"/>
                <a:gd name="T21" fmla="*/ 71 h 83"/>
                <a:gd name="T22" fmla="*/ 70 w 77"/>
                <a:gd name="T23" fmla="*/ 79 h 83"/>
                <a:gd name="T24" fmla="*/ 67 w 77"/>
                <a:gd name="T25" fmla="*/ 83 h 83"/>
                <a:gd name="T26" fmla="*/ 9 w 77"/>
                <a:gd name="T27" fmla="*/ 76 h 83"/>
                <a:gd name="T28" fmla="*/ 64 w 77"/>
                <a:gd name="T29" fmla="*/ 76 h 83"/>
                <a:gd name="T30" fmla="*/ 69 w 77"/>
                <a:gd name="T31" fmla="*/ 67 h 83"/>
                <a:gd name="T32" fmla="*/ 42 w 77"/>
                <a:gd name="T33" fmla="*/ 11 h 83"/>
                <a:gd name="T34" fmla="*/ 9 w 77"/>
                <a:gd name="T35" fmla="*/ 7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" h="83">
                  <a:moveTo>
                    <a:pt x="67" y="83"/>
                  </a:moveTo>
                  <a:cubicBezTo>
                    <a:pt x="4" y="83"/>
                    <a:pt x="4" y="83"/>
                    <a:pt x="4" y="83"/>
                  </a:cubicBezTo>
                  <a:cubicBezTo>
                    <a:pt x="3" y="83"/>
                    <a:pt x="2" y="82"/>
                    <a:pt x="1" y="81"/>
                  </a:cubicBezTo>
                  <a:cubicBezTo>
                    <a:pt x="0" y="80"/>
                    <a:pt x="0" y="79"/>
                    <a:pt x="1" y="78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9" y="1"/>
                    <a:pt x="40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5" y="2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77" y="67"/>
                    <a:pt x="77" y="68"/>
                    <a:pt x="77" y="69"/>
                  </a:cubicBezTo>
                  <a:cubicBezTo>
                    <a:pt x="77" y="70"/>
                    <a:pt x="76" y="71"/>
                    <a:pt x="75" y="71"/>
                  </a:cubicBezTo>
                  <a:cubicBezTo>
                    <a:pt x="72" y="73"/>
                    <a:pt x="70" y="76"/>
                    <a:pt x="70" y="79"/>
                  </a:cubicBezTo>
                  <a:cubicBezTo>
                    <a:pt x="70" y="81"/>
                    <a:pt x="69" y="83"/>
                    <a:pt x="67" y="83"/>
                  </a:cubicBezTo>
                  <a:close/>
                  <a:moveTo>
                    <a:pt x="9" y="76"/>
                  </a:moveTo>
                  <a:cubicBezTo>
                    <a:pt x="64" y="76"/>
                    <a:pt x="64" y="76"/>
                    <a:pt x="64" y="76"/>
                  </a:cubicBezTo>
                  <a:cubicBezTo>
                    <a:pt x="64" y="72"/>
                    <a:pt x="66" y="69"/>
                    <a:pt x="69" y="67"/>
                  </a:cubicBezTo>
                  <a:cubicBezTo>
                    <a:pt x="42" y="11"/>
                    <a:pt x="42" y="11"/>
                    <a:pt x="42" y="11"/>
                  </a:cubicBezTo>
                  <a:lnTo>
                    <a:pt x="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Freeform 995">
              <a:extLst>
                <a:ext uri="{FF2B5EF4-FFF2-40B4-BE49-F238E27FC236}">
                  <a16:creationId xmlns:a16="http://schemas.microsoft.com/office/drawing/2014/main" id="{F14DFC94-9393-4E0C-A695-5F4E2462F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8192" y="3817859"/>
              <a:ext cx="188423" cy="132781"/>
            </a:xfrm>
            <a:custGeom>
              <a:avLst/>
              <a:gdLst>
                <a:gd name="T0" fmla="*/ 49 w 104"/>
                <a:gd name="T1" fmla="*/ 73 h 73"/>
                <a:gd name="T2" fmla="*/ 47 w 104"/>
                <a:gd name="T3" fmla="*/ 72 h 73"/>
                <a:gd name="T4" fmla="*/ 37 w 104"/>
                <a:gd name="T5" fmla="*/ 71 h 73"/>
                <a:gd name="T6" fmla="*/ 33 w 104"/>
                <a:gd name="T7" fmla="*/ 70 h 73"/>
                <a:gd name="T8" fmla="*/ 0 w 104"/>
                <a:gd name="T9" fmla="*/ 5 h 73"/>
                <a:gd name="T10" fmla="*/ 1 w 104"/>
                <a:gd name="T11" fmla="*/ 2 h 73"/>
                <a:gd name="T12" fmla="*/ 4 w 104"/>
                <a:gd name="T13" fmla="*/ 0 h 73"/>
                <a:gd name="T14" fmla="*/ 100 w 104"/>
                <a:gd name="T15" fmla="*/ 0 h 73"/>
                <a:gd name="T16" fmla="*/ 103 w 104"/>
                <a:gd name="T17" fmla="*/ 2 h 73"/>
                <a:gd name="T18" fmla="*/ 103 w 104"/>
                <a:gd name="T19" fmla="*/ 6 h 73"/>
                <a:gd name="T20" fmla="*/ 52 w 104"/>
                <a:gd name="T21" fmla="*/ 71 h 73"/>
                <a:gd name="T22" fmla="*/ 49 w 104"/>
                <a:gd name="T23" fmla="*/ 73 h 73"/>
                <a:gd name="T24" fmla="*/ 41 w 104"/>
                <a:gd name="T25" fmla="*/ 63 h 73"/>
                <a:gd name="T26" fmla="*/ 48 w 104"/>
                <a:gd name="T27" fmla="*/ 65 h 73"/>
                <a:gd name="T28" fmla="*/ 93 w 104"/>
                <a:gd name="T29" fmla="*/ 7 h 73"/>
                <a:gd name="T30" fmla="*/ 9 w 104"/>
                <a:gd name="T31" fmla="*/ 7 h 73"/>
                <a:gd name="T32" fmla="*/ 37 w 104"/>
                <a:gd name="T33" fmla="*/ 64 h 73"/>
                <a:gd name="T34" fmla="*/ 41 w 104"/>
                <a:gd name="T35" fmla="*/ 6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73">
                  <a:moveTo>
                    <a:pt x="49" y="73"/>
                  </a:moveTo>
                  <a:cubicBezTo>
                    <a:pt x="48" y="73"/>
                    <a:pt x="47" y="73"/>
                    <a:pt x="47" y="72"/>
                  </a:cubicBezTo>
                  <a:cubicBezTo>
                    <a:pt x="44" y="70"/>
                    <a:pt x="40" y="70"/>
                    <a:pt x="37" y="71"/>
                  </a:cubicBezTo>
                  <a:cubicBezTo>
                    <a:pt x="35" y="72"/>
                    <a:pt x="33" y="71"/>
                    <a:pt x="33" y="7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2" y="1"/>
                    <a:pt x="103" y="2"/>
                  </a:cubicBezTo>
                  <a:cubicBezTo>
                    <a:pt x="104" y="4"/>
                    <a:pt x="103" y="5"/>
                    <a:pt x="103" y="6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1" y="72"/>
                    <a:pt x="50" y="73"/>
                    <a:pt x="49" y="73"/>
                  </a:cubicBezTo>
                  <a:close/>
                  <a:moveTo>
                    <a:pt x="41" y="63"/>
                  </a:moveTo>
                  <a:cubicBezTo>
                    <a:pt x="44" y="63"/>
                    <a:pt x="46" y="64"/>
                    <a:pt x="48" y="65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9" y="63"/>
                    <a:pt x="40" y="63"/>
                    <a:pt x="41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Freeform 996">
              <a:extLst>
                <a:ext uri="{FF2B5EF4-FFF2-40B4-BE49-F238E27FC236}">
                  <a16:creationId xmlns:a16="http://schemas.microsoft.com/office/drawing/2014/main" id="{AB4EC06A-4695-42A7-A250-7C0442467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3969" y="3758424"/>
              <a:ext cx="72081" cy="209921"/>
            </a:xfrm>
            <a:custGeom>
              <a:avLst/>
              <a:gdLst>
                <a:gd name="T0" fmla="*/ 20 w 40"/>
                <a:gd name="T1" fmla="*/ 116 h 116"/>
                <a:gd name="T2" fmla="*/ 17 w 40"/>
                <a:gd name="T3" fmla="*/ 115 h 116"/>
                <a:gd name="T4" fmla="*/ 0 w 40"/>
                <a:gd name="T5" fmla="*/ 72 h 116"/>
                <a:gd name="T6" fmla="*/ 0 w 40"/>
                <a:gd name="T7" fmla="*/ 3 h 116"/>
                <a:gd name="T8" fmla="*/ 3 w 40"/>
                <a:gd name="T9" fmla="*/ 0 h 116"/>
                <a:gd name="T10" fmla="*/ 26 w 40"/>
                <a:gd name="T11" fmla="*/ 0 h 116"/>
                <a:gd name="T12" fmla="*/ 40 w 40"/>
                <a:gd name="T13" fmla="*/ 14 h 116"/>
                <a:gd name="T14" fmla="*/ 26 w 40"/>
                <a:gd name="T15" fmla="*/ 28 h 116"/>
                <a:gd name="T16" fmla="*/ 24 w 40"/>
                <a:gd name="T17" fmla="*/ 28 h 116"/>
                <a:gd name="T18" fmla="*/ 20 w 40"/>
                <a:gd name="T19" fmla="*/ 24 h 116"/>
                <a:gd name="T20" fmla="*/ 24 w 40"/>
                <a:gd name="T21" fmla="*/ 21 h 116"/>
                <a:gd name="T22" fmla="*/ 26 w 40"/>
                <a:gd name="T23" fmla="*/ 21 h 116"/>
                <a:gd name="T24" fmla="*/ 33 w 40"/>
                <a:gd name="T25" fmla="*/ 14 h 116"/>
                <a:gd name="T26" fmla="*/ 26 w 40"/>
                <a:gd name="T27" fmla="*/ 7 h 116"/>
                <a:gd name="T28" fmla="*/ 6 w 40"/>
                <a:gd name="T29" fmla="*/ 7 h 116"/>
                <a:gd name="T30" fmla="*/ 6 w 40"/>
                <a:gd name="T31" fmla="*/ 72 h 116"/>
                <a:gd name="T32" fmla="*/ 22 w 40"/>
                <a:gd name="T33" fmla="*/ 110 h 116"/>
                <a:gd name="T34" fmla="*/ 22 w 40"/>
                <a:gd name="T35" fmla="*/ 115 h 116"/>
                <a:gd name="T36" fmla="*/ 20 w 40"/>
                <a:gd name="T3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116">
                  <a:moveTo>
                    <a:pt x="20" y="116"/>
                  </a:moveTo>
                  <a:cubicBezTo>
                    <a:pt x="19" y="116"/>
                    <a:pt x="18" y="115"/>
                    <a:pt x="17" y="115"/>
                  </a:cubicBezTo>
                  <a:cubicBezTo>
                    <a:pt x="6" y="103"/>
                    <a:pt x="0" y="88"/>
                    <a:pt x="0" y="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4" y="0"/>
                    <a:pt x="40" y="6"/>
                    <a:pt x="40" y="14"/>
                  </a:cubicBezTo>
                  <a:cubicBezTo>
                    <a:pt x="40" y="21"/>
                    <a:pt x="34" y="28"/>
                    <a:pt x="26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2" y="28"/>
                    <a:pt x="20" y="26"/>
                    <a:pt x="20" y="24"/>
                  </a:cubicBezTo>
                  <a:cubicBezTo>
                    <a:pt x="20" y="22"/>
                    <a:pt x="22" y="21"/>
                    <a:pt x="24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30" y="21"/>
                    <a:pt x="33" y="18"/>
                    <a:pt x="33" y="14"/>
                  </a:cubicBezTo>
                  <a:cubicBezTo>
                    <a:pt x="33" y="10"/>
                    <a:pt x="30" y="7"/>
                    <a:pt x="2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86"/>
                    <a:pt x="12" y="100"/>
                    <a:pt x="22" y="110"/>
                  </a:cubicBezTo>
                  <a:cubicBezTo>
                    <a:pt x="23" y="111"/>
                    <a:pt x="23" y="113"/>
                    <a:pt x="22" y="115"/>
                  </a:cubicBezTo>
                  <a:cubicBezTo>
                    <a:pt x="21" y="115"/>
                    <a:pt x="21" y="116"/>
                    <a:pt x="20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Freeform 997">
              <a:extLst>
                <a:ext uri="{FF2B5EF4-FFF2-40B4-BE49-F238E27FC236}">
                  <a16:creationId xmlns:a16="http://schemas.microsoft.com/office/drawing/2014/main" id="{ECCAAE52-9084-4783-8142-3BA9016C06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2666" y="3734397"/>
              <a:ext cx="96108" cy="58171"/>
            </a:xfrm>
            <a:custGeom>
              <a:avLst/>
              <a:gdLst>
                <a:gd name="T0" fmla="*/ 41 w 53"/>
                <a:gd name="T1" fmla="*/ 32 h 32"/>
                <a:gd name="T2" fmla="*/ 20 w 53"/>
                <a:gd name="T3" fmla="*/ 32 h 32"/>
                <a:gd name="T4" fmla="*/ 0 w 53"/>
                <a:gd name="T5" fmla="*/ 12 h 32"/>
                <a:gd name="T6" fmla="*/ 12 w 53"/>
                <a:gd name="T7" fmla="*/ 0 h 32"/>
                <a:gd name="T8" fmla="*/ 18 w 53"/>
                <a:gd name="T9" fmla="*/ 0 h 32"/>
                <a:gd name="T10" fmla="*/ 31 w 53"/>
                <a:gd name="T11" fmla="*/ 6 h 32"/>
                <a:gd name="T12" fmla="*/ 39 w 53"/>
                <a:gd name="T13" fmla="*/ 9 h 32"/>
                <a:gd name="T14" fmla="*/ 41 w 53"/>
                <a:gd name="T15" fmla="*/ 9 h 32"/>
                <a:gd name="T16" fmla="*/ 53 w 53"/>
                <a:gd name="T17" fmla="*/ 21 h 32"/>
                <a:gd name="T18" fmla="*/ 41 w 53"/>
                <a:gd name="T19" fmla="*/ 32 h 32"/>
                <a:gd name="T20" fmla="*/ 12 w 53"/>
                <a:gd name="T21" fmla="*/ 7 h 32"/>
                <a:gd name="T22" fmla="*/ 7 w 53"/>
                <a:gd name="T23" fmla="*/ 12 h 32"/>
                <a:gd name="T24" fmla="*/ 20 w 53"/>
                <a:gd name="T25" fmla="*/ 25 h 32"/>
                <a:gd name="T26" fmla="*/ 41 w 53"/>
                <a:gd name="T27" fmla="*/ 25 h 32"/>
                <a:gd name="T28" fmla="*/ 46 w 53"/>
                <a:gd name="T29" fmla="*/ 21 h 32"/>
                <a:gd name="T30" fmla="*/ 41 w 53"/>
                <a:gd name="T31" fmla="*/ 16 h 32"/>
                <a:gd name="T32" fmla="*/ 39 w 53"/>
                <a:gd name="T33" fmla="*/ 16 h 32"/>
                <a:gd name="T34" fmla="*/ 26 w 53"/>
                <a:gd name="T35" fmla="*/ 10 h 32"/>
                <a:gd name="T36" fmla="*/ 18 w 53"/>
                <a:gd name="T37" fmla="*/ 7 h 32"/>
                <a:gd name="T38" fmla="*/ 12 w 53"/>
                <a:gd name="T3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2">
                  <a:moveTo>
                    <a:pt x="41" y="32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9" y="32"/>
                    <a:pt x="0" y="23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8" y="2"/>
                    <a:pt x="31" y="6"/>
                  </a:cubicBezTo>
                  <a:cubicBezTo>
                    <a:pt x="33" y="8"/>
                    <a:pt x="36" y="9"/>
                    <a:pt x="39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8" y="9"/>
                    <a:pt x="53" y="14"/>
                    <a:pt x="53" y="21"/>
                  </a:cubicBezTo>
                  <a:cubicBezTo>
                    <a:pt x="53" y="27"/>
                    <a:pt x="48" y="32"/>
                    <a:pt x="41" y="32"/>
                  </a:cubicBezTo>
                  <a:close/>
                  <a:moveTo>
                    <a:pt x="12" y="7"/>
                  </a:moveTo>
                  <a:cubicBezTo>
                    <a:pt x="9" y="7"/>
                    <a:pt x="7" y="9"/>
                    <a:pt x="7" y="12"/>
                  </a:cubicBezTo>
                  <a:cubicBezTo>
                    <a:pt x="7" y="19"/>
                    <a:pt x="13" y="25"/>
                    <a:pt x="2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4" y="25"/>
                    <a:pt x="46" y="23"/>
                    <a:pt x="46" y="21"/>
                  </a:cubicBezTo>
                  <a:cubicBezTo>
                    <a:pt x="46" y="18"/>
                    <a:pt x="44" y="16"/>
                    <a:pt x="41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4" y="16"/>
                    <a:pt x="29" y="14"/>
                    <a:pt x="26" y="10"/>
                  </a:cubicBezTo>
                  <a:cubicBezTo>
                    <a:pt x="24" y="8"/>
                    <a:pt x="21" y="7"/>
                    <a:pt x="18" y="7"/>
                  </a:cubicBezTo>
                  <a:lnTo>
                    <a:pt x="1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Freeform 998">
              <a:extLst>
                <a:ext uri="{FF2B5EF4-FFF2-40B4-BE49-F238E27FC236}">
                  <a16:creationId xmlns:a16="http://schemas.microsoft.com/office/drawing/2014/main" id="{5D8F995B-5C5B-4B2A-93BF-BC7449E48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8192" y="3779922"/>
              <a:ext cx="12646" cy="50583"/>
            </a:xfrm>
            <a:custGeom>
              <a:avLst/>
              <a:gdLst>
                <a:gd name="T0" fmla="*/ 4 w 7"/>
                <a:gd name="T1" fmla="*/ 28 h 28"/>
                <a:gd name="T2" fmla="*/ 0 w 7"/>
                <a:gd name="T3" fmla="*/ 25 h 28"/>
                <a:gd name="T4" fmla="*/ 0 w 7"/>
                <a:gd name="T5" fmla="*/ 4 h 28"/>
                <a:gd name="T6" fmla="*/ 4 w 7"/>
                <a:gd name="T7" fmla="*/ 0 h 28"/>
                <a:gd name="T8" fmla="*/ 7 w 7"/>
                <a:gd name="T9" fmla="*/ 4 h 28"/>
                <a:gd name="T10" fmla="*/ 7 w 7"/>
                <a:gd name="T11" fmla="*/ 25 h 28"/>
                <a:gd name="T12" fmla="*/ 4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4" y="28"/>
                  </a:moveTo>
                  <a:cubicBezTo>
                    <a:pt x="2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7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7" name="Freeform 999">
              <a:extLst>
                <a:ext uri="{FF2B5EF4-FFF2-40B4-BE49-F238E27FC236}">
                  <a16:creationId xmlns:a16="http://schemas.microsoft.com/office/drawing/2014/main" id="{ECEE082F-CC97-4282-8325-E6F21D7407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3717" y="3930407"/>
              <a:ext cx="56906" cy="59436"/>
            </a:xfrm>
            <a:custGeom>
              <a:avLst/>
              <a:gdLst>
                <a:gd name="T0" fmla="*/ 16 w 32"/>
                <a:gd name="T1" fmla="*/ 33 h 33"/>
                <a:gd name="T2" fmla="*/ 0 w 32"/>
                <a:gd name="T3" fmla="*/ 17 h 33"/>
                <a:gd name="T4" fmla="*/ 9 w 32"/>
                <a:gd name="T5" fmla="*/ 3 h 33"/>
                <a:gd name="T6" fmla="*/ 26 w 32"/>
                <a:gd name="T7" fmla="*/ 5 h 33"/>
                <a:gd name="T8" fmla="*/ 32 w 32"/>
                <a:gd name="T9" fmla="*/ 17 h 33"/>
                <a:gd name="T10" fmla="*/ 16 w 32"/>
                <a:gd name="T11" fmla="*/ 33 h 33"/>
                <a:gd name="T12" fmla="*/ 16 w 32"/>
                <a:gd name="T13" fmla="*/ 8 h 33"/>
                <a:gd name="T14" fmla="*/ 12 w 32"/>
                <a:gd name="T15" fmla="*/ 9 h 33"/>
                <a:gd name="T16" fmla="*/ 7 w 32"/>
                <a:gd name="T17" fmla="*/ 17 h 33"/>
                <a:gd name="T18" fmla="*/ 16 w 32"/>
                <a:gd name="T19" fmla="*/ 26 h 33"/>
                <a:gd name="T20" fmla="*/ 25 w 32"/>
                <a:gd name="T21" fmla="*/ 17 h 33"/>
                <a:gd name="T22" fmla="*/ 22 w 32"/>
                <a:gd name="T23" fmla="*/ 10 h 33"/>
                <a:gd name="T24" fmla="*/ 16 w 32"/>
                <a:gd name="T25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16" y="33"/>
                  </a:moveTo>
                  <a:cubicBezTo>
                    <a:pt x="7" y="33"/>
                    <a:pt x="0" y="26"/>
                    <a:pt x="0" y="17"/>
                  </a:cubicBezTo>
                  <a:cubicBezTo>
                    <a:pt x="0" y="11"/>
                    <a:pt x="4" y="6"/>
                    <a:pt x="9" y="3"/>
                  </a:cubicBezTo>
                  <a:cubicBezTo>
                    <a:pt x="15" y="0"/>
                    <a:pt x="21" y="1"/>
                    <a:pt x="26" y="5"/>
                  </a:cubicBezTo>
                  <a:cubicBezTo>
                    <a:pt x="30" y="8"/>
                    <a:pt x="32" y="12"/>
                    <a:pt x="32" y="17"/>
                  </a:cubicBezTo>
                  <a:cubicBezTo>
                    <a:pt x="32" y="26"/>
                    <a:pt x="25" y="33"/>
                    <a:pt x="16" y="33"/>
                  </a:cubicBezTo>
                  <a:close/>
                  <a:moveTo>
                    <a:pt x="16" y="8"/>
                  </a:moveTo>
                  <a:cubicBezTo>
                    <a:pt x="15" y="8"/>
                    <a:pt x="13" y="8"/>
                    <a:pt x="12" y="9"/>
                  </a:cubicBezTo>
                  <a:cubicBezTo>
                    <a:pt x="9" y="11"/>
                    <a:pt x="7" y="14"/>
                    <a:pt x="7" y="17"/>
                  </a:cubicBezTo>
                  <a:cubicBezTo>
                    <a:pt x="7" y="22"/>
                    <a:pt x="11" y="26"/>
                    <a:pt x="16" y="26"/>
                  </a:cubicBezTo>
                  <a:cubicBezTo>
                    <a:pt x="21" y="26"/>
                    <a:pt x="25" y="22"/>
                    <a:pt x="25" y="17"/>
                  </a:cubicBezTo>
                  <a:cubicBezTo>
                    <a:pt x="25" y="14"/>
                    <a:pt x="24" y="12"/>
                    <a:pt x="22" y="10"/>
                  </a:cubicBezTo>
                  <a:cubicBezTo>
                    <a:pt x="20" y="9"/>
                    <a:pt x="18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00AFB593-0F52-4D9E-9C4E-98AB627D32B4}"/>
              </a:ext>
            </a:extLst>
          </p:cNvPr>
          <p:cNvSpPr txBox="1"/>
          <p:nvPr/>
        </p:nvSpPr>
        <p:spPr>
          <a:xfrm>
            <a:off x="9311565" y="1214305"/>
            <a:ext cx="1563787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5100A053-16CC-41C4-967E-F89456D685E3}"/>
              </a:ext>
            </a:extLst>
          </p:cNvPr>
          <p:cNvSpPr txBox="1"/>
          <p:nvPr/>
        </p:nvSpPr>
        <p:spPr>
          <a:xfrm>
            <a:off x="9308347" y="768852"/>
            <a:ext cx="1281079" cy="6190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0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XX%</a:t>
            </a:r>
            <a:endParaRPr lang="pt-BR" sz="4000" b="1" dirty="0">
              <a:solidFill>
                <a:schemeClr val="bg1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DF7367BD-401F-4CE8-A593-45028710AE0C}"/>
              </a:ext>
            </a:extLst>
          </p:cNvPr>
          <p:cNvSpPr txBox="1"/>
          <p:nvPr/>
        </p:nvSpPr>
        <p:spPr>
          <a:xfrm>
            <a:off x="9354906" y="2780561"/>
            <a:ext cx="1563787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1DBE4A32-41A0-465D-9C14-F0688C00A95D}"/>
              </a:ext>
            </a:extLst>
          </p:cNvPr>
          <p:cNvSpPr txBox="1"/>
          <p:nvPr/>
        </p:nvSpPr>
        <p:spPr>
          <a:xfrm>
            <a:off x="9351688" y="2335108"/>
            <a:ext cx="1281079" cy="6190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0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XX%</a:t>
            </a:r>
            <a:endParaRPr lang="pt-BR" sz="4000" b="1" dirty="0">
              <a:solidFill>
                <a:schemeClr val="bg1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79C32B17-0A39-4827-B745-D1F5039F6D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7508247"/>
              </p:ext>
            </p:extLst>
          </p:nvPr>
        </p:nvGraphicFramePr>
        <p:xfrm>
          <a:off x="1091720" y="3061661"/>
          <a:ext cx="5000700" cy="33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9" name="Agrupar 38">
            <a:extLst>
              <a:ext uri="{FF2B5EF4-FFF2-40B4-BE49-F238E27FC236}">
                <a16:creationId xmlns:a16="http://schemas.microsoft.com/office/drawing/2014/main" id="{D7660493-A74F-450F-A1E5-0C57521A1733}"/>
              </a:ext>
            </a:extLst>
          </p:cNvPr>
          <p:cNvGrpSpPr/>
          <p:nvPr/>
        </p:nvGrpSpPr>
        <p:grpSpPr>
          <a:xfrm>
            <a:off x="1854966" y="3106678"/>
            <a:ext cx="3474208" cy="430752"/>
            <a:chOff x="619645" y="3027126"/>
            <a:chExt cx="4768781" cy="591261"/>
          </a:xfrm>
        </p:grpSpPr>
        <p:sp>
          <p:nvSpPr>
            <p:cNvPr id="40" name="Retângulo: Cantos Arredondados 39">
              <a:extLst>
                <a:ext uri="{FF2B5EF4-FFF2-40B4-BE49-F238E27FC236}">
                  <a16:creationId xmlns:a16="http://schemas.microsoft.com/office/drawing/2014/main" id="{8BEA0807-1C07-4D1F-8426-C77650E01703}"/>
                </a:ext>
              </a:extLst>
            </p:cNvPr>
            <p:cNvSpPr/>
            <p:nvPr/>
          </p:nvSpPr>
          <p:spPr>
            <a:xfrm>
              <a:off x="619645" y="3027126"/>
              <a:ext cx="4768781" cy="591261"/>
            </a:xfrm>
            <a:prstGeom prst="roundRect">
              <a:avLst>
                <a:gd name="adj" fmla="val 50000"/>
              </a:avLst>
            </a:prstGeom>
            <a:solidFill>
              <a:srgbClr val="FF7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B54A7BBF-4974-441B-9590-F10E7D0318FB}"/>
                </a:ext>
              </a:extLst>
            </p:cNvPr>
            <p:cNvSpPr txBox="1"/>
            <p:nvPr/>
          </p:nvSpPr>
          <p:spPr>
            <a:xfrm>
              <a:off x="830266" y="3131704"/>
              <a:ext cx="4347541" cy="43723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pt-BR" sz="18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Lorem</a:t>
              </a:r>
              <a:r>
                <a:rPr lang="pt-BR" sz="18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ipsum </a:t>
              </a:r>
              <a:r>
                <a:rPr lang="pt-BR" sz="18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dolor</a:t>
              </a:r>
              <a:r>
                <a:rPr lang="pt-BR" sz="18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18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sit</a:t>
              </a:r>
              <a:r>
                <a:rPr lang="pt-BR" sz="1800" dirty="0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 </a:t>
              </a:r>
              <a:r>
                <a:rPr lang="pt-BR" sz="1800" dirty="0" err="1">
                  <a:solidFill>
                    <a:schemeClr val="bg1"/>
                  </a:solidFill>
                  <a:latin typeface="Nunito bold" panose="00000800000000000000" pitchFamily="2" charset="0"/>
                  <a:cs typeface="Arial" panose="020B0604020202020204" pitchFamily="34" charset="0"/>
                </a:rPr>
                <a:t>amet</a:t>
              </a:r>
              <a:endParaRPr lang="pt-BR" sz="18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3" name="Freeform 5">
            <a:extLst>
              <a:ext uri="{FF2B5EF4-FFF2-40B4-BE49-F238E27FC236}">
                <a16:creationId xmlns:a16="http://schemas.microsoft.com/office/drawing/2014/main" id="{2F291EA7-2BF5-453F-9CC8-35CB990237E0}"/>
              </a:ext>
            </a:extLst>
          </p:cNvPr>
          <p:cNvSpPr>
            <a:spLocks/>
          </p:cNvSpPr>
          <p:nvPr/>
        </p:nvSpPr>
        <p:spPr bwMode="auto">
          <a:xfrm>
            <a:off x="8220783" y="4147188"/>
            <a:ext cx="868338" cy="215281"/>
          </a:xfrm>
          <a:custGeom>
            <a:avLst/>
            <a:gdLst>
              <a:gd name="T0" fmla="*/ 233 w 1469"/>
              <a:gd name="T1" fmla="*/ 157 h 362"/>
              <a:gd name="T2" fmla="*/ 607 w 1469"/>
              <a:gd name="T3" fmla="*/ 266 h 362"/>
              <a:gd name="T4" fmla="*/ 1233 w 1469"/>
              <a:gd name="T5" fmla="*/ 159 h 362"/>
              <a:gd name="T6" fmla="*/ 1388 w 1469"/>
              <a:gd name="T7" fmla="*/ 63 h 362"/>
              <a:gd name="T8" fmla="*/ 1457 w 1469"/>
              <a:gd name="T9" fmla="*/ 4 h 362"/>
              <a:gd name="T10" fmla="*/ 1459 w 1469"/>
              <a:gd name="T11" fmla="*/ 3 h 362"/>
              <a:gd name="T12" fmla="*/ 1466 w 1469"/>
              <a:gd name="T13" fmla="*/ 4 h 362"/>
              <a:gd name="T14" fmla="*/ 1466 w 1469"/>
              <a:gd name="T15" fmla="*/ 7 h 362"/>
              <a:gd name="T16" fmla="*/ 1442 w 1469"/>
              <a:gd name="T17" fmla="*/ 80 h 362"/>
              <a:gd name="T18" fmla="*/ 1276 w 1469"/>
              <a:gd name="T19" fmla="*/ 207 h 362"/>
              <a:gd name="T20" fmla="*/ 980 w 1469"/>
              <a:gd name="T21" fmla="*/ 331 h 362"/>
              <a:gd name="T22" fmla="*/ 860 w 1469"/>
              <a:gd name="T23" fmla="*/ 353 h 362"/>
              <a:gd name="T24" fmla="*/ 786 w 1469"/>
              <a:gd name="T25" fmla="*/ 359 h 362"/>
              <a:gd name="T26" fmla="*/ 694 w 1469"/>
              <a:gd name="T27" fmla="*/ 360 h 362"/>
              <a:gd name="T28" fmla="*/ 593 w 1469"/>
              <a:gd name="T29" fmla="*/ 351 h 362"/>
              <a:gd name="T30" fmla="*/ 402 w 1469"/>
              <a:gd name="T31" fmla="*/ 305 h 362"/>
              <a:gd name="T32" fmla="*/ 87 w 1469"/>
              <a:gd name="T33" fmla="*/ 132 h 362"/>
              <a:gd name="T34" fmla="*/ 28 w 1469"/>
              <a:gd name="T35" fmla="*/ 81 h 362"/>
              <a:gd name="T36" fmla="*/ 5 w 1469"/>
              <a:gd name="T37" fmla="*/ 4 h 362"/>
              <a:gd name="T38" fmla="*/ 7 w 1469"/>
              <a:gd name="T39" fmla="*/ 0 h 362"/>
              <a:gd name="T40" fmla="*/ 12 w 1469"/>
              <a:gd name="T41" fmla="*/ 3 h 362"/>
              <a:gd name="T42" fmla="*/ 54 w 1469"/>
              <a:gd name="T43" fmla="*/ 40 h 362"/>
              <a:gd name="T44" fmla="*/ 137 w 1469"/>
              <a:gd name="T45" fmla="*/ 102 h 362"/>
              <a:gd name="T46" fmla="*/ 233 w 1469"/>
              <a:gd name="T47" fmla="*/ 157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69" h="362">
                <a:moveTo>
                  <a:pt x="233" y="157"/>
                </a:moveTo>
                <a:cubicBezTo>
                  <a:pt x="351" y="216"/>
                  <a:pt x="476" y="252"/>
                  <a:pt x="607" y="266"/>
                </a:cubicBezTo>
                <a:cubicBezTo>
                  <a:pt x="825" y="289"/>
                  <a:pt x="1035" y="256"/>
                  <a:pt x="1233" y="159"/>
                </a:cubicBezTo>
                <a:cubicBezTo>
                  <a:pt x="1233" y="159"/>
                  <a:pt x="1323" y="113"/>
                  <a:pt x="1388" y="63"/>
                </a:cubicBezTo>
                <a:cubicBezTo>
                  <a:pt x="1411" y="43"/>
                  <a:pt x="1434" y="23"/>
                  <a:pt x="1457" y="4"/>
                </a:cubicBezTo>
                <a:cubicBezTo>
                  <a:pt x="1458" y="3"/>
                  <a:pt x="1458" y="3"/>
                  <a:pt x="1459" y="3"/>
                </a:cubicBezTo>
                <a:cubicBezTo>
                  <a:pt x="1461" y="1"/>
                  <a:pt x="1464" y="2"/>
                  <a:pt x="1466" y="4"/>
                </a:cubicBezTo>
                <a:cubicBezTo>
                  <a:pt x="1466" y="5"/>
                  <a:pt x="1466" y="6"/>
                  <a:pt x="1466" y="7"/>
                </a:cubicBezTo>
                <a:cubicBezTo>
                  <a:pt x="1469" y="35"/>
                  <a:pt x="1464" y="60"/>
                  <a:pt x="1442" y="80"/>
                </a:cubicBezTo>
                <a:cubicBezTo>
                  <a:pt x="1392" y="129"/>
                  <a:pt x="1336" y="170"/>
                  <a:pt x="1276" y="207"/>
                </a:cubicBezTo>
                <a:cubicBezTo>
                  <a:pt x="1184" y="263"/>
                  <a:pt x="1085" y="305"/>
                  <a:pt x="980" y="331"/>
                </a:cubicBezTo>
                <a:cubicBezTo>
                  <a:pt x="941" y="341"/>
                  <a:pt x="901" y="349"/>
                  <a:pt x="860" y="353"/>
                </a:cubicBezTo>
                <a:cubicBezTo>
                  <a:pt x="835" y="356"/>
                  <a:pt x="811" y="358"/>
                  <a:pt x="786" y="359"/>
                </a:cubicBezTo>
                <a:cubicBezTo>
                  <a:pt x="755" y="361"/>
                  <a:pt x="725" y="362"/>
                  <a:pt x="694" y="360"/>
                </a:cubicBezTo>
                <a:cubicBezTo>
                  <a:pt x="660" y="359"/>
                  <a:pt x="626" y="355"/>
                  <a:pt x="593" y="351"/>
                </a:cubicBezTo>
                <a:cubicBezTo>
                  <a:pt x="527" y="342"/>
                  <a:pt x="464" y="326"/>
                  <a:pt x="402" y="305"/>
                </a:cubicBezTo>
                <a:cubicBezTo>
                  <a:pt x="287" y="265"/>
                  <a:pt x="182" y="208"/>
                  <a:pt x="87" y="132"/>
                </a:cubicBezTo>
                <a:cubicBezTo>
                  <a:pt x="67" y="116"/>
                  <a:pt x="48" y="98"/>
                  <a:pt x="28" y="81"/>
                </a:cubicBezTo>
                <a:cubicBezTo>
                  <a:pt x="5" y="60"/>
                  <a:pt x="0" y="33"/>
                  <a:pt x="5" y="4"/>
                </a:cubicBezTo>
                <a:cubicBezTo>
                  <a:pt x="5" y="3"/>
                  <a:pt x="6" y="1"/>
                  <a:pt x="7" y="0"/>
                </a:cubicBezTo>
                <a:cubicBezTo>
                  <a:pt x="9" y="0"/>
                  <a:pt x="11" y="1"/>
                  <a:pt x="12" y="3"/>
                </a:cubicBezTo>
                <a:cubicBezTo>
                  <a:pt x="26" y="15"/>
                  <a:pt x="39" y="29"/>
                  <a:pt x="54" y="40"/>
                </a:cubicBezTo>
                <a:cubicBezTo>
                  <a:pt x="81" y="62"/>
                  <a:pt x="109" y="82"/>
                  <a:pt x="137" y="102"/>
                </a:cubicBezTo>
                <a:cubicBezTo>
                  <a:pt x="164" y="120"/>
                  <a:pt x="213" y="149"/>
                  <a:pt x="233" y="157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CaixaDeTexto 82">
            <a:extLst>
              <a:ext uri="{FF2B5EF4-FFF2-40B4-BE49-F238E27FC236}">
                <a16:creationId xmlns:a16="http://schemas.microsoft.com/office/drawing/2014/main" id="{5628C0E1-0137-430E-94DB-1910043EC2A0}"/>
              </a:ext>
            </a:extLst>
          </p:cNvPr>
          <p:cNvSpPr txBox="1"/>
          <p:nvPr/>
        </p:nvSpPr>
        <p:spPr>
          <a:xfrm>
            <a:off x="9354906" y="4329829"/>
            <a:ext cx="1563787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Lorem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ipsum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dolo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s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me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,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consectetuer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adipiscing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elit</a:t>
            </a:r>
            <a:r>
              <a:rPr lang="pt-BR" sz="1600" dirty="0">
                <a:solidFill>
                  <a:schemeClr val="bg1"/>
                </a:solidFill>
                <a:latin typeface="Nunito light" panose="00000400000000000000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72811BBF-5AFF-49BD-BA39-0DD31C2F7551}"/>
              </a:ext>
            </a:extLst>
          </p:cNvPr>
          <p:cNvSpPr txBox="1"/>
          <p:nvPr/>
        </p:nvSpPr>
        <p:spPr>
          <a:xfrm>
            <a:off x="9351688" y="3884376"/>
            <a:ext cx="1281079" cy="6190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85000"/>
              </a:lnSpc>
            </a:pPr>
            <a:r>
              <a:rPr lang="pt-BR" sz="4000" dirty="0">
                <a:solidFill>
                  <a:schemeClr val="bg1"/>
                </a:solidFill>
                <a:latin typeface="Nunito bold" panose="00000800000000000000" pitchFamily="2" charset="0"/>
                <a:cs typeface="Arial" panose="020B0604020202020204" pitchFamily="34" charset="0"/>
              </a:rPr>
              <a:t>XX%</a:t>
            </a:r>
            <a:endParaRPr lang="pt-BR" sz="4000" b="1" dirty="0">
              <a:solidFill>
                <a:schemeClr val="bg1"/>
              </a:solidFill>
              <a:latin typeface="Nunito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0B520015-66C0-42CD-9350-BFA04169F9A0}"/>
              </a:ext>
            </a:extLst>
          </p:cNvPr>
          <p:cNvGrpSpPr/>
          <p:nvPr/>
        </p:nvGrpSpPr>
        <p:grpSpPr>
          <a:xfrm>
            <a:off x="8350397" y="3671579"/>
            <a:ext cx="609110" cy="609112"/>
            <a:chOff x="11062304" y="2932649"/>
            <a:chExt cx="405932" cy="405933"/>
          </a:xfrm>
          <a:solidFill>
            <a:schemeClr val="bg1"/>
          </a:solidFill>
        </p:grpSpPr>
        <p:sp>
          <p:nvSpPr>
            <p:cNvPr id="86" name="Freeform 1000">
              <a:extLst>
                <a:ext uri="{FF2B5EF4-FFF2-40B4-BE49-F238E27FC236}">
                  <a16:creationId xmlns:a16="http://schemas.microsoft.com/office/drawing/2014/main" id="{D6F7A969-C2ED-4626-A1F0-E0A68EDBC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3802" y="3091987"/>
              <a:ext cx="362936" cy="246594"/>
            </a:xfrm>
            <a:custGeom>
              <a:avLst/>
              <a:gdLst>
                <a:gd name="T0" fmla="*/ 180 w 200"/>
                <a:gd name="T1" fmla="*/ 136 h 136"/>
                <a:gd name="T2" fmla="*/ 20 w 200"/>
                <a:gd name="T3" fmla="*/ 136 h 136"/>
                <a:gd name="T4" fmla="*/ 0 w 200"/>
                <a:gd name="T5" fmla="*/ 116 h 136"/>
                <a:gd name="T6" fmla="*/ 0 w 200"/>
                <a:gd name="T7" fmla="*/ 99 h 136"/>
                <a:gd name="T8" fmla="*/ 4 w 200"/>
                <a:gd name="T9" fmla="*/ 96 h 136"/>
                <a:gd name="T10" fmla="*/ 63 w 200"/>
                <a:gd name="T11" fmla="*/ 96 h 136"/>
                <a:gd name="T12" fmla="*/ 63 w 200"/>
                <a:gd name="T13" fmla="*/ 86 h 136"/>
                <a:gd name="T14" fmla="*/ 4 w 200"/>
                <a:gd name="T15" fmla="*/ 86 h 136"/>
                <a:gd name="T16" fmla="*/ 0 w 200"/>
                <a:gd name="T17" fmla="*/ 83 h 136"/>
                <a:gd name="T18" fmla="*/ 0 w 200"/>
                <a:gd name="T19" fmla="*/ 16 h 136"/>
                <a:gd name="T20" fmla="*/ 16 w 200"/>
                <a:gd name="T21" fmla="*/ 0 h 136"/>
                <a:gd name="T22" fmla="*/ 66 w 200"/>
                <a:gd name="T23" fmla="*/ 0 h 136"/>
                <a:gd name="T24" fmla="*/ 70 w 200"/>
                <a:gd name="T25" fmla="*/ 3 h 136"/>
                <a:gd name="T26" fmla="*/ 70 w 200"/>
                <a:gd name="T27" fmla="*/ 12 h 136"/>
                <a:gd name="T28" fmla="*/ 130 w 200"/>
                <a:gd name="T29" fmla="*/ 12 h 136"/>
                <a:gd name="T30" fmla="*/ 130 w 200"/>
                <a:gd name="T31" fmla="*/ 3 h 136"/>
                <a:gd name="T32" fmla="*/ 133 w 200"/>
                <a:gd name="T33" fmla="*/ 0 h 136"/>
                <a:gd name="T34" fmla="*/ 184 w 200"/>
                <a:gd name="T35" fmla="*/ 0 h 136"/>
                <a:gd name="T36" fmla="*/ 200 w 200"/>
                <a:gd name="T37" fmla="*/ 16 h 136"/>
                <a:gd name="T38" fmla="*/ 200 w 200"/>
                <a:gd name="T39" fmla="*/ 83 h 136"/>
                <a:gd name="T40" fmla="*/ 196 w 200"/>
                <a:gd name="T41" fmla="*/ 86 h 136"/>
                <a:gd name="T42" fmla="*/ 137 w 200"/>
                <a:gd name="T43" fmla="*/ 86 h 136"/>
                <a:gd name="T44" fmla="*/ 137 w 200"/>
                <a:gd name="T45" fmla="*/ 96 h 136"/>
                <a:gd name="T46" fmla="*/ 196 w 200"/>
                <a:gd name="T47" fmla="*/ 96 h 136"/>
                <a:gd name="T48" fmla="*/ 200 w 200"/>
                <a:gd name="T49" fmla="*/ 99 h 136"/>
                <a:gd name="T50" fmla="*/ 200 w 200"/>
                <a:gd name="T51" fmla="*/ 116 h 136"/>
                <a:gd name="T52" fmla="*/ 180 w 200"/>
                <a:gd name="T53" fmla="*/ 136 h 136"/>
                <a:gd name="T54" fmla="*/ 7 w 200"/>
                <a:gd name="T55" fmla="*/ 103 h 136"/>
                <a:gd name="T56" fmla="*/ 7 w 200"/>
                <a:gd name="T57" fmla="*/ 116 h 136"/>
                <a:gd name="T58" fmla="*/ 20 w 200"/>
                <a:gd name="T59" fmla="*/ 130 h 136"/>
                <a:gd name="T60" fmla="*/ 180 w 200"/>
                <a:gd name="T61" fmla="*/ 130 h 136"/>
                <a:gd name="T62" fmla="*/ 193 w 200"/>
                <a:gd name="T63" fmla="*/ 116 h 136"/>
                <a:gd name="T64" fmla="*/ 193 w 200"/>
                <a:gd name="T65" fmla="*/ 103 h 136"/>
                <a:gd name="T66" fmla="*/ 133 w 200"/>
                <a:gd name="T67" fmla="*/ 103 h 136"/>
                <a:gd name="T68" fmla="*/ 130 w 200"/>
                <a:gd name="T69" fmla="*/ 99 h 136"/>
                <a:gd name="T70" fmla="*/ 130 w 200"/>
                <a:gd name="T71" fmla="*/ 83 h 136"/>
                <a:gd name="T72" fmla="*/ 133 w 200"/>
                <a:gd name="T73" fmla="*/ 79 h 136"/>
                <a:gd name="T74" fmla="*/ 193 w 200"/>
                <a:gd name="T75" fmla="*/ 79 h 136"/>
                <a:gd name="T76" fmla="*/ 193 w 200"/>
                <a:gd name="T77" fmla="*/ 16 h 136"/>
                <a:gd name="T78" fmla="*/ 184 w 200"/>
                <a:gd name="T79" fmla="*/ 7 h 136"/>
                <a:gd name="T80" fmla="*/ 137 w 200"/>
                <a:gd name="T81" fmla="*/ 7 h 136"/>
                <a:gd name="T82" fmla="*/ 137 w 200"/>
                <a:gd name="T83" fmla="*/ 16 h 136"/>
                <a:gd name="T84" fmla="*/ 133 w 200"/>
                <a:gd name="T85" fmla="*/ 19 h 136"/>
                <a:gd name="T86" fmla="*/ 66 w 200"/>
                <a:gd name="T87" fmla="*/ 19 h 136"/>
                <a:gd name="T88" fmla="*/ 63 w 200"/>
                <a:gd name="T89" fmla="*/ 16 h 136"/>
                <a:gd name="T90" fmla="*/ 63 w 200"/>
                <a:gd name="T91" fmla="*/ 7 h 136"/>
                <a:gd name="T92" fmla="*/ 16 w 200"/>
                <a:gd name="T93" fmla="*/ 7 h 136"/>
                <a:gd name="T94" fmla="*/ 7 w 200"/>
                <a:gd name="T95" fmla="*/ 16 h 136"/>
                <a:gd name="T96" fmla="*/ 7 w 200"/>
                <a:gd name="T97" fmla="*/ 79 h 136"/>
                <a:gd name="T98" fmla="*/ 66 w 200"/>
                <a:gd name="T99" fmla="*/ 79 h 136"/>
                <a:gd name="T100" fmla="*/ 70 w 200"/>
                <a:gd name="T101" fmla="*/ 83 h 136"/>
                <a:gd name="T102" fmla="*/ 70 w 200"/>
                <a:gd name="T103" fmla="*/ 99 h 136"/>
                <a:gd name="T104" fmla="*/ 66 w 200"/>
                <a:gd name="T105" fmla="*/ 103 h 136"/>
                <a:gd name="T106" fmla="*/ 7 w 200"/>
                <a:gd name="T107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0" h="136">
                  <a:moveTo>
                    <a:pt x="180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9" y="136"/>
                    <a:pt x="0" y="127"/>
                    <a:pt x="0" y="116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2" y="86"/>
                    <a:pt x="0" y="85"/>
                    <a:pt x="0" y="8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1"/>
                    <a:pt x="70" y="3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30" y="3"/>
                    <a:pt x="130" y="3"/>
                    <a:pt x="130" y="3"/>
                  </a:cubicBezTo>
                  <a:cubicBezTo>
                    <a:pt x="130" y="1"/>
                    <a:pt x="132" y="0"/>
                    <a:pt x="133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93" y="0"/>
                    <a:pt x="200" y="7"/>
                    <a:pt x="200" y="16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5"/>
                    <a:pt x="198" y="86"/>
                    <a:pt x="196" y="86"/>
                  </a:cubicBezTo>
                  <a:cubicBezTo>
                    <a:pt x="137" y="86"/>
                    <a:pt x="137" y="86"/>
                    <a:pt x="137" y="86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198" y="96"/>
                    <a:pt x="200" y="98"/>
                    <a:pt x="200" y="99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0" y="127"/>
                    <a:pt x="191" y="136"/>
                    <a:pt x="180" y="136"/>
                  </a:cubicBezTo>
                  <a:close/>
                  <a:moveTo>
                    <a:pt x="7" y="103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7" y="124"/>
                    <a:pt x="13" y="130"/>
                    <a:pt x="20" y="130"/>
                  </a:cubicBezTo>
                  <a:cubicBezTo>
                    <a:pt x="180" y="130"/>
                    <a:pt x="180" y="130"/>
                    <a:pt x="180" y="130"/>
                  </a:cubicBezTo>
                  <a:cubicBezTo>
                    <a:pt x="187" y="130"/>
                    <a:pt x="193" y="124"/>
                    <a:pt x="193" y="116"/>
                  </a:cubicBezTo>
                  <a:cubicBezTo>
                    <a:pt x="193" y="103"/>
                    <a:pt x="193" y="103"/>
                    <a:pt x="193" y="103"/>
                  </a:cubicBezTo>
                  <a:cubicBezTo>
                    <a:pt x="133" y="103"/>
                    <a:pt x="133" y="103"/>
                    <a:pt x="133" y="103"/>
                  </a:cubicBezTo>
                  <a:cubicBezTo>
                    <a:pt x="132" y="103"/>
                    <a:pt x="130" y="101"/>
                    <a:pt x="130" y="99"/>
                  </a:cubicBezTo>
                  <a:cubicBezTo>
                    <a:pt x="130" y="83"/>
                    <a:pt x="130" y="83"/>
                    <a:pt x="130" y="83"/>
                  </a:cubicBezTo>
                  <a:cubicBezTo>
                    <a:pt x="130" y="81"/>
                    <a:pt x="132" y="79"/>
                    <a:pt x="133" y="79"/>
                  </a:cubicBezTo>
                  <a:cubicBezTo>
                    <a:pt x="193" y="79"/>
                    <a:pt x="193" y="79"/>
                    <a:pt x="193" y="79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3" y="11"/>
                    <a:pt x="189" y="7"/>
                    <a:pt x="184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37" y="18"/>
                    <a:pt x="135" y="19"/>
                    <a:pt x="133" y="1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5" y="19"/>
                    <a:pt x="63" y="18"/>
                    <a:pt x="63" y="16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1" y="7"/>
                    <a:pt x="7" y="11"/>
                    <a:pt x="7" y="16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8" y="79"/>
                    <a:pt x="70" y="81"/>
                    <a:pt x="70" y="83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101"/>
                    <a:pt x="68" y="103"/>
                    <a:pt x="66" y="103"/>
                  </a:cubicBezTo>
                  <a:lnTo>
                    <a:pt x="7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" name="Freeform 1001">
              <a:extLst>
                <a:ext uri="{FF2B5EF4-FFF2-40B4-BE49-F238E27FC236}">
                  <a16:creationId xmlns:a16="http://schemas.microsoft.com/office/drawing/2014/main" id="{8B3D1DDA-C1FB-40AF-987D-059DCD475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8879" y="3145100"/>
              <a:ext cx="134046" cy="193482"/>
            </a:xfrm>
            <a:custGeom>
              <a:avLst/>
              <a:gdLst>
                <a:gd name="T0" fmla="*/ 70 w 74"/>
                <a:gd name="T1" fmla="*/ 107 h 107"/>
                <a:gd name="T2" fmla="*/ 3 w 74"/>
                <a:gd name="T3" fmla="*/ 107 h 107"/>
                <a:gd name="T4" fmla="*/ 0 w 74"/>
                <a:gd name="T5" fmla="*/ 104 h 107"/>
                <a:gd name="T6" fmla="*/ 0 w 74"/>
                <a:gd name="T7" fmla="*/ 3 h 107"/>
                <a:gd name="T8" fmla="*/ 3 w 74"/>
                <a:gd name="T9" fmla="*/ 0 h 107"/>
                <a:gd name="T10" fmla="*/ 70 w 74"/>
                <a:gd name="T11" fmla="*/ 0 h 107"/>
                <a:gd name="T12" fmla="*/ 74 w 74"/>
                <a:gd name="T13" fmla="*/ 3 h 107"/>
                <a:gd name="T14" fmla="*/ 74 w 74"/>
                <a:gd name="T15" fmla="*/ 104 h 107"/>
                <a:gd name="T16" fmla="*/ 70 w 74"/>
                <a:gd name="T17" fmla="*/ 107 h 107"/>
                <a:gd name="T18" fmla="*/ 7 w 74"/>
                <a:gd name="T19" fmla="*/ 101 h 107"/>
                <a:gd name="T20" fmla="*/ 67 w 74"/>
                <a:gd name="T21" fmla="*/ 101 h 107"/>
                <a:gd name="T22" fmla="*/ 67 w 74"/>
                <a:gd name="T23" fmla="*/ 7 h 107"/>
                <a:gd name="T24" fmla="*/ 7 w 74"/>
                <a:gd name="T25" fmla="*/ 7 h 107"/>
                <a:gd name="T26" fmla="*/ 7 w 74"/>
                <a:gd name="T2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107">
                  <a:moveTo>
                    <a:pt x="70" y="107"/>
                  </a:moveTo>
                  <a:cubicBezTo>
                    <a:pt x="3" y="107"/>
                    <a:pt x="3" y="107"/>
                    <a:pt x="3" y="107"/>
                  </a:cubicBezTo>
                  <a:cubicBezTo>
                    <a:pt x="2" y="107"/>
                    <a:pt x="0" y="106"/>
                    <a:pt x="0" y="10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74" y="106"/>
                    <a:pt x="72" y="107"/>
                    <a:pt x="70" y="107"/>
                  </a:cubicBezTo>
                  <a:close/>
                  <a:moveTo>
                    <a:pt x="7" y="101"/>
                  </a:moveTo>
                  <a:cubicBezTo>
                    <a:pt x="67" y="101"/>
                    <a:pt x="67" y="101"/>
                    <a:pt x="67" y="101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" name="Freeform 1002">
              <a:extLst>
                <a:ext uri="{FF2B5EF4-FFF2-40B4-BE49-F238E27FC236}">
                  <a16:creationId xmlns:a16="http://schemas.microsoft.com/office/drawing/2014/main" id="{265DB9DA-8C70-4F15-8A85-77B0F7D299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20280" y="3236150"/>
              <a:ext cx="147956" cy="42996"/>
            </a:xfrm>
            <a:custGeom>
              <a:avLst/>
              <a:gdLst>
                <a:gd name="T0" fmla="*/ 71 w 82"/>
                <a:gd name="T1" fmla="*/ 24 h 24"/>
                <a:gd name="T2" fmla="*/ 3 w 82"/>
                <a:gd name="T3" fmla="*/ 24 h 24"/>
                <a:gd name="T4" fmla="*/ 0 w 82"/>
                <a:gd name="T5" fmla="*/ 20 h 24"/>
                <a:gd name="T6" fmla="*/ 0 w 82"/>
                <a:gd name="T7" fmla="*/ 4 h 24"/>
                <a:gd name="T8" fmla="*/ 3 w 82"/>
                <a:gd name="T9" fmla="*/ 0 h 24"/>
                <a:gd name="T10" fmla="*/ 71 w 82"/>
                <a:gd name="T11" fmla="*/ 0 h 24"/>
                <a:gd name="T12" fmla="*/ 82 w 82"/>
                <a:gd name="T13" fmla="*/ 12 h 24"/>
                <a:gd name="T14" fmla="*/ 79 w 82"/>
                <a:gd name="T15" fmla="*/ 20 h 24"/>
                <a:gd name="T16" fmla="*/ 71 w 82"/>
                <a:gd name="T17" fmla="*/ 24 h 24"/>
                <a:gd name="T18" fmla="*/ 7 w 82"/>
                <a:gd name="T19" fmla="*/ 17 h 24"/>
                <a:gd name="T20" fmla="*/ 71 w 82"/>
                <a:gd name="T21" fmla="*/ 17 h 24"/>
                <a:gd name="T22" fmla="*/ 74 w 82"/>
                <a:gd name="T23" fmla="*/ 16 h 24"/>
                <a:gd name="T24" fmla="*/ 75 w 82"/>
                <a:gd name="T25" fmla="*/ 12 h 24"/>
                <a:gd name="T26" fmla="*/ 71 w 82"/>
                <a:gd name="T27" fmla="*/ 7 h 24"/>
                <a:gd name="T28" fmla="*/ 7 w 82"/>
                <a:gd name="T29" fmla="*/ 7 h 24"/>
                <a:gd name="T30" fmla="*/ 7 w 82"/>
                <a:gd name="T31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24">
                  <a:moveTo>
                    <a:pt x="71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7" y="0"/>
                    <a:pt x="82" y="6"/>
                    <a:pt x="82" y="12"/>
                  </a:cubicBezTo>
                  <a:cubicBezTo>
                    <a:pt x="82" y="15"/>
                    <a:pt x="81" y="18"/>
                    <a:pt x="79" y="20"/>
                  </a:cubicBezTo>
                  <a:cubicBezTo>
                    <a:pt x="77" y="23"/>
                    <a:pt x="74" y="24"/>
                    <a:pt x="71" y="24"/>
                  </a:cubicBezTo>
                  <a:close/>
                  <a:moveTo>
                    <a:pt x="7" y="17"/>
                  </a:moveTo>
                  <a:cubicBezTo>
                    <a:pt x="71" y="17"/>
                    <a:pt x="71" y="17"/>
                    <a:pt x="71" y="17"/>
                  </a:cubicBezTo>
                  <a:cubicBezTo>
                    <a:pt x="72" y="17"/>
                    <a:pt x="73" y="17"/>
                    <a:pt x="74" y="16"/>
                  </a:cubicBezTo>
                  <a:cubicBezTo>
                    <a:pt x="75" y="15"/>
                    <a:pt x="75" y="13"/>
                    <a:pt x="75" y="12"/>
                  </a:cubicBezTo>
                  <a:cubicBezTo>
                    <a:pt x="75" y="9"/>
                    <a:pt x="73" y="7"/>
                    <a:pt x="71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9" name="Freeform 1003">
              <a:extLst>
                <a:ext uri="{FF2B5EF4-FFF2-40B4-BE49-F238E27FC236}">
                  <a16:creationId xmlns:a16="http://schemas.microsoft.com/office/drawing/2014/main" id="{07902D2A-089D-4633-9A5E-7150B5999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2304" y="3236150"/>
              <a:ext cx="149221" cy="42996"/>
            </a:xfrm>
            <a:custGeom>
              <a:avLst/>
              <a:gdLst>
                <a:gd name="T0" fmla="*/ 78 w 82"/>
                <a:gd name="T1" fmla="*/ 24 h 24"/>
                <a:gd name="T2" fmla="*/ 11 w 82"/>
                <a:gd name="T3" fmla="*/ 24 h 24"/>
                <a:gd name="T4" fmla="*/ 0 w 82"/>
                <a:gd name="T5" fmla="*/ 12 h 24"/>
                <a:gd name="T6" fmla="*/ 3 w 82"/>
                <a:gd name="T7" fmla="*/ 4 h 24"/>
                <a:gd name="T8" fmla="*/ 11 w 82"/>
                <a:gd name="T9" fmla="*/ 0 h 24"/>
                <a:gd name="T10" fmla="*/ 78 w 82"/>
                <a:gd name="T11" fmla="*/ 0 h 24"/>
                <a:gd name="T12" fmla="*/ 82 w 82"/>
                <a:gd name="T13" fmla="*/ 4 h 24"/>
                <a:gd name="T14" fmla="*/ 82 w 82"/>
                <a:gd name="T15" fmla="*/ 20 h 24"/>
                <a:gd name="T16" fmla="*/ 78 w 82"/>
                <a:gd name="T17" fmla="*/ 24 h 24"/>
                <a:gd name="T18" fmla="*/ 11 w 82"/>
                <a:gd name="T19" fmla="*/ 7 h 24"/>
                <a:gd name="T20" fmla="*/ 8 w 82"/>
                <a:gd name="T21" fmla="*/ 9 h 24"/>
                <a:gd name="T22" fmla="*/ 6 w 82"/>
                <a:gd name="T23" fmla="*/ 12 h 24"/>
                <a:gd name="T24" fmla="*/ 11 w 82"/>
                <a:gd name="T25" fmla="*/ 17 h 24"/>
                <a:gd name="T26" fmla="*/ 75 w 82"/>
                <a:gd name="T27" fmla="*/ 17 h 24"/>
                <a:gd name="T28" fmla="*/ 75 w 82"/>
                <a:gd name="T29" fmla="*/ 7 h 24"/>
                <a:gd name="T30" fmla="*/ 11 w 82"/>
                <a:gd name="T3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24">
                  <a:moveTo>
                    <a:pt x="78" y="24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9"/>
                    <a:pt x="1" y="6"/>
                    <a:pt x="3" y="4"/>
                  </a:cubicBezTo>
                  <a:cubicBezTo>
                    <a:pt x="5" y="2"/>
                    <a:pt x="8" y="0"/>
                    <a:pt x="11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0" y="0"/>
                    <a:pt x="82" y="2"/>
                    <a:pt x="82" y="4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2"/>
                    <a:pt x="80" y="24"/>
                    <a:pt x="78" y="24"/>
                  </a:cubicBezTo>
                  <a:close/>
                  <a:moveTo>
                    <a:pt x="11" y="7"/>
                  </a:moveTo>
                  <a:cubicBezTo>
                    <a:pt x="10" y="7"/>
                    <a:pt x="9" y="8"/>
                    <a:pt x="8" y="9"/>
                  </a:cubicBezTo>
                  <a:cubicBezTo>
                    <a:pt x="7" y="10"/>
                    <a:pt x="6" y="11"/>
                    <a:pt x="6" y="12"/>
                  </a:cubicBezTo>
                  <a:cubicBezTo>
                    <a:pt x="6" y="15"/>
                    <a:pt x="9" y="17"/>
                    <a:pt x="11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7"/>
                    <a:pt x="75" y="7"/>
                    <a:pt x="75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" name="Freeform 1004">
              <a:extLst>
                <a:ext uri="{FF2B5EF4-FFF2-40B4-BE49-F238E27FC236}">
                  <a16:creationId xmlns:a16="http://schemas.microsoft.com/office/drawing/2014/main" id="{712A52AB-0FBE-48DF-9483-423594E948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3802" y="3145100"/>
              <a:ext cx="127723" cy="103696"/>
            </a:xfrm>
            <a:custGeom>
              <a:avLst/>
              <a:gdLst>
                <a:gd name="T0" fmla="*/ 66 w 70"/>
                <a:gd name="T1" fmla="*/ 57 h 57"/>
                <a:gd name="T2" fmla="*/ 4 w 70"/>
                <a:gd name="T3" fmla="*/ 57 h 57"/>
                <a:gd name="T4" fmla="*/ 0 w 70"/>
                <a:gd name="T5" fmla="*/ 54 h 57"/>
                <a:gd name="T6" fmla="*/ 0 w 70"/>
                <a:gd name="T7" fmla="*/ 3 h 57"/>
                <a:gd name="T8" fmla="*/ 4 w 70"/>
                <a:gd name="T9" fmla="*/ 0 h 57"/>
                <a:gd name="T10" fmla="*/ 66 w 70"/>
                <a:gd name="T11" fmla="*/ 0 h 57"/>
                <a:gd name="T12" fmla="*/ 70 w 70"/>
                <a:gd name="T13" fmla="*/ 3 h 57"/>
                <a:gd name="T14" fmla="*/ 70 w 70"/>
                <a:gd name="T15" fmla="*/ 54 h 57"/>
                <a:gd name="T16" fmla="*/ 66 w 70"/>
                <a:gd name="T17" fmla="*/ 57 h 57"/>
                <a:gd name="T18" fmla="*/ 7 w 70"/>
                <a:gd name="T19" fmla="*/ 50 h 57"/>
                <a:gd name="T20" fmla="*/ 63 w 70"/>
                <a:gd name="T21" fmla="*/ 50 h 57"/>
                <a:gd name="T22" fmla="*/ 63 w 70"/>
                <a:gd name="T23" fmla="*/ 7 h 57"/>
                <a:gd name="T24" fmla="*/ 7 w 70"/>
                <a:gd name="T25" fmla="*/ 7 h 57"/>
                <a:gd name="T26" fmla="*/ 7 w 70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66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3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6"/>
                    <a:pt x="68" y="57"/>
                    <a:pt x="66" y="57"/>
                  </a:cubicBezTo>
                  <a:close/>
                  <a:moveTo>
                    <a:pt x="7" y="50"/>
                  </a:moveTo>
                  <a:cubicBezTo>
                    <a:pt x="63" y="50"/>
                    <a:pt x="63" y="50"/>
                    <a:pt x="63" y="5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" name="Freeform 1005">
              <a:extLst>
                <a:ext uri="{FF2B5EF4-FFF2-40B4-BE49-F238E27FC236}">
                  <a16:creationId xmlns:a16="http://schemas.microsoft.com/office/drawing/2014/main" id="{1A66326C-FF65-4436-A46A-06E98AA0E5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20280" y="3145100"/>
              <a:ext cx="126459" cy="103696"/>
            </a:xfrm>
            <a:custGeom>
              <a:avLst/>
              <a:gdLst>
                <a:gd name="T0" fmla="*/ 66 w 70"/>
                <a:gd name="T1" fmla="*/ 57 h 57"/>
                <a:gd name="T2" fmla="*/ 3 w 70"/>
                <a:gd name="T3" fmla="*/ 57 h 57"/>
                <a:gd name="T4" fmla="*/ 0 w 70"/>
                <a:gd name="T5" fmla="*/ 54 h 57"/>
                <a:gd name="T6" fmla="*/ 0 w 70"/>
                <a:gd name="T7" fmla="*/ 3 h 57"/>
                <a:gd name="T8" fmla="*/ 3 w 70"/>
                <a:gd name="T9" fmla="*/ 0 h 57"/>
                <a:gd name="T10" fmla="*/ 66 w 70"/>
                <a:gd name="T11" fmla="*/ 0 h 57"/>
                <a:gd name="T12" fmla="*/ 70 w 70"/>
                <a:gd name="T13" fmla="*/ 3 h 57"/>
                <a:gd name="T14" fmla="*/ 70 w 70"/>
                <a:gd name="T15" fmla="*/ 54 h 57"/>
                <a:gd name="T16" fmla="*/ 66 w 70"/>
                <a:gd name="T17" fmla="*/ 57 h 57"/>
                <a:gd name="T18" fmla="*/ 7 w 70"/>
                <a:gd name="T19" fmla="*/ 50 h 57"/>
                <a:gd name="T20" fmla="*/ 63 w 70"/>
                <a:gd name="T21" fmla="*/ 50 h 57"/>
                <a:gd name="T22" fmla="*/ 63 w 70"/>
                <a:gd name="T23" fmla="*/ 7 h 57"/>
                <a:gd name="T24" fmla="*/ 7 w 70"/>
                <a:gd name="T25" fmla="*/ 7 h 57"/>
                <a:gd name="T26" fmla="*/ 7 w 70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66" y="57"/>
                  </a:moveTo>
                  <a:cubicBezTo>
                    <a:pt x="3" y="57"/>
                    <a:pt x="3" y="57"/>
                    <a:pt x="3" y="57"/>
                  </a:cubicBezTo>
                  <a:cubicBezTo>
                    <a:pt x="2" y="57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3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6"/>
                    <a:pt x="68" y="57"/>
                    <a:pt x="66" y="57"/>
                  </a:cubicBezTo>
                  <a:close/>
                  <a:moveTo>
                    <a:pt x="7" y="50"/>
                  </a:moveTo>
                  <a:cubicBezTo>
                    <a:pt x="63" y="50"/>
                    <a:pt x="63" y="50"/>
                    <a:pt x="63" y="5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2" name="Freeform 1006">
              <a:extLst>
                <a:ext uri="{FF2B5EF4-FFF2-40B4-BE49-F238E27FC236}">
                  <a16:creationId xmlns:a16="http://schemas.microsoft.com/office/drawing/2014/main" id="{CE6A04D2-B167-4266-9025-39473F7ECD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417" y="3046462"/>
              <a:ext cx="300971" cy="58171"/>
            </a:xfrm>
            <a:custGeom>
              <a:avLst/>
              <a:gdLst>
                <a:gd name="T0" fmla="*/ 163 w 166"/>
                <a:gd name="T1" fmla="*/ 32 h 32"/>
                <a:gd name="T2" fmla="*/ 163 w 166"/>
                <a:gd name="T3" fmla="*/ 32 h 32"/>
                <a:gd name="T4" fmla="*/ 116 w 166"/>
                <a:gd name="T5" fmla="*/ 32 h 32"/>
                <a:gd name="T6" fmla="*/ 113 w 166"/>
                <a:gd name="T7" fmla="*/ 28 h 32"/>
                <a:gd name="T8" fmla="*/ 113 w 166"/>
                <a:gd name="T9" fmla="*/ 23 h 32"/>
                <a:gd name="T10" fmla="*/ 53 w 166"/>
                <a:gd name="T11" fmla="*/ 23 h 32"/>
                <a:gd name="T12" fmla="*/ 53 w 166"/>
                <a:gd name="T13" fmla="*/ 28 h 32"/>
                <a:gd name="T14" fmla="*/ 49 w 166"/>
                <a:gd name="T15" fmla="*/ 32 h 32"/>
                <a:gd name="T16" fmla="*/ 3 w 166"/>
                <a:gd name="T17" fmla="*/ 32 h 32"/>
                <a:gd name="T18" fmla="*/ 0 w 166"/>
                <a:gd name="T19" fmla="*/ 28 h 32"/>
                <a:gd name="T20" fmla="*/ 8 w 166"/>
                <a:gd name="T21" fmla="*/ 8 h 32"/>
                <a:gd name="T22" fmla="*/ 28 w 166"/>
                <a:gd name="T23" fmla="*/ 0 h 32"/>
                <a:gd name="T24" fmla="*/ 137 w 166"/>
                <a:gd name="T25" fmla="*/ 0 h 32"/>
                <a:gd name="T26" fmla="*/ 166 w 166"/>
                <a:gd name="T27" fmla="*/ 27 h 32"/>
                <a:gd name="T28" fmla="*/ 166 w 166"/>
                <a:gd name="T29" fmla="*/ 28 h 32"/>
                <a:gd name="T30" fmla="*/ 163 w 166"/>
                <a:gd name="T31" fmla="*/ 32 h 32"/>
                <a:gd name="T32" fmla="*/ 120 w 166"/>
                <a:gd name="T33" fmla="*/ 25 h 32"/>
                <a:gd name="T34" fmla="*/ 159 w 166"/>
                <a:gd name="T35" fmla="*/ 25 h 32"/>
                <a:gd name="T36" fmla="*/ 137 w 166"/>
                <a:gd name="T37" fmla="*/ 6 h 32"/>
                <a:gd name="T38" fmla="*/ 28 w 166"/>
                <a:gd name="T39" fmla="*/ 6 h 32"/>
                <a:gd name="T40" fmla="*/ 13 w 166"/>
                <a:gd name="T41" fmla="*/ 13 h 32"/>
                <a:gd name="T42" fmla="*/ 7 w 166"/>
                <a:gd name="T43" fmla="*/ 25 h 32"/>
                <a:gd name="T44" fmla="*/ 46 w 166"/>
                <a:gd name="T45" fmla="*/ 25 h 32"/>
                <a:gd name="T46" fmla="*/ 46 w 166"/>
                <a:gd name="T47" fmla="*/ 20 h 32"/>
                <a:gd name="T48" fmla="*/ 49 w 166"/>
                <a:gd name="T49" fmla="*/ 16 h 32"/>
                <a:gd name="T50" fmla="*/ 116 w 166"/>
                <a:gd name="T51" fmla="*/ 16 h 32"/>
                <a:gd name="T52" fmla="*/ 120 w 166"/>
                <a:gd name="T53" fmla="*/ 20 h 32"/>
                <a:gd name="T54" fmla="*/ 120 w 166"/>
                <a:gd name="T55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6" h="32">
                  <a:moveTo>
                    <a:pt x="163" y="32"/>
                  </a:moveTo>
                  <a:cubicBezTo>
                    <a:pt x="163" y="32"/>
                    <a:pt x="163" y="32"/>
                    <a:pt x="163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5" y="32"/>
                    <a:pt x="113" y="30"/>
                    <a:pt x="113" y="28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30"/>
                    <a:pt x="51" y="32"/>
                    <a:pt x="49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4" y="3"/>
                    <a:pt x="21" y="0"/>
                    <a:pt x="28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53" y="0"/>
                    <a:pt x="166" y="12"/>
                    <a:pt x="166" y="27"/>
                  </a:cubicBezTo>
                  <a:cubicBezTo>
                    <a:pt x="166" y="28"/>
                    <a:pt x="166" y="28"/>
                    <a:pt x="166" y="28"/>
                  </a:cubicBezTo>
                  <a:cubicBezTo>
                    <a:pt x="166" y="30"/>
                    <a:pt x="165" y="32"/>
                    <a:pt x="163" y="32"/>
                  </a:cubicBezTo>
                  <a:close/>
                  <a:moveTo>
                    <a:pt x="120" y="25"/>
                  </a:moveTo>
                  <a:cubicBezTo>
                    <a:pt x="159" y="25"/>
                    <a:pt x="159" y="25"/>
                    <a:pt x="159" y="25"/>
                  </a:cubicBezTo>
                  <a:cubicBezTo>
                    <a:pt x="157" y="14"/>
                    <a:pt x="148" y="6"/>
                    <a:pt x="137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3" y="6"/>
                    <a:pt x="17" y="9"/>
                    <a:pt x="13" y="13"/>
                  </a:cubicBezTo>
                  <a:cubicBezTo>
                    <a:pt x="10" y="16"/>
                    <a:pt x="8" y="20"/>
                    <a:pt x="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18"/>
                    <a:pt x="48" y="16"/>
                    <a:pt x="49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18" y="16"/>
                    <a:pt x="120" y="18"/>
                    <a:pt x="120" y="20"/>
                  </a:cubicBezTo>
                  <a:lnTo>
                    <a:pt x="12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" name="Freeform 1007">
              <a:extLst>
                <a:ext uri="{FF2B5EF4-FFF2-40B4-BE49-F238E27FC236}">
                  <a16:creationId xmlns:a16="http://schemas.microsoft.com/office/drawing/2014/main" id="{9ED009DD-49BA-4297-9B8E-9CD4A9714D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8879" y="3075548"/>
              <a:ext cx="134046" cy="51848"/>
            </a:xfrm>
            <a:custGeom>
              <a:avLst/>
              <a:gdLst>
                <a:gd name="T0" fmla="*/ 70 w 74"/>
                <a:gd name="T1" fmla="*/ 28 h 28"/>
                <a:gd name="T2" fmla="*/ 3 w 74"/>
                <a:gd name="T3" fmla="*/ 28 h 28"/>
                <a:gd name="T4" fmla="*/ 0 w 74"/>
                <a:gd name="T5" fmla="*/ 25 h 28"/>
                <a:gd name="T6" fmla="*/ 0 w 74"/>
                <a:gd name="T7" fmla="*/ 4 h 28"/>
                <a:gd name="T8" fmla="*/ 3 w 74"/>
                <a:gd name="T9" fmla="*/ 0 h 28"/>
                <a:gd name="T10" fmla="*/ 70 w 74"/>
                <a:gd name="T11" fmla="*/ 0 h 28"/>
                <a:gd name="T12" fmla="*/ 74 w 74"/>
                <a:gd name="T13" fmla="*/ 4 h 28"/>
                <a:gd name="T14" fmla="*/ 74 w 74"/>
                <a:gd name="T15" fmla="*/ 25 h 28"/>
                <a:gd name="T16" fmla="*/ 70 w 74"/>
                <a:gd name="T17" fmla="*/ 28 h 28"/>
                <a:gd name="T18" fmla="*/ 7 w 74"/>
                <a:gd name="T19" fmla="*/ 21 h 28"/>
                <a:gd name="T20" fmla="*/ 67 w 74"/>
                <a:gd name="T21" fmla="*/ 21 h 28"/>
                <a:gd name="T22" fmla="*/ 67 w 74"/>
                <a:gd name="T23" fmla="*/ 7 h 28"/>
                <a:gd name="T24" fmla="*/ 7 w 74"/>
                <a:gd name="T25" fmla="*/ 7 h 28"/>
                <a:gd name="T26" fmla="*/ 7 w 74"/>
                <a:gd name="T27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28">
                  <a:moveTo>
                    <a:pt x="70" y="28"/>
                  </a:moveTo>
                  <a:cubicBezTo>
                    <a:pt x="3" y="28"/>
                    <a:pt x="3" y="28"/>
                    <a:pt x="3" y="28"/>
                  </a:cubicBezTo>
                  <a:cubicBezTo>
                    <a:pt x="2" y="28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4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7"/>
                    <a:pt x="72" y="28"/>
                    <a:pt x="70" y="28"/>
                  </a:cubicBezTo>
                  <a:close/>
                  <a:moveTo>
                    <a:pt x="7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" name="Freeform 1008">
              <a:extLst>
                <a:ext uri="{FF2B5EF4-FFF2-40B4-BE49-F238E27FC236}">
                  <a16:creationId xmlns:a16="http://schemas.microsoft.com/office/drawing/2014/main" id="{4B791440-32BB-4D2A-95F0-A4E2224ED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8665" y="3236150"/>
              <a:ext cx="12646" cy="29085"/>
            </a:xfrm>
            <a:custGeom>
              <a:avLst/>
              <a:gdLst>
                <a:gd name="T0" fmla="*/ 4 w 7"/>
                <a:gd name="T1" fmla="*/ 16 h 16"/>
                <a:gd name="T2" fmla="*/ 0 w 7"/>
                <a:gd name="T3" fmla="*/ 12 h 16"/>
                <a:gd name="T4" fmla="*/ 0 w 7"/>
                <a:gd name="T5" fmla="*/ 4 h 16"/>
                <a:gd name="T6" fmla="*/ 4 w 7"/>
                <a:gd name="T7" fmla="*/ 0 h 16"/>
                <a:gd name="T8" fmla="*/ 7 w 7"/>
                <a:gd name="T9" fmla="*/ 4 h 16"/>
                <a:gd name="T10" fmla="*/ 7 w 7"/>
                <a:gd name="T11" fmla="*/ 12 h 16"/>
                <a:gd name="T12" fmla="*/ 4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4" y="16"/>
                  </a:moveTo>
                  <a:cubicBezTo>
                    <a:pt x="2" y="16"/>
                    <a:pt x="0" y="14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" name="Freeform 1009">
              <a:extLst>
                <a:ext uri="{FF2B5EF4-FFF2-40B4-BE49-F238E27FC236}">
                  <a16:creationId xmlns:a16="http://schemas.microsoft.com/office/drawing/2014/main" id="{FDB7E215-5ADB-45DF-A562-900D080A7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2692" y="2954147"/>
              <a:ext cx="155544" cy="12646"/>
            </a:xfrm>
            <a:custGeom>
              <a:avLst/>
              <a:gdLst>
                <a:gd name="T0" fmla="*/ 83 w 86"/>
                <a:gd name="T1" fmla="*/ 7 h 7"/>
                <a:gd name="T2" fmla="*/ 3 w 86"/>
                <a:gd name="T3" fmla="*/ 7 h 7"/>
                <a:gd name="T4" fmla="*/ 0 w 86"/>
                <a:gd name="T5" fmla="*/ 4 h 7"/>
                <a:gd name="T6" fmla="*/ 3 w 86"/>
                <a:gd name="T7" fmla="*/ 0 h 7"/>
                <a:gd name="T8" fmla="*/ 83 w 86"/>
                <a:gd name="T9" fmla="*/ 0 h 7"/>
                <a:gd name="T10" fmla="*/ 86 w 86"/>
                <a:gd name="T11" fmla="*/ 4 h 7"/>
                <a:gd name="T12" fmla="*/ 83 w 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">
                  <a:moveTo>
                    <a:pt x="8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5" y="0"/>
                    <a:pt x="86" y="2"/>
                    <a:pt x="86" y="4"/>
                  </a:cubicBezTo>
                  <a:cubicBezTo>
                    <a:pt x="86" y="6"/>
                    <a:pt x="85" y="7"/>
                    <a:pt x="8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" name="Freeform 1010">
              <a:extLst>
                <a:ext uri="{FF2B5EF4-FFF2-40B4-BE49-F238E27FC236}">
                  <a16:creationId xmlns:a16="http://schemas.microsoft.com/office/drawing/2014/main" id="{09DAE3D0-6709-45C5-90E0-1B74A065F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2304" y="2954147"/>
              <a:ext cx="155544" cy="12646"/>
            </a:xfrm>
            <a:custGeom>
              <a:avLst/>
              <a:gdLst>
                <a:gd name="T0" fmla="*/ 83 w 86"/>
                <a:gd name="T1" fmla="*/ 7 h 7"/>
                <a:gd name="T2" fmla="*/ 3 w 86"/>
                <a:gd name="T3" fmla="*/ 7 h 7"/>
                <a:gd name="T4" fmla="*/ 0 w 86"/>
                <a:gd name="T5" fmla="*/ 4 h 7"/>
                <a:gd name="T6" fmla="*/ 3 w 86"/>
                <a:gd name="T7" fmla="*/ 0 h 7"/>
                <a:gd name="T8" fmla="*/ 83 w 86"/>
                <a:gd name="T9" fmla="*/ 0 h 7"/>
                <a:gd name="T10" fmla="*/ 86 w 86"/>
                <a:gd name="T11" fmla="*/ 4 h 7"/>
                <a:gd name="T12" fmla="*/ 83 w 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">
                  <a:moveTo>
                    <a:pt x="8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6" y="2"/>
                    <a:pt x="86" y="4"/>
                  </a:cubicBezTo>
                  <a:cubicBezTo>
                    <a:pt x="86" y="6"/>
                    <a:pt x="84" y="7"/>
                    <a:pt x="8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7" name="Freeform 1011">
              <a:extLst>
                <a:ext uri="{FF2B5EF4-FFF2-40B4-BE49-F238E27FC236}">
                  <a16:creationId xmlns:a16="http://schemas.microsoft.com/office/drawing/2014/main" id="{379287DF-5692-4FEA-B081-B045243A2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6817" y="2932649"/>
              <a:ext cx="58171" cy="58171"/>
            </a:xfrm>
            <a:custGeom>
              <a:avLst/>
              <a:gdLst>
                <a:gd name="T0" fmla="*/ 16 w 32"/>
                <a:gd name="T1" fmla="*/ 32 h 32"/>
                <a:gd name="T2" fmla="*/ 6 w 32"/>
                <a:gd name="T3" fmla="*/ 28 h 32"/>
                <a:gd name="T4" fmla="*/ 4 w 32"/>
                <a:gd name="T5" fmla="*/ 26 h 32"/>
                <a:gd name="T6" fmla="*/ 0 w 32"/>
                <a:gd name="T7" fmla="*/ 16 h 32"/>
                <a:gd name="T8" fmla="*/ 4 w 32"/>
                <a:gd name="T9" fmla="*/ 5 h 32"/>
                <a:gd name="T10" fmla="*/ 16 w 32"/>
                <a:gd name="T11" fmla="*/ 0 h 32"/>
                <a:gd name="T12" fmla="*/ 28 w 32"/>
                <a:gd name="T13" fmla="*/ 5 h 32"/>
                <a:gd name="T14" fmla="*/ 32 w 32"/>
                <a:gd name="T15" fmla="*/ 16 h 32"/>
                <a:gd name="T16" fmla="*/ 28 w 32"/>
                <a:gd name="T17" fmla="*/ 26 h 32"/>
                <a:gd name="T18" fmla="*/ 25 w 32"/>
                <a:gd name="T19" fmla="*/ 28 h 32"/>
                <a:gd name="T20" fmla="*/ 16 w 32"/>
                <a:gd name="T21" fmla="*/ 32 h 32"/>
                <a:gd name="T22" fmla="*/ 16 w 32"/>
                <a:gd name="T23" fmla="*/ 7 h 32"/>
                <a:gd name="T24" fmla="*/ 9 w 32"/>
                <a:gd name="T25" fmla="*/ 10 h 32"/>
                <a:gd name="T26" fmla="*/ 7 w 32"/>
                <a:gd name="T27" fmla="*/ 16 h 32"/>
                <a:gd name="T28" fmla="*/ 9 w 32"/>
                <a:gd name="T29" fmla="*/ 22 h 32"/>
                <a:gd name="T30" fmla="*/ 10 w 32"/>
                <a:gd name="T31" fmla="*/ 23 h 32"/>
                <a:gd name="T32" fmla="*/ 21 w 32"/>
                <a:gd name="T33" fmla="*/ 23 h 32"/>
                <a:gd name="T34" fmla="*/ 23 w 32"/>
                <a:gd name="T35" fmla="*/ 22 h 32"/>
                <a:gd name="T36" fmla="*/ 25 w 32"/>
                <a:gd name="T37" fmla="*/ 16 h 32"/>
                <a:gd name="T38" fmla="*/ 23 w 32"/>
                <a:gd name="T39" fmla="*/ 10 h 32"/>
                <a:gd name="T40" fmla="*/ 16 w 32"/>
                <a:gd name="T4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12" y="32"/>
                    <a:pt x="9" y="31"/>
                    <a:pt x="6" y="28"/>
                  </a:cubicBezTo>
                  <a:cubicBezTo>
                    <a:pt x="5" y="28"/>
                    <a:pt x="5" y="27"/>
                    <a:pt x="4" y="26"/>
                  </a:cubicBezTo>
                  <a:cubicBezTo>
                    <a:pt x="1" y="23"/>
                    <a:pt x="0" y="20"/>
                    <a:pt x="0" y="16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2"/>
                    <a:pt x="11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0" y="8"/>
                    <a:pt x="32" y="12"/>
                    <a:pt x="32" y="16"/>
                  </a:cubicBezTo>
                  <a:cubicBezTo>
                    <a:pt x="32" y="20"/>
                    <a:pt x="30" y="23"/>
                    <a:pt x="28" y="26"/>
                  </a:cubicBezTo>
                  <a:cubicBezTo>
                    <a:pt x="27" y="27"/>
                    <a:pt x="26" y="28"/>
                    <a:pt x="25" y="28"/>
                  </a:cubicBezTo>
                  <a:cubicBezTo>
                    <a:pt x="23" y="31"/>
                    <a:pt x="19" y="32"/>
                    <a:pt x="16" y="32"/>
                  </a:cubicBezTo>
                  <a:close/>
                  <a:moveTo>
                    <a:pt x="16" y="7"/>
                  </a:moveTo>
                  <a:cubicBezTo>
                    <a:pt x="13" y="7"/>
                    <a:pt x="11" y="8"/>
                    <a:pt x="9" y="10"/>
                  </a:cubicBezTo>
                  <a:cubicBezTo>
                    <a:pt x="8" y="11"/>
                    <a:pt x="7" y="13"/>
                    <a:pt x="7" y="16"/>
                  </a:cubicBezTo>
                  <a:cubicBezTo>
                    <a:pt x="7" y="18"/>
                    <a:pt x="8" y="20"/>
                    <a:pt x="9" y="22"/>
                  </a:cubicBezTo>
                  <a:cubicBezTo>
                    <a:pt x="10" y="22"/>
                    <a:pt x="10" y="23"/>
                    <a:pt x="10" y="23"/>
                  </a:cubicBezTo>
                  <a:cubicBezTo>
                    <a:pt x="14" y="25"/>
                    <a:pt x="18" y="25"/>
                    <a:pt x="21" y="23"/>
                  </a:cubicBezTo>
                  <a:cubicBezTo>
                    <a:pt x="22" y="23"/>
                    <a:pt x="22" y="22"/>
                    <a:pt x="23" y="22"/>
                  </a:cubicBezTo>
                  <a:cubicBezTo>
                    <a:pt x="24" y="20"/>
                    <a:pt x="25" y="18"/>
                    <a:pt x="25" y="16"/>
                  </a:cubicBezTo>
                  <a:cubicBezTo>
                    <a:pt x="25" y="13"/>
                    <a:pt x="24" y="11"/>
                    <a:pt x="23" y="10"/>
                  </a:cubicBezTo>
                  <a:cubicBezTo>
                    <a:pt x="21" y="8"/>
                    <a:pt x="19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" name="Freeform 1013">
              <a:extLst>
                <a:ext uri="{FF2B5EF4-FFF2-40B4-BE49-F238E27FC236}">
                  <a16:creationId xmlns:a16="http://schemas.microsoft.com/office/drawing/2014/main" id="{821A46E0-A175-42CF-BD1A-54CD62AD6B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1291" y="2973117"/>
              <a:ext cx="147956" cy="84727"/>
            </a:xfrm>
            <a:custGeom>
              <a:avLst/>
              <a:gdLst>
                <a:gd name="T0" fmla="*/ 79 w 82"/>
                <a:gd name="T1" fmla="*/ 47 h 47"/>
                <a:gd name="T2" fmla="*/ 79 w 82"/>
                <a:gd name="T3" fmla="*/ 47 h 47"/>
                <a:gd name="T4" fmla="*/ 3 w 82"/>
                <a:gd name="T5" fmla="*/ 47 h 47"/>
                <a:gd name="T6" fmla="*/ 0 w 82"/>
                <a:gd name="T7" fmla="*/ 45 h 47"/>
                <a:gd name="T8" fmla="*/ 0 w 82"/>
                <a:gd name="T9" fmla="*/ 42 h 47"/>
                <a:gd name="T10" fmla="*/ 31 w 82"/>
                <a:gd name="T11" fmla="*/ 2 h 47"/>
                <a:gd name="T12" fmla="*/ 35 w 82"/>
                <a:gd name="T13" fmla="*/ 1 h 47"/>
                <a:gd name="T14" fmla="*/ 46 w 82"/>
                <a:gd name="T15" fmla="*/ 1 h 47"/>
                <a:gd name="T16" fmla="*/ 51 w 82"/>
                <a:gd name="T17" fmla="*/ 2 h 47"/>
                <a:gd name="T18" fmla="*/ 81 w 82"/>
                <a:gd name="T19" fmla="*/ 41 h 47"/>
                <a:gd name="T20" fmla="*/ 82 w 82"/>
                <a:gd name="T21" fmla="*/ 44 h 47"/>
                <a:gd name="T22" fmla="*/ 79 w 82"/>
                <a:gd name="T23" fmla="*/ 47 h 47"/>
                <a:gd name="T24" fmla="*/ 10 w 82"/>
                <a:gd name="T25" fmla="*/ 41 h 47"/>
                <a:gd name="T26" fmla="*/ 72 w 82"/>
                <a:gd name="T27" fmla="*/ 41 h 47"/>
                <a:gd name="T28" fmla="*/ 48 w 82"/>
                <a:gd name="T29" fmla="*/ 8 h 47"/>
                <a:gd name="T30" fmla="*/ 34 w 82"/>
                <a:gd name="T31" fmla="*/ 8 h 47"/>
                <a:gd name="T32" fmla="*/ 10 w 82"/>
                <a:gd name="T33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47">
                  <a:moveTo>
                    <a:pt x="79" y="47"/>
                  </a:moveTo>
                  <a:cubicBezTo>
                    <a:pt x="79" y="47"/>
                    <a:pt x="79" y="47"/>
                    <a:pt x="79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2" y="47"/>
                    <a:pt x="1" y="47"/>
                    <a:pt x="0" y="45"/>
                  </a:cubicBezTo>
                  <a:cubicBezTo>
                    <a:pt x="0" y="44"/>
                    <a:pt x="0" y="43"/>
                    <a:pt x="0" y="4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0"/>
                    <a:pt x="34" y="0"/>
                    <a:pt x="35" y="1"/>
                  </a:cubicBezTo>
                  <a:cubicBezTo>
                    <a:pt x="39" y="3"/>
                    <a:pt x="43" y="3"/>
                    <a:pt x="46" y="1"/>
                  </a:cubicBezTo>
                  <a:cubicBezTo>
                    <a:pt x="48" y="0"/>
                    <a:pt x="50" y="0"/>
                    <a:pt x="51" y="2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2" y="42"/>
                    <a:pt x="82" y="43"/>
                    <a:pt x="82" y="44"/>
                  </a:cubicBezTo>
                  <a:cubicBezTo>
                    <a:pt x="82" y="46"/>
                    <a:pt x="81" y="47"/>
                    <a:pt x="79" y="47"/>
                  </a:cubicBezTo>
                  <a:close/>
                  <a:moveTo>
                    <a:pt x="10" y="41"/>
                  </a:moveTo>
                  <a:cubicBezTo>
                    <a:pt x="72" y="41"/>
                    <a:pt x="72" y="41"/>
                    <a:pt x="72" y="4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3" y="10"/>
                    <a:pt x="38" y="10"/>
                    <a:pt x="34" y="8"/>
                  </a:cubicBezTo>
                  <a:lnTo>
                    <a:pt x="1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" name="Freeform 1014">
              <a:extLst>
                <a:ext uri="{FF2B5EF4-FFF2-40B4-BE49-F238E27FC236}">
                  <a16:creationId xmlns:a16="http://schemas.microsoft.com/office/drawing/2014/main" id="{F7EE3F13-0E8A-46FB-9E3E-45415FFEB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05202" y="2940237"/>
              <a:ext cx="49319" cy="41731"/>
            </a:xfrm>
            <a:custGeom>
              <a:avLst/>
              <a:gdLst>
                <a:gd name="T0" fmla="*/ 24 w 27"/>
                <a:gd name="T1" fmla="*/ 23 h 23"/>
                <a:gd name="T2" fmla="*/ 24 w 27"/>
                <a:gd name="T3" fmla="*/ 23 h 23"/>
                <a:gd name="T4" fmla="*/ 12 w 27"/>
                <a:gd name="T5" fmla="*/ 23 h 23"/>
                <a:gd name="T6" fmla="*/ 0 w 27"/>
                <a:gd name="T7" fmla="*/ 12 h 23"/>
                <a:gd name="T8" fmla="*/ 4 w 27"/>
                <a:gd name="T9" fmla="*/ 3 h 23"/>
                <a:gd name="T10" fmla="*/ 12 w 27"/>
                <a:gd name="T11" fmla="*/ 0 h 23"/>
                <a:gd name="T12" fmla="*/ 24 w 27"/>
                <a:gd name="T13" fmla="*/ 0 h 23"/>
                <a:gd name="T14" fmla="*/ 27 w 27"/>
                <a:gd name="T15" fmla="*/ 2 h 23"/>
                <a:gd name="T16" fmla="*/ 26 w 27"/>
                <a:gd name="T17" fmla="*/ 6 h 23"/>
                <a:gd name="T18" fmla="*/ 24 w 27"/>
                <a:gd name="T19" fmla="*/ 12 h 23"/>
                <a:gd name="T20" fmla="*/ 26 w 27"/>
                <a:gd name="T21" fmla="*/ 17 h 23"/>
                <a:gd name="T22" fmla="*/ 27 w 27"/>
                <a:gd name="T23" fmla="*/ 20 h 23"/>
                <a:gd name="T24" fmla="*/ 24 w 27"/>
                <a:gd name="T25" fmla="*/ 23 h 23"/>
                <a:gd name="T26" fmla="*/ 12 w 27"/>
                <a:gd name="T27" fmla="*/ 7 h 23"/>
                <a:gd name="T28" fmla="*/ 9 w 27"/>
                <a:gd name="T29" fmla="*/ 8 h 23"/>
                <a:gd name="T30" fmla="*/ 7 w 27"/>
                <a:gd name="T31" fmla="*/ 12 h 23"/>
                <a:gd name="T32" fmla="*/ 12 w 27"/>
                <a:gd name="T33" fmla="*/ 17 h 23"/>
                <a:gd name="T34" fmla="*/ 18 w 27"/>
                <a:gd name="T35" fmla="*/ 17 h 23"/>
                <a:gd name="T36" fmla="*/ 17 w 27"/>
                <a:gd name="T37" fmla="*/ 12 h 23"/>
                <a:gd name="T38" fmla="*/ 18 w 27"/>
                <a:gd name="T39" fmla="*/ 7 h 23"/>
                <a:gd name="T40" fmla="*/ 12 w 27"/>
                <a:gd name="T41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23"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5" y="23"/>
                    <a:pt x="0" y="18"/>
                    <a:pt x="0" y="12"/>
                  </a:cubicBezTo>
                  <a:cubicBezTo>
                    <a:pt x="0" y="8"/>
                    <a:pt x="1" y="6"/>
                    <a:pt x="4" y="3"/>
                  </a:cubicBezTo>
                  <a:cubicBezTo>
                    <a:pt x="6" y="1"/>
                    <a:pt x="9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ubicBezTo>
                    <a:pt x="27" y="3"/>
                    <a:pt x="27" y="5"/>
                    <a:pt x="26" y="6"/>
                  </a:cubicBezTo>
                  <a:cubicBezTo>
                    <a:pt x="25" y="7"/>
                    <a:pt x="24" y="9"/>
                    <a:pt x="24" y="12"/>
                  </a:cubicBezTo>
                  <a:cubicBezTo>
                    <a:pt x="24" y="14"/>
                    <a:pt x="24" y="16"/>
                    <a:pt x="26" y="17"/>
                  </a:cubicBezTo>
                  <a:cubicBezTo>
                    <a:pt x="27" y="18"/>
                    <a:pt x="27" y="19"/>
                    <a:pt x="27" y="20"/>
                  </a:cubicBezTo>
                  <a:cubicBezTo>
                    <a:pt x="27" y="22"/>
                    <a:pt x="26" y="23"/>
                    <a:pt x="24" y="23"/>
                  </a:cubicBezTo>
                  <a:close/>
                  <a:moveTo>
                    <a:pt x="12" y="7"/>
                  </a:moveTo>
                  <a:cubicBezTo>
                    <a:pt x="11" y="7"/>
                    <a:pt x="9" y="7"/>
                    <a:pt x="9" y="8"/>
                  </a:cubicBezTo>
                  <a:cubicBezTo>
                    <a:pt x="8" y="9"/>
                    <a:pt x="7" y="10"/>
                    <a:pt x="7" y="12"/>
                  </a:cubicBezTo>
                  <a:cubicBezTo>
                    <a:pt x="7" y="14"/>
                    <a:pt x="9" y="17"/>
                    <a:pt x="12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5"/>
                    <a:pt x="17" y="13"/>
                    <a:pt x="17" y="12"/>
                  </a:cubicBezTo>
                  <a:cubicBezTo>
                    <a:pt x="17" y="10"/>
                    <a:pt x="17" y="8"/>
                    <a:pt x="18" y="7"/>
                  </a:cubicBezTo>
                  <a:lnTo>
                    <a:pt x="1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" name="Freeform 1015">
              <a:extLst>
                <a:ext uri="{FF2B5EF4-FFF2-40B4-BE49-F238E27FC236}">
                  <a16:creationId xmlns:a16="http://schemas.microsoft.com/office/drawing/2014/main" id="{991E54C6-BFE7-43BA-9B38-931210D57F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76018" y="2940237"/>
              <a:ext cx="49319" cy="41731"/>
            </a:xfrm>
            <a:custGeom>
              <a:avLst/>
              <a:gdLst>
                <a:gd name="T0" fmla="*/ 15 w 27"/>
                <a:gd name="T1" fmla="*/ 23 h 23"/>
                <a:gd name="T2" fmla="*/ 3 w 27"/>
                <a:gd name="T3" fmla="*/ 23 h 23"/>
                <a:gd name="T4" fmla="*/ 0 w 27"/>
                <a:gd name="T5" fmla="*/ 21 h 23"/>
                <a:gd name="T6" fmla="*/ 1 w 27"/>
                <a:gd name="T7" fmla="*/ 18 h 23"/>
                <a:gd name="T8" fmla="*/ 3 w 27"/>
                <a:gd name="T9" fmla="*/ 12 h 23"/>
                <a:gd name="T10" fmla="*/ 1 w 27"/>
                <a:gd name="T11" fmla="*/ 6 h 23"/>
                <a:gd name="T12" fmla="*/ 0 w 27"/>
                <a:gd name="T13" fmla="*/ 2 h 23"/>
                <a:gd name="T14" fmla="*/ 3 w 27"/>
                <a:gd name="T15" fmla="*/ 0 h 23"/>
                <a:gd name="T16" fmla="*/ 15 w 27"/>
                <a:gd name="T17" fmla="*/ 0 h 23"/>
                <a:gd name="T18" fmla="*/ 27 w 27"/>
                <a:gd name="T19" fmla="*/ 12 h 23"/>
                <a:gd name="T20" fmla="*/ 23 w 27"/>
                <a:gd name="T21" fmla="*/ 20 h 23"/>
                <a:gd name="T22" fmla="*/ 15 w 27"/>
                <a:gd name="T23" fmla="*/ 23 h 23"/>
                <a:gd name="T24" fmla="*/ 9 w 27"/>
                <a:gd name="T25" fmla="*/ 17 h 23"/>
                <a:gd name="T26" fmla="*/ 15 w 27"/>
                <a:gd name="T27" fmla="*/ 17 h 23"/>
                <a:gd name="T28" fmla="*/ 18 w 27"/>
                <a:gd name="T29" fmla="*/ 15 h 23"/>
                <a:gd name="T30" fmla="*/ 20 w 27"/>
                <a:gd name="T31" fmla="*/ 12 h 23"/>
                <a:gd name="T32" fmla="*/ 15 w 27"/>
                <a:gd name="T33" fmla="*/ 7 h 23"/>
                <a:gd name="T34" fmla="*/ 9 w 27"/>
                <a:gd name="T35" fmla="*/ 7 h 23"/>
                <a:gd name="T36" fmla="*/ 10 w 27"/>
                <a:gd name="T37" fmla="*/ 12 h 23"/>
                <a:gd name="T38" fmla="*/ 9 w 27"/>
                <a:gd name="T39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" h="23">
                  <a:moveTo>
                    <a:pt x="15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2" y="23"/>
                    <a:pt x="1" y="23"/>
                    <a:pt x="0" y="21"/>
                  </a:cubicBezTo>
                  <a:cubicBezTo>
                    <a:pt x="0" y="20"/>
                    <a:pt x="0" y="19"/>
                    <a:pt x="1" y="18"/>
                  </a:cubicBezTo>
                  <a:cubicBezTo>
                    <a:pt x="2" y="16"/>
                    <a:pt x="3" y="14"/>
                    <a:pt x="3" y="12"/>
                  </a:cubicBezTo>
                  <a:cubicBezTo>
                    <a:pt x="3" y="9"/>
                    <a:pt x="2" y="7"/>
                    <a:pt x="1" y="6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1" y="0"/>
                    <a:pt x="27" y="5"/>
                    <a:pt x="27" y="12"/>
                  </a:cubicBezTo>
                  <a:cubicBezTo>
                    <a:pt x="27" y="15"/>
                    <a:pt x="25" y="18"/>
                    <a:pt x="23" y="20"/>
                  </a:cubicBezTo>
                  <a:cubicBezTo>
                    <a:pt x="21" y="22"/>
                    <a:pt x="18" y="23"/>
                    <a:pt x="15" y="23"/>
                  </a:cubicBezTo>
                  <a:close/>
                  <a:moveTo>
                    <a:pt x="9" y="17"/>
                  </a:move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7" y="16"/>
                    <a:pt x="18" y="15"/>
                  </a:cubicBezTo>
                  <a:cubicBezTo>
                    <a:pt x="19" y="14"/>
                    <a:pt x="20" y="13"/>
                    <a:pt x="20" y="12"/>
                  </a:cubicBezTo>
                  <a:cubicBezTo>
                    <a:pt x="20" y="9"/>
                    <a:pt x="18" y="7"/>
                    <a:pt x="15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8"/>
                    <a:pt x="10" y="10"/>
                    <a:pt x="10" y="12"/>
                  </a:cubicBezTo>
                  <a:cubicBezTo>
                    <a:pt x="10" y="13"/>
                    <a:pt x="10" y="15"/>
                    <a:pt x="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9" name="Freeform 5">
            <a:extLst>
              <a:ext uri="{FF2B5EF4-FFF2-40B4-BE49-F238E27FC236}">
                <a16:creationId xmlns:a16="http://schemas.microsoft.com/office/drawing/2014/main" id="{8A11996A-9B92-421E-B317-BD1471E58BF5}"/>
              </a:ext>
            </a:extLst>
          </p:cNvPr>
          <p:cNvSpPr>
            <a:spLocks noEditPoints="1"/>
          </p:cNvSpPr>
          <p:nvPr/>
        </p:nvSpPr>
        <p:spPr bwMode="auto">
          <a:xfrm>
            <a:off x="11025186" y="6280789"/>
            <a:ext cx="870865" cy="348612"/>
          </a:xfrm>
          <a:custGeom>
            <a:avLst/>
            <a:gdLst>
              <a:gd name="T0" fmla="*/ 272 w 274"/>
              <a:gd name="T1" fmla="*/ 40 h 108"/>
              <a:gd name="T2" fmla="*/ 256 w 274"/>
              <a:gd name="T3" fmla="*/ 51 h 108"/>
              <a:gd name="T4" fmla="*/ 234 w 274"/>
              <a:gd name="T5" fmla="*/ 31 h 108"/>
              <a:gd name="T6" fmla="*/ 250 w 274"/>
              <a:gd name="T7" fmla="*/ 25 h 108"/>
              <a:gd name="T8" fmla="*/ 244 w 274"/>
              <a:gd name="T9" fmla="*/ 15 h 108"/>
              <a:gd name="T10" fmla="*/ 235 w 274"/>
              <a:gd name="T11" fmla="*/ 46 h 108"/>
              <a:gd name="T12" fmla="*/ 243 w 274"/>
              <a:gd name="T13" fmla="*/ 60 h 108"/>
              <a:gd name="T14" fmla="*/ 227 w 274"/>
              <a:gd name="T15" fmla="*/ 59 h 108"/>
              <a:gd name="T16" fmla="*/ 230 w 274"/>
              <a:gd name="T17" fmla="*/ 70 h 108"/>
              <a:gd name="T18" fmla="*/ 43 w 274"/>
              <a:gd name="T19" fmla="*/ 69 h 108"/>
              <a:gd name="T20" fmla="*/ 55 w 274"/>
              <a:gd name="T21" fmla="*/ 37 h 108"/>
              <a:gd name="T22" fmla="*/ 32 w 274"/>
              <a:gd name="T23" fmla="*/ 18 h 108"/>
              <a:gd name="T24" fmla="*/ 54 w 274"/>
              <a:gd name="T25" fmla="*/ 10 h 108"/>
              <a:gd name="T26" fmla="*/ 53 w 274"/>
              <a:gd name="T27" fmla="*/ 1 h 108"/>
              <a:gd name="T28" fmla="*/ 18 w 274"/>
              <a:gd name="T29" fmla="*/ 19 h 108"/>
              <a:gd name="T30" fmla="*/ 47 w 274"/>
              <a:gd name="T31" fmla="*/ 52 h 108"/>
              <a:gd name="T32" fmla="*/ 26 w 274"/>
              <a:gd name="T33" fmla="*/ 59 h 108"/>
              <a:gd name="T34" fmla="*/ 2 w 274"/>
              <a:gd name="T35" fmla="*/ 40 h 108"/>
              <a:gd name="T36" fmla="*/ 0 w 274"/>
              <a:gd name="T37" fmla="*/ 45 h 108"/>
              <a:gd name="T38" fmla="*/ 137 w 274"/>
              <a:gd name="T39" fmla="*/ 108 h 108"/>
              <a:gd name="T40" fmla="*/ 274 w 274"/>
              <a:gd name="T41" fmla="*/ 45 h 108"/>
              <a:gd name="T42" fmla="*/ 143 w 274"/>
              <a:gd name="T43" fmla="*/ 17 h 108"/>
              <a:gd name="T44" fmla="*/ 138 w 274"/>
              <a:gd name="T45" fmla="*/ 69 h 108"/>
              <a:gd name="T46" fmla="*/ 149 w 274"/>
              <a:gd name="T47" fmla="*/ 22 h 108"/>
              <a:gd name="T48" fmla="*/ 75 w 274"/>
              <a:gd name="T49" fmla="*/ 69 h 108"/>
              <a:gd name="T50" fmla="*/ 85 w 274"/>
              <a:gd name="T51" fmla="*/ 25 h 108"/>
              <a:gd name="T52" fmla="*/ 91 w 274"/>
              <a:gd name="T53" fmla="*/ 65 h 108"/>
              <a:gd name="T54" fmla="*/ 104 w 274"/>
              <a:gd name="T55" fmla="*/ 65 h 108"/>
              <a:gd name="T56" fmla="*/ 115 w 274"/>
              <a:gd name="T57" fmla="*/ 26 h 108"/>
              <a:gd name="T58" fmla="*/ 119 w 274"/>
              <a:gd name="T59" fmla="*/ 69 h 108"/>
              <a:gd name="T60" fmla="*/ 130 w 274"/>
              <a:gd name="T61" fmla="*/ 37 h 108"/>
              <a:gd name="T62" fmla="*/ 102 w 274"/>
              <a:gd name="T63" fmla="*/ 25 h 108"/>
              <a:gd name="T64" fmla="*/ 77 w 274"/>
              <a:gd name="T65" fmla="*/ 22 h 108"/>
              <a:gd name="T66" fmla="*/ 65 w 274"/>
              <a:gd name="T67" fmla="*/ 22 h 108"/>
              <a:gd name="T68" fmla="*/ 202 w 274"/>
              <a:gd name="T69" fmla="*/ 70 h 108"/>
              <a:gd name="T70" fmla="*/ 216 w 274"/>
              <a:gd name="T71" fmla="*/ 64 h 108"/>
              <a:gd name="T72" fmla="*/ 205 w 274"/>
              <a:gd name="T73" fmla="*/ 62 h 108"/>
              <a:gd name="T74" fmla="*/ 191 w 274"/>
              <a:gd name="T75" fmla="*/ 49 h 108"/>
              <a:gd name="T76" fmla="*/ 219 w 274"/>
              <a:gd name="T77" fmla="*/ 27 h 108"/>
              <a:gd name="T78" fmla="*/ 178 w 274"/>
              <a:gd name="T79" fmla="*/ 49 h 108"/>
              <a:gd name="T80" fmla="*/ 201 w 274"/>
              <a:gd name="T81" fmla="*/ 23 h 108"/>
              <a:gd name="T82" fmla="*/ 205 w 274"/>
              <a:gd name="T83" fmla="*/ 37 h 108"/>
              <a:gd name="T84" fmla="*/ 168 w 274"/>
              <a:gd name="T85" fmla="*/ 71 h 108"/>
              <a:gd name="T86" fmla="*/ 179 w 274"/>
              <a:gd name="T87" fmla="*/ 64 h 108"/>
              <a:gd name="T88" fmla="*/ 173 w 274"/>
              <a:gd name="T89" fmla="*/ 62 h 108"/>
              <a:gd name="T90" fmla="*/ 167 w 274"/>
              <a:gd name="T91" fmla="*/ 51 h 108"/>
              <a:gd name="T92" fmla="*/ 157 w 274"/>
              <a:gd name="T93" fmla="*/ 1 h 108"/>
              <a:gd name="T94" fmla="*/ 168 w 274"/>
              <a:gd name="T95" fmla="*/ 71 h 108"/>
              <a:gd name="T96" fmla="*/ 136 w 274"/>
              <a:gd name="T97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4" h="108">
                <a:moveTo>
                  <a:pt x="274" y="40"/>
                </a:moveTo>
                <a:cubicBezTo>
                  <a:pt x="274" y="40"/>
                  <a:pt x="273" y="40"/>
                  <a:pt x="273" y="40"/>
                </a:cubicBezTo>
                <a:cubicBezTo>
                  <a:pt x="273" y="40"/>
                  <a:pt x="273" y="40"/>
                  <a:pt x="272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1" y="41"/>
                  <a:pt x="271" y="41"/>
                  <a:pt x="270" y="42"/>
                </a:cubicBezTo>
                <a:cubicBezTo>
                  <a:pt x="269" y="43"/>
                  <a:pt x="267" y="45"/>
                  <a:pt x="264" y="48"/>
                </a:cubicBezTo>
                <a:cubicBezTo>
                  <a:pt x="262" y="50"/>
                  <a:pt x="259" y="51"/>
                  <a:pt x="256" y="53"/>
                </a:cubicBezTo>
                <a:cubicBezTo>
                  <a:pt x="256" y="53"/>
                  <a:pt x="256" y="52"/>
                  <a:pt x="256" y="51"/>
                </a:cubicBezTo>
                <a:cubicBezTo>
                  <a:pt x="255" y="48"/>
                  <a:pt x="254" y="46"/>
                  <a:pt x="251" y="44"/>
                </a:cubicBezTo>
                <a:cubicBezTo>
                  <a:pt x="248" y="41"/>
                  <a:pt x="244" y="40"/>
                  <a:pt x="241" y="38"/>
                </a:cubicBezTo>
                <a:cubicBezTo>
                  <a:pt x="239" y="37"/>
                  <a:pt x="238" y="36"/>
                  <a:pt x="236" y="35"/>
                </a:cubicBezTo>
                <a:cubicBezTo>
                  <a:pt x="235" y="33"/>
                  <a:pt x="235" y="32"/>
                  <a:pt x="234" y="31"/>
                </a:cubicBezTo>
                <a:cubicBezTo>
                  <a:pt x="234" y="30"/>
                  <a:pt x="234" y="30"/>
                  <a:pt x="234" y="30"/>
                </a:cubicBezTo>
                <a:cubicBezTo>
                  <a:pt x="234" y="28"/>
                  <a:pt x="235" y="27"/>
                  <a:pt x="236" y="25"/>
                </a:cubicBezTo>
                <a:cubicBezTo>
                  <a:pt x="237" y="25"/>
                  <a:pt x="239" y="23"/>
                  <a:pt x="242" y="23"/>
                </a:cubicBezTo>
                <a:cubicBezTo>
                  <a:pt x="245" y="23"/>
                  <a:pt x="248" y="25"/>
                  <a:pt x="250" y="25"/>
                </a:cubicBezTo>
                <a:cubicBezTo>
                  <a:pt x="252" y="25"/>
                  <a:pt x="254" y="24"/>
                  <a:pt x="254" y="22"/>
                </a:cubicBezTo>
                <a:cubicBezTo>
                  <a:pt x="254" y="22"/>
                  <a:pt x="254" y="21"/>
                  <a:pt x="254" y="21"/>
                </a:cubicBezTo>
                <a:cubicBezTo>
                  <a:pt x="254" y="19"/>
                  <a:pt x="253" y="17"/>
                  <a:pt x="250" y="16"/>
                </a:cubicBezTo>
                <a:cubicBezTo>
                  <a:pt x="250" y="16"/>
                  <a:pt x="248" y="15"/>
                  <a:pt x="244" y="15"/>
                </a:cubicBezTo>
                <a:cubicBezTo>
                  <a:pt x="237" y="15"/>
                  <a:pt x="232" y="17"/>
                  <a:pt x="228" y="20"/>
                </a:cubicBezTo>
                <a:cubicBezTo>
                  <a:pt x="225" y="22"/>
                  <a:pt x="223" y="26"/>
                  <a:pt x="223" y="31"/>
                </a:cubicBezTo>
                <a:cubicBezTo>
                  <a:pt x="223" y="32"/>
                  <a:pt x="223" y="34"/>
                  <a:pt x="223" y="35"/>
                </a:cubicBezTo>
                <a:cubicBezTo>
                  <a:pt x="224" y="41"/>
                  <a:pt x="230" y="44"/>
                  <a:pt x="235" y="46"/>
                </a:cubicBezTo>
                <a:cubicBezTo>
                  <a:pt x="238" y="48"/>
                  <a:pt x="240" y="49"/>
                  <a:pt x="242" y="50"/>
                </a:cubicBezTo>
                <a:cubicBezTo>
                  <a:pt x="244" y="52"/>
                  <a:pt x="245" y="53"/>
                  <a:pt x="245" y="55"/>
                </a:cubicBezTo>
                <a:cubicBezTo>
                  <a:pt x="245" y="55"/>
                  <a:pt x="245" y="55"/>
                  <a:pt x="245" y="56"/>
                </a:cubicBezTo>
                <a:cubicBezTo>
                  <a:pt x="245" y="57"/>
                  <a:pt x="245" y="59"/>
                  <a:pt x="243" y="60"/>
                </a:cubicBezTo>
                <a:cubicBezTo>
                  <a:pt x="242" y="61"/>
                  <a:pt x="240" y="62"/>
                  <a:pt x="237" y="62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233" y="62"/>
                  <a:pt x="231" y="61"/>
                  <a:pt x="229" y="60"/>
                </a:cubicBezTo>
                <a:cubicBezTo>
                  <a:pt x="228" y="60"/>
                  <a:pt x="227" y="59"/>
                  <a:pt x="227" y="59"/>
                </a:cubicBezTo>
                <a:cubicBezTo>
                  <a:pt x="225" y="59"/>
                  <a:pt x="223" y="61"/>
                  <a:pt x="223" y="63"/>
                </a:cubicBezTo>
                <a:cubicBezTo>
                  <a:pt x="223" y="63"/>
                  <a:pt x="223" y="63"/>
                  <a:pt x="223" y="63"/>
                </a:cubicBezTo>
                <a:cubicBezTo>
                  <a:pt x="223" y="65"/>
                  <a:pt x="223" y="66"/>
                  <a:pt x="224" y="67"/>
                </a:cubicBezTo>
                <a:cubicBezTo>
                  <a:pt x="226" y="68"/>
                  <a:pt x="228" y="69"/>
                  <a:pt x="230" y="70"/>
                </a:cubicBezTo>
                <a:cubicBezTo>
                  <a:pt x="208" y="81"/>
                  <a:pt x="17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97" y="91"/>
                  <a:pt x="66" y="81"/>
                  <a:pt x="43" y="69"/>
                </a:cubicBezTo>
                <a:cubicBezTo>
                  <a:pt x="48" y="68"/>
                  <a:pt x="52" y="66"/>
                  <a:pt x="55" y="64"/>
                </a:cubicBezTo>
                <a:cubicBezTo>
                  <a:pt x="58" y="60"/>
                  <a:pt x="61" y="55"/>
                  <a:pt x="61" y="50"/>
                </a:cubicBezTo>
                <a:cubicBezTo>
                  <a:pt x="61" y="49"/>
                  <a:pt x="60" y="48"/>
                  <a:pt x="60" y="47"/>
                </a:cubicBezTo>
                <a:cubicBezTo>
                  <a:pt x="59" y="43"/>
                  <a:pt x="57" y="40"/>
                  <a:pt x="55" y="37"/>
                </a:cubicBezTo>
                <a:cubicBezTo>
                  <a:pt x="51" y="33"/>
                  <a:pt x="45" y="31"/>
                  <a:pt x="41" y="28"/>
                </a:cubicBezTo>
                <a:cubicBezTo>
                  <a:pt x="38" y="27"/>
                  <a:pt x="36" y="25"/>
                  <a:pt x="35" y="24"/>
                </a:cubicBezTo>
                <a:cubicBezTo>
                  <a:pt x="33" y="23"/>
                  <a:pt x="32" y="21"/>
                  <a:pt x="32" y="19"/>
                </a:cubicBezTo>
                <a:cubicBezTo>
                  <a:pt x="32" y="19"/>
                  <a:pt x="32" y="19"/>
                  <a:pt x="32" y="18"/>
                </a:cubicBezTo>
                <a:cubicBezTo>
                  <a:pt x="32" y="16"/>
                  <a:pt x="33" y="14"/>
                  <a:pt x="34" y="12"/>
                </a:cubicBezTo>
                <a:cubicBezTo>
                  <a:pt x="36" y="10"/>
                  <a:pt x="39" y="9"/>
                  <a:pt x="43" y="9"/>
                </a:cubicBezTo>
                <a:cubicBezTo>
                  <a:pt x="46" y="9"/>
                  <a:pt x="48" y="9"/>
                  <a:pt x="51" y="10"/>
                </a:cubicBezTo>
                <a:cubicBezTo>
                  <a:pt x="52" y="10"/>
                  <a:pt x="53" y="10"/>
                  <a:pt x="54" y="10"/>
                </a:cubicBezTo>
                <a:cubicBezTo>
                  <a:pt x="56" y="10"/>
                  <a:pt x="57" y="9"/>
                  <a:pt x="58" y="8"/>
                </a:cubicBezTo>
                <a:cubicBezTo>
                  <a:pt x="58" y="7"/>
                  <a:pt x="58" y="6"/>
                  <a:pt x="58" y="6"/>
                </a:cubicBezTo>
                <a:cubicBezTo>
                  <a:pt x="58" y="4"/>
                  <a:pt x="58" y="3"/>
                  <a:pt x="57" y="2"/>
                </a:cubicBezTo>
                <a:cubicBezTo>
                  <a:pt x="56" y="1"/>
                  <a:pt x="54" y="1"/>
                  <a:pt x="53" y="1"/>
                </a:cubicBezTo>
                <a:cubicBezTo>
                  <a:pt x="50" y="0"/>
                  <a:pt x="47" y="0"/>
                  <a:pt x="44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35" y="0"/>
                  <a:pt x="28" y="2"/>
                  <a:pt x="24" y="6"/>
                </a:cubicBezTo>
                <a:cubicBezTo>
                  <a:pt x="20" y="9"/>
                  <a:pt x="18" y="14"/>
                  <a:pt x="18" y="19"/>
                </a:cubicBezTo>
                <a:cubicBezTo>
                  <a:pt x="18" y="20"/>
                  <a:pt x="18" y="21"/>
                  <a:pt x="18" y="22"/>
                </a:cubicBezTo>
                <a:cubicBezTo>
                  <a:pt x="20" y="29"/>
                  <a:pt x="25" y="33"/>
                  <a:pt x="31" y="37"/>
                </a:cubicBezTo>
                <a:cubicBezTo>
                  <a:pt x="37" y="40"/>
                  <a:pt x="43" y="43"/>
                  <a:pt x="45" y="46"/>
                </a:cubicBezTo>
                <a:cubicBezTo>
                  <a:pt x="46" y="48"/>
                  <a:pt x="47" y="50"/>
                  <a:pt x="47" y="52"/>
                </a:cubicBezTo>
                <a:cubicBezTo>
                  <a:pt x="47" y="54"/>
                  <a:pt x="46" y="56"/>
                  <a:pt x="45" y="57"/>
                </a:cubicBezTo>
                <a:cubicBezTo>
                  <a:pt x="43" y="60"/>
                  <a:pt x="39" y="61"/>
                  <a:pt x="34" y="61"/>
                </a:cubicBezTo>
                <a:cubicBezTo>
                  <a:pt x="32" y="61"/>
                  <a:pt x="29" y="61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19" y="55"/>
                  <a:pt x="14" y="51"/>
                  <a:pt x="11" y="48"/>
                </a:cubicBezTo>
                <a:cubicBezTo>
                  <a:pt x="8" y="45"/>
                  <a:pt x="5" y="43"/>
                  <a:pt x="4" y="42"/>
                </a:cubicBezTo>
                <a:cubicBezTo>
                  <a:pt x="3" y="41"/>
                  <a:pt x="3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1" y="40"/>
                  <a:pt x="1" y="40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1"/>
                  <a:pt x="0" y="43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9"/>
                  <a:pt x="2" y="52"/>
                  <a:pt x="5" y="56"/>
                </a:cubicBezTo>
                <a:cubicBezTo>
                  <a:pt x="6" y="57"/>
                  <a:pt x="5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218" y="108"/>
                  <a:pt x="268" y="57"/>
                  <a:pt x="269" y="56"/>
                </a:cubicBezTo>
                <a:cubicBezTo>
                  <a:pt x="272" y="52"/>
                  <a:pt x="274" y="49"/>
                  <a:pt x="274" y="45"/>
                </a:cubicBezTo>
                <a:cubicBezTo>
                  <a:pt x="274" y="45"/>
                  <a:pt x="274" y="45"/>
                  <a:pt x="274" y="45"/>
                </a:cubicBezTo>
                <a:cubicBezTo>
                  <a:pt x="274" y="44"/>
                  <a:pt x="274" y="44"/>
                  <a:pt x="274" y="44"/>
                </a:cubicBezTo>
                <a:cubicBezTo>
                  <a:pt x="274" y="43"/>
                  <a:pt x="274" y="41"/>
                  <a:pt x="274" y="40"/>
                </a:cubicBezTo>
                <a:moveTo>
                  <a:pt x="147" y="18"/>
                </a:moveTo>
                <a:cubicBezTo>
                  <a:pt x="146" y="17"/>
                  <a:pt x="144" y="17"/>
                  <a:pt x="143" y="17"/>
                </a:cubicBezTo>
                <a:cubicBezTo>
                  <a:pt x="141" y="17"/>
                  <a:pt x="140" y="17"/>
                  <a:pt x="138" y="18"/>
                </a:cubicBezTo>
                <a:cubicBezTo>
                  <a:pt x="137" y="19"/>
                  <a:pt x="136" y="20"/>
                  <a:pt x="136" y="22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6"/>
                  <a:pt x="137" y="68"/>
                  <a:pt x="138" y="69"/>
                </a:cubicBezTo>
                <a:cubicBezTo>
                  <a:pt x="140" y="69"/>
                  <a:pt x="141" y="70"/>
                  <a:pt x="142" y="70"/>
                </a:cubicBezTo>
                <a:cubicBezTo>
                  <a:pt x="144" y="70"/>
                  <a:pt x="145" y="69"/>
                  <a:pt x="147" y="69"/>
                </a:cubicBezTo>
                <a:cubicBezTo>
                  <a:pt x="148" y="68"/>
                  <a:pt x="149" y="66"/>
                  <a:pt x="149" y="65"/>
                </a:cubicBezTo>
                <a:cubicBezTo>
                  <a:pt x="149" y="65"/>
                  <a:pt x="149" y="23"/>
                  <a:pt x="149" y="22"/>
                </a:cubicBezTo>
                <a:cubicBezTo>
                  <a:pt x="149" y="20"/>
                  <a:pt x="148" y="19"/>
                  <a:pt x="147" y="18"/>
                </a:cubicBezTo>
                <a:moveTo>
                  <a:pt x="67" y="69"/>
                </a:moveTo>
                <a:cubicBezTo>
                  <a:pt x="68" y="69"/>
                  <a:pt x="69" y="70"/>
                  <a:pt x="71" y="70"/>
                </a:cubicBezTo>
                <a:cubicBezTo>
                  <a:pt x="72" y="70"/>
                  <a:pt x="74" y="69"/>
                  <a:pt x="75" y="69"/>
                </a:cubicBezTo>
                <a:cubicBezTo>
                  <a:pt x="76" y="68"/>
                  <a:pt x="77" y="66"/>
                  <a:pt x="77" y="65"/>
                </a:cubicBezTo>
                <a:cubicBezTo>
                  <a:pt x="77" y="65"/>
                  <a:pt x="77" y="36"/>
                  <a:pt x="77" y="36"/>
                </a:cubicBezTo>
                <a:cubicBezTo>
                  <a:pt x="77" y="34"/>
                  <a:pt x="77" y="31"/>
                  <a:pt x="79" y="29"/>
                </a:cubicBezTo>
                <a:cubicBezTo>
                  <a:pt x="80" y="26"/>
                  <a:pt x="82" y="25"/>
                  <a:pt x="85" y="25"/>
                </a:cubicBezTo>
                <a:cubicBezTo>
                  <a:pt x="86" y="25"/>
                  <a:pt x="87" y="25"/>
                  <a:pt x="88" y="26"/>
                </a:cubicBezTo>
                <a:cubicBezTo>
                  <a:pt x="89" y="27"/>
                  <a:pt x="90" y="29"/>
                  <a:pt x="90" y="30"/>
                </a:cubicBezTo>
                <a:cubicBezTo>
                  <a:pt x="91" y="32"/>
                  <a:pt x="91" y="34"/>
                  <a:pt x="91" y="35"/>
                </a:cubicBezTo>
                <a:cubicBezTo>
                  <a:pt x="91" y="35"/>
                  <a:pt x="91" y="64"/>
                  <a:pt x="91" y="65"/>
                </a:cubicBezTo>
                <a:cubicBezTo>
                  <a:pt x="91" y="66"/>
                  <a:pt x="91" y="68"/>
                  <a:pt x="93" y="69"/>
                </a:cubicBezTo>
                <a:cubicBezTo>
                  <a:pt x="94" y="69"/>
                  <a:pt x="95" y="70"/>
                  <a:pt x="97" y="70"/>
                </a:cubicBezTo>
                <a:cubicBezTo>
                  <a:pt x="99" y="70"/>
                  <a:pt x="100" y="69"/>
                  <a:pt x="101" y="69"/>
                </a:cubicBezTo>
                <a:cubicBezTo>
                  <a:pt x="103" y="68"/>
                  <a:pt x="104" y="67"/>
                  <a:pt x="104" y="65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4"/>
                  <a:pt x="104" y="31"/>
                  <a:pt x="106" y="29"/>
                </a:cubicBezTo>
                <a:cubicBezTo>
                  <a:pt x="107" y="26"/>
                  <a:pt x="109" y="25"/>
                  <a:pt x="112" y="25"/>
                </a:cubicBezTo>
                <a:cubicBezTo>
                  <a:pt x="113" y="25"/>
                  <a:pt x="114" y="25"/>
                  <a:pt x="115" y="26"/>
                </a:cubicBezTo>
                <a:cubicBezTo>
                  <a:pt x="116" y="27"/>
                  <a:pt x="117" y="29"/>
                  <a:pt x="117" y="30"/>
                </a:cubicBezTo>
                <a:cubicBezTo>
                  <a:pt x="117" y="32"/>
                  <a:pt x="117" y="34"/>
                  <a:pt x="117" y="35"/>
                </a:cubicBezTo>
                <a:cubicBezTo>
                  <a:pt x="117" y="35"/>
                  <a:pt x="117" y="63"/>
                  <a:pt x="117" y="65"/>
                </a:cubicBezTo>
                <a:cubicBezTo>
                  <a:pt x="117" y="66"/>
                  <a:pt x="118" y="68"/>
                  <a:pt x="119" y="69"/>
                </a:cubicBezTo>
                <a:cubicBezTo>
                  <a:pt x="121" y="69"/>
                  <a:pt x="122" y="70"/>
                  <a:pt x="124" y="70"/>
                </a:cubicBezTo>
                <a:cubicBezTo>
                  <a:pt x="125" y="70"/>
                  <a:pt x="127" y="69"/>
                  <a:pt x="128" y="69"/>
                </a:cubicBezTo>
                <a:cubicBezTo>
                  <a:pt x="129" y="68"/>
                  <a:pt x="130" y="67"/>
                  <a:pt x="130" y="65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0"/>
                  <a:pt x="129" y="24"/>
                  <a:pt x="126" y="21"/>
                </a:cubicBezTo>
                <a:cubicBezTo>
                  <a:pt x="124" y="17"/>
                  <a:pt x="120" y="15"/>
                  <a:pt x="115" y="15"/>
                </a:cubicBezTo>
                <a:cubicBezTo>
                  <a:pt x="111" y="15"/>
                  <a:pt x="108" y="18"/>
                  <a:pt x="105" y="20"/>
                </a:cubicBezTo>
                <a:cubicBezTo>
                  <a:pt x="104" y="22"/>
                  <a:pt x="103" y="23"/>
                  <a:pt x="102" y="25"/>
                </a:cubicBezTo>
                <a:cubicBezTo>
                  <a:pt x="101" y="22"/>
                  <a:pt x="99" y="20"/>
                  <a:pt x="97" y="18"/>
                </a:cubicBezTo>
                <a:cubicBezTo>
                  <a:pt x="95" y="16"/>
                  <a:pt x="92" y="15"/>
                  <a:pt x="89" y="15"/>
                </a:cubicBezTo>
                <a:cubicBezTo>
                  <a:pt x="83" y="15"/>
                  <a:pt x="79" y="19"/>
                  <a:pt x="7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0"/>
                  <a:pt x="76" y="19"/>
                  <a:pt x="75" y="18"/>
                </a:cubicBezTo>
                <a:cubicBezTo>
                  <a:pt x="74" y="17"/>
                  <a:pt x="72" y="17"/>
                  <a:pt x="71" y="17"/>
                </a:cubicBezTo>
                <a:cubicBezTo>
                  <a:pt x="69" y="17"/>
                  <a:pt x="68" y="17"/>
                  <a:pt x="67" y="18"/>
                </a:cubicBezTo>
                <a:cubicBezTo>
                  <a:pt x="65" y="19"/>
                  <a:pt x="65" y="20"/>
                  <a:pt x="65" y="22"/>
                </a:cubicBezTo>
                <a:cubicBezTo>
                  <a:pt x="65" y="22"/>
                  <a:pt x="65" y="64"/>
                  <a:pt x="65" y="65"/>
                </a:cubicBezTo>
                <a:cubicBezTo>
                  <a:pt x="65" y="66"/>
                  <a:pt x="65" y="68"/>
                  <a:pt x="67" y="69"/>
                </a:cubicBezTo>
                <a:moveTo>
                  <a:pt x="185" y="64"/>
                </a:moveTo>
                <a:cubicBezTo>
                  <a:pt x="189" y="68"/>
                  <a:pt x="195" y="70"/>
                  <a:pt x="202" y="70"/>
                </a:cubicBezTo>
                <a:cubicBezTo>
                  <a:pt x="202" y="70"/>
                  <a:pt x="202" y="70"/>
                  <a:pt x="202" y="70"/>
                </a:cubicBezTo>
                <a:cubicBezTo>
                  <a:pt x="205" y="70"/>
                  <a:pt x="209" y="70"/>
                  <a:pt x="212" y="69"/>
                </a:cubicBezTo>
                <a:cubicBezTo>
                  <a:pt x="213" y="68"/>
                  <a:pt x="214" y="68"/>
                  <a:pt x="215" y="67"/>
                </a:cubicBezTo>
                <a:cubicBezTo>
                  <a:pt x="216" y="66"/>
                  <a:pt x="216" y="65"/>
                  <a:pt x="216" y="64"/>
                </a:cubicBezTo>
                <a:cubicBezTo>
                  <a:pt x="216" y="64"/>
                  <a:pt x="216" y="64"/>
                  <a:pt x="216" y="63"/>
                </a:cubicBezTo>
                <a:cubicBezTo>
                  <a:pt x="216" y="62"/>
                  <a:pt x="214" y="60"/>
                  <a:pt x="213" y="60"/>
                </a:cubicBezTo>
                <a:cubicBezTo>
                  <a:pt x="212" y="60"/>
                  <a:pt x="212" y="61"/>
                  <a:pt x="211" y="61"/>
                </a:cubicBezTo>
                <a:cubicBezTo>
                  <a:pt x="209" y="61"/>
                  <a:pt x="207" y="62"/>
                  <a:pt x="205" y="62"/>
                </a:cubicBezTo>
                <a:cubicBezTo>
                  <a:pt x="204" y="62"/>
                  <a:pt x="204" y="62"/>
                  <a:pt x="203" y="62"/>
                </a:cubicBezTo>
                <a:cubicBezTo>
                  <a:pt x="198" y="61"/>
                  <a:pt x="195" y="58"/>
                  <a:pt x="193" y="55"/>
                </a:cubicBezTo>
                <a:cubicBezTo>
                  <a:pt x="192" y="53"/>
                  <a:pt x="192" y="52"/>
                  <a:pt x="191" y="51"/>
                </a:cubicBezTo>
                <a:cubicBezTo>
                  <a:pt x="191" y="50"/>
                  <a:pt x="191" y="50"/>
                  <a:pt x="191" y="49"/>
                </a:cubicBezTo>
                <a:cubicBezTo>
                  <a:pt x="198" y="49"/>
                  <a:pt x="204" y="48"/>
                  <a:pt x="209" y="45"/>
                </a:cubicBezTo>
                <a:cubicBezTo>
                  <a:pt x="212" y="44"/>
                  <a:pt x="216" y="41"/>
                  <a:pt x="218" y="37"/>
                </a:cubicBezTo>
                <a:cubicBezTo>
                  <a:pt x="219" y="35"/>
                  <a:pt x="220" y="32"/>
                  <a:pt x="220" y="30"/>
                </a:cubicBezTo>
                <a:cubicBezTo>
                  <a:pt x="220" y="29"/>
                  <a:pt x="219" y="28"/>
                  <a:pt x="219" y="27"/>
                </a:cubicBezTo>
                <a:cubicBezTo>
                  <a:pt x="218" y="21"/>
                  <a:pt x="212" y="16"/>
                  <a:pt x="202" y="16"/>
                </a:cubicBezTo>
                <a:cubicBezTo>
                  <a:pt x="196" y="16"/>
                  <a:pt x="187" y="18"/>
                  <a:pt x="182" y="26"/>
                </a:cubicBezTo>
                <a:cubicBezTo>
                  <a:pt x="180" y="30"/>
                  <a:pt x="177" y="36"/>
                  <a:pt x="177" y="43"/>
                </a:cubicBezTo>
                <a:cubicBezTo>
                  <a:pt x="177" y="45"/>
                  <a:pt x="177" y="47"/>
                  <a:pt x="178" y="49"/>
                </a:cubicBezTo>
                <a:cubicBezTo>
                  <a:pt x="179" y="55"/>
                  <a:pt x="181" y="60"/>
                  <a:pt x="185" y="64"/>
                </a:cubicBezTo>
                <a:moveTo>
                  <a:pt x="193" y="28"/>
                </a:moveTo>
                <a:cubicBezTo>
                  <a:pt x="193" y="28"/>
                  <a:pt x="193" y="28"/>
                  <a:pt x="193" y="28"/>
                </a:cubicBezTo>
                <a:cubicBezTo>
                  <a:pt x="197" y="23"/>
                  <a:pt x="200" y="23"/>
                  <a:pt x="201" y="23"/>
                </a:cubicBezTo>
                <a:cubicBezTo>
                  <a:pt x="201" y="23"/>
                  <a:pt x="201" y="23"/>
                  <a:pt x="201" y="23"/>
                </a:cubicBezTo>
                <a:cubicBezTo>
                  <a:pt x="204" y="23"/>
                  <a:pt x="206" y="24"/>
                  <a:pt x="207" y="28"/>
                </a:cubicBezTo>
                <a:cubicBezTo>
                  <a:pt x="207" y="29"/>
                  <a:pt x="207" y="29"/>
                  <a:pt x="207" y="30"/>
                </a:cubicBezTo>
                <a:cubicBezTo>
                  <a:pt x="207" y="33"/>
                  <a:pt x="206" y="35"/>
                  <a:pt x="205" y="37"/>
                </a:cubicBezTo>
                <a:cubicBezTo>
                  <a:pt x="201" y="41"/>
                  <a:pt x="196" y="42"/>
                  <a:pt x="190" y="43"/>
                </a:cubicBezTo>
                <a:cubicBezTo>
                  <a:pt x="190" y="42"/>
                  <a:pt x="190" y="42"/>
                  <a:pt x="190" y="41"/>
                </a:cubicBezTo>
                <a:cubicBezTo>
                  <a:pt x="190" y="36"/>
                  <a:pt x="191" y="31"/>
                  <a:pt x="193" y="28"/>
                </a:cubicBezTo>
                <a:moveTo>
                  <a:pt x="168" y="71"/>
                </a:moveTo>
                <a:cubicBezTo>
                  <a:pt x="168" y="71"/>
                  <a:pt x="168" y="71"/>
                  <a:pt x="168" y="71"/>
                </a:cubicBezTo>
                <a:cubicBezTo>
                  <a:pt x="171" y="71"/>
                  <a:pt x="173" y="70"/>
                  <a:pt x="175" y="69"/>
                </a:cubicBezTo>
                <a:cubicBezTo>
                  <a:pt x="177" y="68"/>
                  <a:pt x="178" y="67"/>
                  <a:pt x="178" y="66"/>
                </a:cubicBezTo>
                <a:cubicBezTo>
                  <a:pt x="179" y="66"/>
                  <a:pt x="179" y="65"/>
                  <a:pt x="179" y="64"/>
                </a:cubicBezTo>
                <a:cubicBezTo>
                  <a:pt x="179" y="64"/>
                  <a:pt x="179" y="63"/>
                  <a:pt x="179" y="63"/>
                </a:cubicBezTo>
                <a:cubicBezTo>
                  <a:pt x="178" y="62"/>
                  <a:pt x="177" y="61"/>
                  <a:pt x="176" y="61"/>
                </a:cubicBezTo>
                <a:cubicBezTo>
                  <a:pt x="175" y="61"/>
                  <a:pt x="175" y="61"/>
                  <a:pt x="175" y="61"/>
                </a:cubicBezTo>
                <a:cubicBezTo>
                  <a:pt x="174" y="61"/>
                  <a:pt x="174" y="61"/>
                  <a:pt x="173" y="62"/>
                </a:cubicBezTo>
                <a:cubicBezTo>
                  <a:pt x="173" y="62"/>
                  <a:pt x="172" y="62"/>
                  <a:pt x="172" y="62"/>
                </a:cubicBezTo>
                <a:cubicBezTo>
                  <a:pt x="170" y="62"/>
                  <a:pt x="169" y="61"/>
                  <a:pt x="169" y="61"/>
                </a:cubicBezTo>
                <a:cubicBezTo>
                  <a:pt x="169" y="61"/>
                  <a:pt x="168" y="60"/>
                  <a:pt x="168" y="58"/>
                </a:cubicBezTo>
                <a:cubicBezTo>
                  <a:pt x="167" y="56"/>
                  <a:pt x="167" y="53"/>
                  <a:pt x="167" y="51"/>
                </a:cubicBezTo>
                <a:cubicBezTo>
                  <a:pt x="167" y="50"/>
                  <a:pt x="167" y="6"/>
                  <a:pt x="167" y="5"/>
                </a:cubicBezTo>
                <a:cubicBezTo>
                  <a:pt x="167" y="3"/>
                  <a:pt x="166" y="2"/>
                  <a:pt x="165" y="1"/>
                </a:cubicBezTo>
                <a:cubicBezTo>
                  <a:pt x="164" y="0"/>
                  <a:pt x="162" y="0"/>
                  <a:pt x="161" y="0"/>
                </a:cubicBezTo>
                <a:cubicBezTo>
                  <a:pt x="160" y="0"/>
                  <a:pt x="158" y="0"/>
                  <a:pt x="157" y="1"/>
                </a:cubicBezTo>
                <a:cubicBezTo>
                  <a:pt x="156" y="2"/>
                  <a:pt x="155" y="3"/>
                  <a:pt x="155" y="5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60"/>
                  <a:pt x="156" y="63"/>
                  <a:pt x="158" y="66"/>
                </a:cubicBezTo>
                <a:cubicBezTo>
                  <a:pt x="160" y="69"/>
                  <a:pt x="163" y="71"/>
                  <a:pt x="168" y="71"/>
                </a:cubicBezTo>
                <a:moveTo>
                  <a:pt x="143" y="13"/>
                </a:moveTo>
                <a:cubicBezTo>
                  <a:pt x="146" y="13"/>
                  <a:pt x="149" y="10"/>
                  <a:pt x="149" y="6"/>
                </a:cubicBezTo>
                <a:cubicBezTo>
                  <a:pt x="149" y="3"/>
                  <a:pt x="146" y="0"/>
                  <a:pt x="143" y="0"/>
                </a:cubicBezTo>
                <a:cubicBezTo>
                  <a:pt x="139" y="0"/>
                  <a:pt x="136" y="3"/>
                  <a:pt x="136" y="6"/>
                </a:cubicBezTo>
                <a:cubicBezTo>
                  <a:pt x="136" y="10"/>
                  <a:pt x="139" y="13"/>
                  <a:pt x="143" y="1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549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15" dur="75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6 1.11111E-6 L 2.08333E-6 0.03773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8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3.95833E-6 4.81481E-6 L 0.04127 4.81481E-6 " pathEditMode="relative" rAng="0" ptsTypes="AA">
                                      <p:cBhvr>
                                        <p:cTn id="38" dur="75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57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7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4.375E-6 4.07407E-6 L 4.375E-6 0.03773 " pathEditMode="relative" rAng="0" ptsTypes="AA">
                                      <p:cBhvr>
                                        <p:cTn id="52" dur="750" spd="-100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2" presetClass="path" presetSubtype="0" accel="50000" decel="50000" fill="hold" grpId="1" nodeType="withEffect">
                                  <p:stCondLst>
                                    <p:cond delay="3750"/>
                                  </p:stCondLst>
                                  <p:childTnLst>
                                    <p:animMotion origin="layout" path="M -1.25E-6 1.85185E-6 L -1.25E-6 0.03773 " pathEditMode="relative" rAng="0" ptsTypes="AA">
                                      <p:cBhvr>
                                        <p:cTn id="66" dur="75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42" presetClass="path" presetSubtype="0" accel="50000" decel="50000" fill="hold" grpId="1" nodeType="withEffect">
                                  <p:stCondLst>
                                    <p:cond delay="4500"/>
                                  </p:stCondLst>
                                  <p:childTnLst>
                                    <p:animMotion origin="layout" path="M -1.25E-6 -4.07407E-6 L -1.25E-6 0.03774 " pathEditMode="relative" rAng="0" ptsTypes="AA">
                                      <p:cBhvr>
                                        <p:cTn id="80" dur="750" spd="-100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5" grpId="0" animBg="1"/>
      <p:bldP spid="2" grpId="0"/>
      <p:bldP spid="7" grpId="0"/>
      <p:bldP spid="7" grpId="1"/>
      <p:bldP spid="49" grpId="0" animBg="1"/>
      <p:bldP spid="56" grpId="0" animBg="1"/>
      <p:bldP spid="68" grpId="0"/>
      <p:bldP spid="69" grpId="0"/>
      <p:bldP spid="69" grpId="1"/>
      <p:bldP spid="70" grpId="0"/>
      <p:bldP spid="71" grpId="0"/>
      <p:bldP spid="71" grpId="1"/>
      <p:bldGraphic spid="6" grpId="0">
        <p:bldAsOne/>
      </p:bldGraphic>
      <p:bldP spid="43" grpId="0" animBg="1"/>
      <p:bldP spid="83" grpId="0"/>
      <p:bldP spid="84" grpId="0"/>
      <p:bldP spid="84" grpId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KafeaSE8_t5_.PiRVk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KafeaSE8_t5_.PiRVkDQ"/>
</p:tagLst>
</file>

<file path=ppt/theme/theme1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81</TotalTime>
  <Words>548</Words>
  <Application>Microsoft Office PowerPoint</Application>
  <PresentationFormat>Widescreen</PresentationFormat>
  <Paragraphs>86</Paragraphs>
  <Slides>29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6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9</vt:i4>
      </vt:variant>
    </vt:vector>
  </HeadingPairs>
  <TitlesOfParts>
    <vt:vector size="45" baseType="lpstr">
      <vt:lpstr>Arial</vt:lpstr>
      <vt:lpstr>Arial Black</vt:lpstr>
      <vt:lpstr>Calibri</vt:lpstr>
      <vt:lpstr>Calibri Light</vt:lpstr>
      <vt:lpstr>Carlito</vt:lpstr>
      <vt:lpstr>Nunito</vt:lpstr>
      <vt:lpstr>Nunito Bold</vt:lpstr>
      <vt:lpstr>Nunito Light</vt:lpstr>
      <vt:lpstr>Segoe UI</vt:lpstr>
      <vt:lpstr>1_Tema do Office</vt:lpstr>
      <vt:lpstr>3_Tema do Office</vt:lpstr>
      <vt:lpstr>Tema do Office</vt:lpstr>
      <vt:lpstr>2_Tema do Office</vt:lpstr>
      <vt:lpstr>Office Theme</vt:lpstr>
      <vt:lpstr>4_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uilherme</dc:creator>
  <cp:lastModifiedBy>Maria Luisa Prospero de Andrade</cp:lastModifiedBy>
  <cp:revision>295</cp:revision>
  <dcterms:created xsi:type="dcterms:W3CDTF">2012-03-16T20:40:08Z</dcterms:created>
  <dcterms:modified xsi:type="dcterms:W3CDTF">2020-11-06T21:38:14Z</dcterms:modified>
</cp:coreProperties>
</file>